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9.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0.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1.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2.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3.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4.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5.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6.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theme/theme17.xml" ContentType="application/vnd.openxmlformats-officedocument.theme+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19.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6" r:id="rId3"/>
    <p:sldMasterId id="2147483763" r:id="rId4"/>
    <p:sldMasterId id="2147483775" r:id="rId5"/>
    <p:sldMasterId id="2147483812" r:id="rId6"/>
    <p:sldMasterId id="2147483840" r:id="rId7"/>
    <p:sldMasterId id="2147483855" r:id="rId8"/>
    <p:sldMasterId id="2147483878" r:id="rId9"/>
    <p:sldMasterId id="2147483911" r:id="rId10"/>
    <p:sldMasterId id="2147483944" r:id="rId11"/>
    <p:sldMasterId id="2147483976" r:id="rId12"/>
    <p:sldMasterId id="2147484006" r:id="rId13"/>
    <p:sldMasterId id="2147484044" r:id="rId14"/>
    <p:sldMasterId id="2147484059" r:id="rId15"/>
    <p:sldMasterId id="2147484095" r:id="rId16"/>
    <p:sldMasterId id="2147484157" r:id="rId17"/>
    <p:sldMasterId id="2147484176" r:id="rId18"/>
    <p:sldMasterId id="2147484209" r:id="rId19"/>
    <p:sldMasterId id="2147484244" r:id="rId20"/>
  </p:sldMasterIdLst>
  <p:notesMasterIdLst>
    <p:notesMasterId r:id="rId102"/>
  </p:notesMasterIdLst>
  <p:sldIdLst>
    <p:sldId id="295" r:id="rId21"/>
    <p:sldId id="298" r:id="rId22"/>
    <p:sldId id="289" r:id="rId23"/>
    <p:sldId id="290" r:id="rId24"/>
    <p:sldId id="312" r:id="rId25"/>
    <p:sldId id="299" r:id="rId26"/>
    <p:sldId id="313" r:id="rId27"/>
    <p:sldId id="314" r:id="rId28"/>
    <p:sldId id="301" r:id="rId29"/>
    <p:sldId id="302" r:id="rId30"/>
    <p:sldId id="303" r:id="rId31"/>
    <p:sldId id="307" r:id="rId32"/>
    <p:sldId id="308" r:id="rId33"/>
    <p:sldId id="309" r:id="rId34"/>
    <p:sldId id="310" r:id="rId35"/>
    <p:sldId id="306" r:id="rId36"/>
    <p:sldId id="315" r:id="rId37"/>
    <p:sldId id="339" r:id="rId38"/>
    <p:sldId id="344" r:id="rId39"/>
    <p:sldId id="340" r:id="rId40"/>
    <p:sldId id="341" r:id="rId41"/>
    <p:sldId id="342" r:id="rId42"/>
    <p:sldId id="343" r:id="rId43"/>
    <p:sldId id="337" r:id="rId44"/>
    <p:sldId id="338" r:id="rId45"/>
    <p:sldId id="316" r:id="rId46"/>
    <p:sldId id="317" r:id="rId47"/>
    <p:sldId id="318" r:id="rId48"/>
    <p:sldId id="319" r:id="rId49"/>
    <p:sldId id="320" r:id="rId50"/>
    <p:sldId id="326" r:id="rId51"/>
    <p:sldId id="327" r:id="rId52"/>
    <p:sldId id="323" r:id="rId53"/>
    <p:sldId id="324" r:id="rId54"/>
    <p:sldId id="328" r:id="rId55"/>
    <p:sldId id="330" r:id="rId56"/>
    <p:sldId id="322" r:id="rId57"/>
    <p:sldId id="329" r:id="rId58"/>
    <p:sldId id="331" r:id="rId59"/>
    <p:sldId id="332" r:id="rId60"/>
    <p:sldId id="333" r:id="rId61"/>
    <p:sldId id="334" r:id="rId62"/>
    <p:sldId id="321" r:id="rId63"/>
    <p:sldId id="325" r:id="rId64"/>
    <p:sldId id="272" r:id="rId65"/>
    <p:sldId id="335" r:id="rId66"/>
    <p:sldId id="336" r:id="rId67"/>
    <p:sldId id="287" r:id="rId68"/>
    <p:sldId id="271" r:id="rId69"/>
    <p:sldId id="275" r:id="rId70"/>
    <p:sldId id="268" r:id="rId71"/>
    <p:sldId id="265" r:id="rId72"/>
    <p:sldId id="291" r:id="rId73"/>
    <p:sldId id="267" r:id="rId74"/>
    <p:sldId id="297" r:id="rId75"/>
    <p:sldId id="296" r:id="rId76"/>
    <p:sldId id="262" r:id="rId77"/>
    <p:sldId id="293" r:id="rId78"/>
    <p:sldId id="294" r:id="rId79"/>
    <p:sldId id="276" r:id="rId80"/>
    <p:sldId id="279" r:id="rId81"/>
    <p:sldId id="345" r:id="rId82"/>
    <p:sldId id="347" r:id="rId83"/>
    <p:sldId id="346" r:id="rId84"/>
    <p:sldId id="348" r:id="rId85"/>
    <p:sldId id="349" r:id="rId86"/>
    <p:sldId id="350" r:id="rId87"/>
    <p:sldId id="351" r:id="rId88"/>
    <p:sldId id="278" r:id="rId89"/>
    <p:sldId id="353" r:id="rId90"/>
    <p:sldId id="266" r:id="rId91"/>
    <p:sldId id="354" r:id="rId92"/>
    <p:sldId id="280" r:id="rId93"/>
    <p:sldId id="281" r:id="rId94"/>
    <p:sldId id="282" r:id="rId95"/>
    <p:sldId id="283" r:id="rId96"/>
    <p:sldId id="284" r:id="rId97"/>
    <p:sldId id="285" r:id="rId98"/>
    <p:sldId id="286" r:id="rId99"/>
    <p:sldId id="270" r:id="rId100"/>
    <p:sldId id="263"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588" autoAdjust="0"/>
  </p:normalViewPr>
  <p:slideViewPr>
    <p:cSldViewPr snapToGrid="0">
      <p:cViewPr varScale="1">
        <p:scale>
          <a:sx n="82" d="100"/>
          <a:sy n="82" d="100"/>
        </p:scale>
        <p:origin x="30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slide" Target="slides/slide67.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1.xml"/><Relationship Id="rId82" Type="http://schemas.openxmlformats.org/officeDocument/2006/relationships/slide" Target="slides/slide62.xml"/><Relationship Id="rId90" Type="http://schemas.openxmlformats.org/officeDocument/2006/relationships/slide" Target="slides/slide70.xml"/><Relationship Id="rId95" Type="http://schemas.openxmlformats.org/officeDocument/2006/relationships/slide" Target="slides/slide7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07DF3E-1D74-4216-BDC5-8D7F56F26F97}" type="datetimeFigureOut">
              <a:rPr lang="en-US" smtClean="0"/>
              <a:t>11/1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1C0821-8684-4772-A574-2EF42150840B}" type="slidenum">
              <a:rPr lang="en-US" smtClean="0"/>
              <a:t>‹#›</a:t>
            </a:fld>
            <a:endParaRPr lang="en-US"/>
          </a:p>
        </p:txBody>
      </p:sp>
    </p:spTree>
    <p:extLst>
      <p:ext uri="{BB962C8B-B14F-4D97-AF65-F5344CB8AC3E}">
        <p14:creationId xmlns:p14="http://schemas.microsoft.com/office/powerpoint/2010/main" val="427553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19/2015 11:50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2</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372551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With the increase</a:t>
            </a:r>
            <a:r>
              <a:rPr lang="en-US" b="0" u="none" baseline="0" dirty="0" smtClean="0"/>
              <a:t> and diversity of devices there is an opportunity for developers to reach users where they are.</a:t>
            </a:r>
          </a:p>
          <a:p>
            <a:pPr marL="171450" indent="-171450">
              <a:buFont typeface="Arial" panose="020B0604020202020204" pitchFamily="34" charset="0"/>
              <a:buChar char="•"/>
            </a:pPr>
            <a:r>
              <a:rPr lang="en-US" b="0" u="none" baseline="0" dirty="0" smtClean="0"/>
              <a:t>Also with the power of the cloud, infrastructure and capital expenditures no longer have to be a barrier to creating great applications.</a:t>
            </a:r>
          </a:p>
          <a:p>
            <a:pPr marL="171450" indent="-171450">
              <a:buFont typeface="Arial" panose="020B0604020202020204" pitchFamily="34" charset="0"/>
              <a:buChar char="•"/>
            </a:pPr>
            <a:r>
              <a:rPr lang="en-US" b="0" u="none" baseline="0" dirty="0" smtClean="0"/>
              <a:t>Visual Studio 2015 bridges mobile and the cloud by being the first version built to target mobile-first and cloud-first development.</a:t>
            </a:r>
            <a:endParaRPr lang="en-US" b="1" u="sng"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10E8351-0CB9-4A37-97F0-AA311C31B78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0768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dirty="0" smtClean="0"/>
              <a:t>Talking Points</a:t>
            </a:r>
            <a:endParaRPr lang="en-US" sz="900" b="0" u="none" dirty="0" smtClean="0"/>
          </a:p>
          <a:p>
            <a:pPr marL="171450" indent="-171450">
              <a:buFont typeface="Arial" panose="020B0604020202020204" pitchFamily="34" charset="0"/>
              <a:buChar char="•"/>
            </a:pPr>
            <a:r>
              <a:rPr lang="en-US" sz="900" b="0" u="none" dirty="0" smtClean="0"/>
              <a:t>We have made some changes to the</a:t>
            </a:r>
            <a:r>
              <a:rPr lang="en-US" sz="900" b="0" u="none" baseline="0" dirty="0" smtClean="0"/>
              <a:t> Visual Studio family to better support every developer to achieve more.</a:t>
            </a:r>
          </a:p>
          <a:p>
            <a:pPr marL="171450" indent="-171450">
              <a:buFont typeface="Arial" panose="020B0604020202020204" pitchFamily="34" charset="0"/>
              <a:buChar char="•"/>
            </a:pPr>
            <a:r>
              <a:rPr lang="en-US" sz="900" b="0" u="none" baseline="0" dirty="0" smtClean="0"/>
              <a:t>Key changes from Visual Studio 2013 is the consolidation of Premium and Ultimate into the Enterprise SKU. We added Code and Community as new free offerings. Community replaces the Express SKUs and Code is a new offering for those looking for a lightweight code editor.</a:t>
            </a:r>
            <a:endParaRPr lang="en-US" sz="900" b="1" u="sng" dirty="0"/>
          </a:p>
        </p:txBody>
      </p:sp>
      <p:sp>
        <p:nvSpPr>
          <p:cNvPr id="8" name="Date Placeholder 7"/>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5927D5B-87A8-4224-B75A-999DBE6FB8FB}"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9" name="Footer Placeholder 8"/>
          <p:cNvSpPr>
            <a:spLocks noGrp="1"/>
          </p:cNvSpPr>
          <p:nvPr>
            <p:ph type="ftr" sz="quarter" idx="11"/>
          </p:nvPr>
        </p:nvSpPr>
        <p:spPr/>
        <p:txBody>
          <a:bodyPr/>
          <a:lstStyle/>
          <a:p>
            <a:pPr marL="0" marR="0" lvl="0" indent="0" defTabSz="9491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defTabSz="9491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Because </a:t>
            </a: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a:t>
            </a: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
        <p:nvSpPr>
          <p:cNvPr id="11" name="Header Placeholder 10"/>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rPr>
              <a:t>Visual Studio</a:t>
            </a:r>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2860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Visual Studio 2015 helps every developer and development team create</a:t>
            </a:r>
            <a:r>
              <a:rPr lang="en-US" b="0" u="none" baseline="0" dirty="0" smtClean="0"/>
              <a:t> every type of app in 3 ways:</a:t>
            </a:r>
          </a:p>
          <a:p>
            <a:pPr marL="388648" lvl="1" indent="-171450">
              <a:buFont typeface="Arial" panose="020B0604020202020204" pitchFamily="34" charset="0"/>
              <a:buChar char="•"/>
            </a:pPr>
            <a:r>
              <a:rPr lang="en-US" b="0" u="none" baseline="0" dirty="0" smtClean="0"/>
              <a:t>Support for creating apps on any platform</a:t>
            </a:r>
          </a:p>
          <a:p>
            <a:pPr marL="388648" lvl="1" indent="-171450">
              <a:buFont typeface="Arial" panose="020B0604020202020204" pitchFamily="34" charset="0"/>
              <a:buChar char="•"/>
            </a:pPr>
            <a:r>
              <a:rPr lang="en-US" b="0" u="none" baseline="0" dirty="0" smtClean="0"/>
              <a:t>Get more done faster so you can achieve more</a:t>
            </a:r>
          </a:p>
          <a:p>
            <a:pPr marL="388648" lvl="1" indent="-171450">
              <a:buFont typeface="Arial" panose="020B0604020202020204" pitchFamily="34" charset="0"/>
              <a:buChar char="•"/>
            </a:pPr>
            <a:r>
              <a:rPr lang="en-US" b="0" u="none" baseline="0" dirty="0" smtClean="0"/>
              <a:t>Provide the solutions for teams to be agile in how they collaborate and deliver software</a:t>
            </a:r>
          </a:p>
          <a:p>
            <a:pPr marL="0" lvl="0" indent="0">
              <a:buFont typeface="Arial" panose="020B0604020202020204" pitchFamily="34" charset="0"/>
              <a:buNone/>
            </a:pPr>
            <a:endParaRPr lang="en-US" b="1" u="sng" dirty="0"/>
          </a:p>
        </p:txBody>
      </p:sp>
      <p:sp>
        <p:nvSpPr>
          <p:cNvPr id="4" name="Header Placeholder 3"/>
          <p:cNvSpPr>
            <a:spLocks noGrp="1"/>
          </p:cNvSpPr>
          <p:nvPr>
            <p:ph type="hdr" sz="quarter" idx="10"/>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fld id="{FE7AD93C-FE49-4925-8755-7780B8E3941E}" type="datetime1">
              <a:rPr kumimoji="0" lang="en-US" sz="1800" b="0" i="0" u="none" strike="noStrike" kern="0" cap="none" spc="0" normalizeH="0" baseline="0" noProof="0" smtClean="0">
                <a:ln>
                  <a:noFill/>
                </a:ln>
                <a:solidFill>
                  <a:prstClr val="black"/>
                </a:solidFill>
                <a:effectLst/>
                <a:uLnTx/>
                <a:uFillTx/>
              </a:rPr>
              <a:pPr marL="0" marR="0" lvl="0" indent="0" defTabSz="685585"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685585"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33623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With the Android Emulator you get a great emulator for testing your Android apps. It includes a variety of capabilities so you can use your app in the emulator as if you were using a physical device.</a:t>
            </a:r>
          </a:p>
          <a:p>
            <a:pPr marL="171450" indent="-171450">
              <a:buFont typeface="Arial" panose="020B0604020202020204" pitchFamily="34" charset="0"/>
              <a:buChar char="•"/>
            </a:pPr>
            <a:r>
              <a:rPr lang="en-US" b="0" u="none" dirty="0" smtClean="0"/>
              <a:t>After you launch the emulator you can use it outside</a:t>
            </a:r>
            <a:r>
              <a:rPr lang="en-US" b="0" u="none" baseline="0" dirty="0" smtClean="0"/>
              <a:t> of Visual Studio</a:t>
            </a:r>
            <a:endParaRPr lang="en-US" b="0" u="none" dirty="0" smtClean="0"/>
          </a:p>
          <a:p>
            <a:pPr marL="0" indent="0">
              <a:buFontTx/>
              <a:buNone/>
            </a:pPr>
            <a:endParaRPr lang="en-US" b="1" u="sng" dirty="0" smtClean="0"/>
          </a:p>
          <a:p>
            <a:pPr marL="0" indent="0">
              <a:buFontTx/>
              <a:buNone/>
            </a:pPr>
            <a:r>
              <a:rPr lang="en-US" b="1" u="sng" dirty="0" smtClean="0"/>
              <a:t>Background</a:t>
            </a:r>
          </a:p>
          <a:p>
            <a:pPr marL="171450" indent="-171450">
              <a:buFontTx/>
              <a:buChar char="-"/>
            </a:pPr>
            <a:r>
              <a:rPr lang="en-US" dirty="0" smtClean="0"/>
              <a:t>Visual Studio Emulator</a:t>
            </a:r>
            <a:r>
              <a:rPr lang="en-US" baseline="0" dirty="0" smtClean="0"/>
              <a:t> for Android: http://blogs.msdn.com/b/visualstudioalm/archive/2014/11/12/introducing-visual-studio-s-emulator-for-android.aspx</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29230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dirty="0" smtClean="0"/>
              <a:t>Talking Points</a:t>
            </a:r>
          </a:p>
          <a:p>
            <a:pPr marL="171450" indent="-171450">
              <a:buFont typeface="Arial" panose="020B0604020202020204" pitchFamily="34" charset="0"/>
              <a:buChar char="•"/>
            </a:pPr>
            <a:r>
              <a:rPr lang="en-US" dirty="0" smtClean="0"/>
              <a:t>Before we discuss web and cloud</a:t>
            </a:r>
            <a:r>
              <a:rPr lang="en-US" baseline="0" dirty="0" smtClean="0"/>
              <a:t> apps we know that there are times when you need a lightweight code editor to get things done.</a:t>
            </a:r>
            <a:endParaRPr lang="en-US" dirty="0" smtClean="0"/>
          </a:p>
          <a:p>
            <a:pPr marL="171450" indent="-171450">
              <a:buFont typeface="Arial" panose="020B0604020202020204" pitchFamily="34" charset="0"/>
              <a:buChar char="•"/>
            </a:pPr>
            <a:r>
              <a:rPr lang="en-US" dirty="0" smtClean="0"/>
              <a:t>Visual Studio Code is a free cross-platform code editor for building modern web and cloud applications. It extends the Visual Studio family by offering a lightweight code editor that runs on Mac OSX, Linux and Windows. </a:t>
            </a:r>
          </a:p>
          <a:p>
            <a:pPr marL="171450" indent="-171450">
              <a:buFont typeface="Arial" panose="020B0604020202020204" pitchFamily="34" charset="0"/>
              <a:buChar char="•"/>
            </a:pPr>
            <a:r>
              <a:rPr lang="en-US" dirty="0" smtClean="0"/>
              <a:t>Visual Studio Code redefines code editing, providing a streamlined &amp; fast coding experience with rich code assistance and navigation for multiple languages, with an enhanced set of features for developers building JavaScript, </a:t>
            </a:r>
            <a:r>
              <a:rPr lang="en-US" dirty="0" err="1" smtClean="0"/>
              <a:t>TypeScript</a:t>
            </a:r>
            <a:r>
              <a:rPr lang="en-US" dirty="0" smtClean="0"/>
              <a:t>, Node.js and ASP.NET 5 applications.  </a:t>
            </a:r>
          </a:p>
          <a:p>
            <a:endParaRPr lang="en-US" sz="900" b="0" u="none"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965844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In November 2014 Microsoft</a:t>
            </a:r>
            <a:r>
              <a:rPr lang="en-US" b="0" u="none" baseline="0" dirty="0" smtClean="0"/>
              <a:t> announced a new era of enabling .NET cloud developers to build .NET cloud applications on multiple platforms. Microsoft is continuing this vision by making ASP.NET cross-platform and open.</a:t>
            </a:r>
            <a:endParaRPr lang="en-US" b="1" u="sng"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40543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going to show you some of this solution set today</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20/2015 12:0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110889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we want to meet developers and teams where they are. So we support a mixed ecosystem of tool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20/2015 12:0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390973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rPr>
              <a:t>Microsoft Convergenc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3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250788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19/2015 11:52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5</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639496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0" kern="1200" dirty="0" smtClean="0">
                <a:solidFill>
                  <a:schemeClr val="tx1"/>
                </a:solidFill>
                <a:effectLst/>
                <a:latin typeface="Segoe UI Light" pitchFamily="34" charset="0"/>
                <a:ea typeface="+mn-ea"/>
                <a:cs typeface="+mn-cs"/>
              </a:rPr>
              <a:t>We’ve been around a long time and we’ve disrupted together – thanks in large part to the partners in the room, we evolved the operating system market and helped establish Graphical User Interfaces</a:t>
            </a:r>
          </a:p>
          <a:p>
            <a:pPr lvl="0"/>
            <a:r>
              <a:rPr lang="en-US" sz="900" b="0" kern="1200" dirty="0" smtClean="0">
                <a:solidFill>
                  <a:schemeClr val="tx1"/>
                </a:solidFill>
                <a:effectLst/>
                <a:latin typeface="Segoe UI Light" pitchFamily="34" charset="0"/>
                <a:ea typeface="+mn-ea"/>
                <a:cs typeface="+mn-cs"/>
              </a:rPr>
              <a:t>We changed the word processing and spreadsheet world with integrated productivity in Office</a:t>
            </a:r>
          </a:p>
          <a:p>
            <a:pPr lvl="0"/>
            <a:r>
              <a:rPr lang="en-US" sz="900" b="0" kern="1200" dirty="0" smtClean="0">
                <a:solidFill>
                  <a:schemeClr val="tx1"/>
                </a:solidFill>
                <a:effectLst/>
                <a:latin typeface="Segoe UI Light" pitchFamily="34" charset="0"/>
                <a:ea typeface="+mn-ea"/>
                <a:cs typeface="+mn-cs"/>
              </a:rPr>
              <a:t>And we changed the datacenter landscape by bringing affordable server software to businesses running on commodity PCs</a:t>
            </a:r>
          </a:p>
          <a:p>
            <a:pPr lvl="0"/>
            <a:r>
              <a:rPr lang="en-US" sz="900" b="0" kern="1200" dirty="0" smtClean="0">
                <a:solidFill>
                  <a:schemeClr val="tx1"/>
                </a:solidFill>
                <a:effectLst/>
                <a:latin typeface="Segoe UI Light" pitchFamily="34" charset="0"/>
                <a:ea typeface="+mn-ea"/>
                <a:cs typeface="+mn-cs"/>
              </a:rPr>
              <a:t>So we have been a big disruptor in the industry…</a:t>
            </a:r>
          </a:p>
          <a:p>
            <a:pPr lvl="0"/>
            <a:r>
              <a:rPr lang="en-US" sz="900" b="0" kern="1200" dirty="0" smtClean="0">
                <a:solidFill>
                  <a:schemeClr val="tx1"/>
                </a:solidFill>
                <a:effectLst/>
                <a:latin typeface="Segoe UI Light" pitchFamily="34" charset="0"/>
                <a:ea typeface="+mn-ea"/>
                <a:cs typeface="+mn-cs"/>
              </a:rPr>
              <a:t>…and we have been disrupted a few times as well.</a:t>
            </a:r>
          </a:p>
          <a:p>
            <a:r>
              <a:rPr lang="en-US" sz="900" b="0" kern="1200" dirty="0" smtClean="0">
                <a:solidFill>
                  <a:schemeClr val="tx1"/>
                </a:solidFill>
                <a:effectLst/>
                <a:latin typeface="Segoe UI Light" pitchFamily="34" charset="0"/>
                <a:ea typeface="+mn-ea"/>
                <a:cs typeface="+mn-cs"/>
              </a:rPr>
              <a:t>The lessons we’ve learned are evidenced everywhere in the transformation Microsoft is undergoing today</a:t>
            </a:r>
          </a:p>
          <a:p>
            <a:pPr lvl="0"/>
            <a:r>
              <a:rPr lang="en-US" sz="900" b="0" kern="1200" dirty="0" smtClean="0">
                <a:solidFill>
                  <a:schemeClr val="tx1"/>
                </a:solidFill>
                <a:effectLst/>
                <a:latin typeface="Segoe UI Light" pitchFamily="34" charset="0"/>
                <a:ea typeface="+mn-ea"/>
                <a:cs typeface="+mn-cs"/>
              </a:rPr>
              <a:t>In fact, we are in the middle of a disruption to ourselves right now.</a:t>
            </a:r>
          </a:p>
          <a:p>
            <a:pPr lvl="0"/>
            <a:r>
              <a:rPr lang="en-US" sz="900" b="0" kern="1200" dirty="0" smtClean="0">
                <a:solidFill>
                  <a:schemeClr val="tx1"/>
                </a:solidFill>
                <a:effectLst/>
                <a:latin typeface="Segoe UI Light" pitchFamily="34" charset="0"/>
                <a:ea typeface="+mn-ea"/>
                <a:cs typeface="+mn-cs"/>
              </a:rPr>
              <a:t>Why would a company with such an incredibly successful software business, reinvent itself?</a:t>
            </a:r>
          </a:p>
          <a:p>
            <a:pPr lvl="0"/>
            <a:r>
              <a:rPr lang="en-US" sz="900" b="0" kern="1200" dirty="0" smtClean="0">
                <a:solidFill>
                  <a:schemeClr val="tx1"/>
                </a:solidFill>
                <a:effectLst/>
                <a:latin typeface="Segoe UI Light" pitchFamily="34" charset="0"/>
                <a:ea typeface="+mn-ea"/>
                <a:cs typeface="+mn-cs"/>
              </a:rPr>
              <a:t>That is exactly what we did with Office 365.</a:t>
            </a:r>
          </a:p>
          <a:p>
            <a:pPr lvl="0"/>
            <a:r>
              <a:rPr lang="en-US" sz="900" b="0" kern="1200" dirty="0" smtClean="0">
                <a:solidFill>
                  <a:schemeClr val="tx1"/>
                </a:solidFill>
                <a:effectLst/>
                <a:latin typeface="Segoe UI Light" pitchFamily="34" charset="0"/>
                <a:ea typeface="+mn-ea"/>
                <a:cs typeface="+mn-cs"/>
              </a:rPr>
              <a:t>The 90’s we built the leading productivity software in each category.</a:t>
            </a:r>
          </a:p>
          <a:p>
            <a:pPr lvl="0"/>
            <a:r>
              <a:rPr lang="en-US" sz="900" b="0" kern="1200" dirty="0" smtClean="0">
                <a:solidFill>
                  <a:schemeClr val="tx1"/>
                </a:solidFill>
                <a:effectLst/>
                <a:latin typeface="Segoe UI Light" pitchFamily="34" charset="0"/>
                <a:ea typeface="+mn-ea"/>
                <a:cs typeface="+mn-cs"/>
              </a:rPr>
              <a:t>In the 00’s we integrated our Office investment and reached to servers with SharePoint and Exchange</a:t>
            </a:r>
          </a:p>
          <a:p>
            <a:pPr lvl="0"/>
            <a:r>
              <a:rPr lang="en-US" sz="900" b="0" kern="1200" dirty="0" smtClean="0">
                <a:solidFill>
                  <a:schemeClr val="tx1"/>
                </a:solidFill>
                <a:effectLst/>
                <a:latin typeface="Segoe UI Light" pitchFamily="34" charset="0"/>
                <a:ea typeface="+mn-ea"/>
                <a:cs typeface="+mn-cs"/>
              </a:rPr>
              <a:t>Over the last 5 years we’ve been on our latest step to devices and the cloud…</a:t>
            </a:r>
          </a:p>
          <a:p>
            <a:pPr lvl="0"/>
            <a:endParaRPr lang="en-US" sz="900" b="0" kern="1200" dirty="0" smtClean="0">
              <a:solidFill>
                <a:schemeClr val="tx1"/>
              </a:solidFill>
              <a:effectLst/>
              <a:latin typeface="Segoe UI Light" pitchFamily="34" charset="0"/>
              <a:ea typeface="+mn-ea"/>
              <a:cs typeface="+mn-cs"/>
            </a:endParaRPr>
          </a:p>
          <a:p>
            <a:pPr lvl="0"/>
            <a:r>
              <a:rPr lang="en-US" sz="900" b="0" kern="1200" dirty="0" smtClean="0">
                <a:solidFill>
                  <a:schemeClr val="tx1"/>
                </a:solidFill>
                <a:effectLst/>
                <a:latin typeface="Segoe UI Light" pitchFamily="34" charset="0"/>
                <a:ea typeface="+mn-ea"/>
                <a:cs typeface="+mn-cs"/>
              </a:rPr>
              <a:t>Office is an incredibly successful franchise. Today we serve over a billion users who spend on average 2-3 hours a day with it.</a:t>
            </a:r>
          </a:p>
          <a:p>
            <a:pPr lvl="0"/>
            <a:r>
              <a:rPr lang="en-US" sz="900" b="0" kern="1200" dirty="0" smtClean="0">
                <a:solidFill>
                  <a:schemeClr val="tx1"/>
                </a:solidFill>
                <a:effectLst/>
                <a:latin typeface="Segoe UI Light" pitchFamily="34" charset="0"/>
                <a:ea typeface="+mn-ea"/>
                <a:cs typeface="+mn-cs"/>
              </a:rPr>
              <a:t>And yet, we knew we needed to shift the business to a mobile first, cloud first business</a:t>
            </a:r>
          </a:p>
          <a:p>
            <a:pPr lvl="0"/>
            <a:r>
              <a:rPr lang="en-US" sz="900" b="0" kern="1200" dirty="0" smtClean="0">
                <a:solidFill>
                  <a:schemeClr val="tx1"/>
                </a:solidFill>
                <a:effectLst/>
                <a:latin typeface="Segoe UI Light" pitchFamily="34" charset="0"/>
                <a:ea typeface="+mn-ea"/>
                <a:cs typeface="+mn-cs"/>
              </a:rPr>
              <a:t>And today we’ve served over 4 trillion emails with Office 365. </a:t>
            </a:r>
          </a:p>
          <a:p>
            <a:pPr lvl="0"/>
            <a:r>
              <a:rPr lang="en-US" sz="900" b="0" kern="1200" dirty="0" smtClean="0">
                <a:solidFill>
                  <a:schemeClr val="tx1"/>
                </a:solidFill>
                <a:effectLst/>
                <a:latin typeface="Segoe UI Light" pitchFamily="34" charset="0"/>
                <a:ea typeface="+mn-ea"/>
                <a:cs typeface="+mn-cs"/>
              </a:rPr>
              <a:t>It became one of our most successful businesses to date.</a:t>
            </a:r>
          </a:p>
          <a:p>
            <a:pPr lvl="0"/>
            <a:r>
              <a:rPr lang="en-US" sz="900" b="0" kern="1200" dirty="0" smtClean="0">
                <a:solidFill>
                  <a:schemeClr val="tx1"/>
                </a:solidFill>
                <a:effectLst/>
                <a:latin typeface="Segoe UI Light" pitchFamily="34" charset="0"/>
                <a:ea typeface="+mn-ea"/>
                <a:cs typeface="+mn-cs"/>
              </a:rPr>
              <a:t>So it’s a great example of how disrupting your existing successful business can succeed.</a:t>
            </a:r>
          </a:p>
          <a:p>
            <a:pPr lvl="0"/>
            <a:endParaRPr lang="en-US" sz="900" b="0" kern="1200" dirty="0" smtClean="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kern="0" dirty="0" smtClean="0"/>
              <a:t>1.2 </a:t>
            </a:r>
            <a:r>
              <a:rPr lang="en-US" sz="900" kern="0" dirty="0" smtClean="0"/>
              <a:t>billion+</a:t>
            </a:r>
            <a:r>
              <a:rPr lang="en-US" sz="1000" kern="0" dirty="0" smtClean="0"/>
              <a:t> </a:t>
            </a:r>
            <a:r>
              <a:rPr lang="en-US" sz="800" kern="0" dirty="0" smtClean="0"/>
              <a:t>us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100" kern="0" dirty="0" smtClean="0"/>
              <a:t>2–3 </a:t>
            </a:r>
            <a:r>
              <a:rPr lang="en-US" sz="1050" kern="0" dirty="0" smtClean="0"/>
              <a:t>hours/day</a:t>
            </a:r>
            <a:r>
              <a:rPr lang="en-US" sz="1100" kern="0" dirty="0" smtClean="0"/>
              <a:t> </a:t>
            </a:r>
            <a:r>
              <a:rPr lang="en-US" sz="800" kern="0" dirty="0" smtClean="0"/>
              <a:t>spent in Office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kern="0" dirty="0" smtClean="0"/>
              <a:t>100+ million </a:t>
            </a:r>
            <a:r>
              <a:rPr lang="en-US" sz="900" kern="0" dirty="0" smtClean="0"/>
              <a:t>downloads of mobile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600" kern="0" dirty="0" smtClean="0"/>
              <a:t>850 million </a:t>
            </a:r>
            <a:r>
              <a:rPr lang="en-US" sz="900" kern="0" dirty="0" smtClean="0"/>
              <a:t>meetings are created a month</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0" dirty="0" smtClean="0"/>
              <a:t>470+ PB </a:t>
            </a:r>
            <a:r>
              <a:rPr lang="en-US" sz="900" kern="0" dirty="0" smtClean="0"/>
              <a:t>of storag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0" dirty="0" smtClean="0"/>
              <a:t>Over </a:t>
            </a:r>
            <a:r>
              <a:rPr lang="en-US" sz="1600" kern="0" dirty="0" smtClean="0"/>
              <a:t>4 trillion </a:t>
            </a:r>
            <a:r>
              <a:rPr lang="en-US" sz="900" kern="0" dirty="0" smtClean="0"/>
              <a:t>emails sent with O365</a:t>
            </a:r>
          </a:p>
          <a:p>
            <a:pPr lvl="0"/>
            <a:endParaRPr lang="en-US" sz="900" b="0" kern="1200" dirty="0" smtClean="0">
              <a:solidFill>
                <a:schemeClr val="tx1"/>
              </a:solidFill>
              <a:effectLst/>
              <a:latin typeface="Segoe UI Light" pitchFamily="34" charset="0"/>
              <a:ea typeface="+mn-ea"/>
              <a:cs typeface="+mn-cs"/>
            </a:endParaRPr>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41395EE-27AA-4CA3-863F-D4245E27F56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56525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9C3C9DC-C0A3-4640-9A7A-3DC41095AE2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41976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Arial"/>
              </a:rPr>
              <a:t>Microsoft Convergence 2015</a:t>
            </a: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9333178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1D0E07F-336E-4C5F-B78E-0A0EC1F1E03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7823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8131433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829653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7213" y="255588"/>
            <a:ext cx="3255962" cy="1831975"/>
          </a:xfrm>
        </p:spPr>
      </p:sp>
      <p:sp>
        <p:nvSpPr>
          <p:cNvPr id="3" name="Notes Placeholder 2"/>
          <p:cNvSpPr>
            <a:spLocks noGrp="1"/>
          </p:cNvSpPr>
          <p:nvPr>
            <p:ph type="body" idx="1"/>
          </p:nvPr>
        </p:nvSpPr>
        <p:spPr/>
        <p:txBody>
          <a:bodyPr/>
          <a:lstStyle/>
          <a:p>
            <a:pPr defTabSz="924916">
              <a:defRPr/>
            </a:pPr>
            <a:r>
              <a:rPr lang="en-US" sz="800" dirty="0" smtClean="0"/>
              <a:t>Windows 10 runs on a wide variety</a:t>
            </a:r>
            <a:r>
              <a:rPr lang="en-US" sz="800" baseline="0" dirty="0" smtClean="0"/>
              <a:t> of devices, from phones with a 4.5” screen, through phablets, tablets, PCs, laptops, convertibles such as the Surface, on desktops and All-in-ones, to the Xbox in your living room and right up to giant 84” screens such as our team collaboration device, the Surface Hub. And it also takes in very tiny cheap computers such as the Raspberry Pi 2, and innovative hardware such as the </a:t>
            </a:r>
            <a:r>
              <a:rPr lang="en-US" sz="800" baseline="0" dirty="0" err="1" smtClean="0"/>
              <a:t>Hololens</a:t>
            </a:r>
            <a:r>
              <a:rPr lang="en-US" sz="800" baseline="0" dirty="0" smtClean="0"/>
              <a:t>.</a:t>
            </a:r>
            <a:endParaRPr lang="en-US" sz="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8273895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smtClean="0"/>
              <a:t>We’ve divided this broad range of hardware into different device families – as developers you will likely build apps that target one</a:t>
            </a:r>
            <a:r>
              <a:rPr lang="en-US" sz="800" baseline="0" dirty="0" smtClean="0"/>
              <a:t> or more device families.</a:t>
            </a:r>
          </a:p>
          <a:p>
            <a:endParaRPr lang="en-US" sz="800" baseline="0" dirty="0" smtClean="0"/>
          </a:p>
          <a:p>
            <a:r>
              <a:rPr lang="en-US" sz="800" baseline="0" dirty="0" smtClean="0"/>
              <a:t>&lt;click&gt;</a:t>
            </a:r>
          </a:p>
          <a:p>
            <a:endParaRPr lang="en-US" sz="800" baseline="0" dirty="0" smtClean="0"/>
          </a:p>
          <a:p>
            <a:r>
              <a:rPr lang="en-US" sz="800" baseline="0" dirty="0" smtClean="0"/>
              <a:t>We have small devices and </a:t>
            </a:r>
            <a:r>
              <a:rPr lang="en-US" sz="800" baseline="0" dirty="0" err="1" smtClean="0"/>
              <a:t>IoT</a:t>
            </a:r>
            <a:r>
              <a:rPr lang="en-US" sz="800" baseline="0" dirty="0" smtClean="0"/>
              <a:t>, phones and small tablets are in the Mobile device family, large tablets and PCs in the PC (or as we more usually call it, Desktop) family, the Xbox, Surface Hub (or ‘Team’) and finally the </a:t>
            </a:r>
            <a:r>
              <a:rPr lang="en-US" sz="800" baseline="0" dirty="0" err="1" smtClean="0"/>
              <a:t>Hololens</a:t>
            </a:r>
            <a:endParaRPr lang="en-US" sz="800" baseline="0" dirty="0" smtClean="0"/>
          </a:p>
          <a:p>
            <a:endParaRPr lang="en-US" sz="800" baseline="0" dirty="0" smtClean="0"/>
          </a:p>
          <a:p>
            <a:r>
              <a:rPr lang="en-US" sz="800" baseline="0" dirty="0" smtClean="0"/>
              <a:t>&lt;click&gt;</a:t>
            </a:r>
          </a:p>
          <a:p>
            <a:endParaRPr lang="en-US" sz="800" baseline="0" dirty="0" smtClean="0"/>
          </a:p>
          <a:p>
            <a:r>
              <a:rPr lang="en-US" sz="800" baseline="0" dirty="0" smtClean="0"/>
              <a:t>And all of these device families run the same developer platform – the Universal Windows Platform. You can build a single app that can run across all these device families using a single SDK and distribute apps through a single store.</a:t>
            </a:r>
          </a:p>
          <a:p>
            <a:r>
              <a:rPr lang="en-US" sz="800" baseline="0" dirty="0" smtClean="0"/>
              <a:t>Of course, with this diversity of devices, what we are *not* saying is that you should create one app that kind of works adequately across all these devices. No, we want you to create apps that shine on each device family, so we’ve added APIs, controls and tools to help you build an adaptive UI.</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1387793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1179678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i="1" kern="1200" dirty="0" smtClean="0">
                <a:solidFill>
                  <a:schemeClr val="tx1"/>
                </a:solidFill>
                <a:effectLst/>
                <a:latin typeface="+mn-lt"/>
                <a:ea typeface="+mn-ea"/>
                <a:cs typeface="+mn-cs"/>
              </a:rPr>
              <a:t>Mobile first, cloud first helps us understand what happens when devices and the cloud are operating at scale together. More Personal Computing helps us think about how our interactions with our computers should evolve so that we can get more done, more quickly.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Kinect for Xbox</a:t>
            </a:r>
            <a:r>
              <a:rPr lang="en-US" sz="1200" i="1" kern="1200" baseline="0" dirty="0" smtClean="0">
                <a:solidFill>
                  <a:schemeClr val="tx1"/>
                </a:solidFill>
                <a:effectLst/>
                <a:latin typeface="+mn-lt"/>
                <a:ea typeface="+mn-ea"/>
                <a:cs typeface="+mn-cs"/>
              </a:rPr>
              <a:t> One is a great example of a computer and an operating system that is natural and sensor aware.  When you enter the room, the Kinect sees you, recognizes you, logs you in and asks you if you wish to engage.  With your voice, or with gesture, or with a game controller, you can start a movie, play a game or even start up a Skype conversation.  In Windows 7 and 8, Kinect for Windows brought a lot of this capability to the PC at an application level… with Windows 10, we are starting to enable this into the core operating system.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As we move into the future,</a:t>
            </a:r>
            <a:r>
              <a:rPr lang="en-US" sz="1200" i="1" kern="1200" baseline="0" dirty="0" smtClean="0">
                <a:solidFill>
                  <a:schemeClr val="tx1"/>
                </a:solidFill>
                <a:effectLst/>
                <a:latin typeface="+mn-lt"/>
                <a:ea typeface="+mn-ea"/>
                <a:cs typeface="+mn-cs"/>
              </a:rPr>
              <a:t> o</a:t>
            </a:r>
            <a:r>
              <a:rPr lang="en-US" sz="1200" i="1" kern="1200" dirty="0" smtClean="0">
                <a:solidFill>
                  <a:schemeClr val="tx1"/>
                </a:solidFill>
                <a:effectLst/>
                <a:latin typeface="+mn-lt"/>
                <a:ea typeface="+mn-ea"/>
                <a:cs typeface="+mn-cs"/>
              </a:rPr>
              <a:t>ur computers will do more. They will have sensors so they can start seeing the real world, they’ll use the cloud to help them understand what they’re observing, and we’re changing how we engage with them, and also how they interact with us.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We’re at start of something new and special..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While this is a different kind of computing, the reason we compute has never changed. We use computers to make the most of our precious time.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The idea behind more personal computing was whether we could add something new to how we work with our computers. What If we could engage them as naturally we can engage each other, maybe we could get stuff done faster, so we could spend more time doing whatever matters most to u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C0659-34C9-4BAF-A7FA-59E8DF728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012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19/2015 11:50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00180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et me show</a:t>
            </a:r>
            <a:r>
              <a:rPr lang="en-US" baseline="0" dirty="0" smtClean="0"/>
              <a:t> </a:t>
            </a:r>
            <a:r>
              <a:rPr lang="en-US" dirty="0" smtClean="0"/>
              <a:t>you with</a:t>
            </a:r>
            <a:r>
              <a:rPr lang="en-US" baseline="0" dirty="0" smtClean="0"/>
              <a:t> some HW that we feel inspired with</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C0659-34C9-4BAF-A7FA-59E8DF728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67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D6C1786B-D865-47EE-B260-49C45866AAC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1112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606102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tx1">
                    <a:lumMod val="75000"/>
                  </a:schemeClr>
                </a:solidFill>
              </a:rPr>
              <a:t>Trimble Video – HoloLens</a:t>
            </a:r>
          </a:p>
          <a:p>
            <a:pPr marL="0" marR="0" indent="0" algn="l" defTabSz="685800" rtl="0" eaLnBrk="1" fontAlgn="auto" latinLnBrk="0" hangingPunct="1">
              <a:lnSpc>
                <a:spcPct val="100000"/>
              </a:lnSpc>
              <a:spcBef>
                <a:spcPts val="0"/>
              </a:spcBef>
              <a:spcAft>
                <a:spcPts val="0"/>
              </a:spcAft>
              <a:buClrTx/>
              <a:buSzTx/>
              <a:buFontTx/>
              <a:buNone/>
              <a:tabLst/>
              <a:defRPr/>
            </a:pPr>
            <a:r>
              <a:rPr lang="en-US" dirty="0" smtClean="0">
                <a:solidFill>
                  <a:schemeClr val="tx1">
                    <a:lumMod val="75000"/>
                  </a:schemeClr>
                </a:solidFill>
              </a:rPr>
              <a:t>2 min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3609162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97539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882185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272319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50661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Arial"/>
              </a:rPr>
              <a:t>Microsoft Convergence 2015</a:t>
            </a: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19/2015 11:56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414364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049052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50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4367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082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50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13806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ok out ALM as a Service as I</a:t>
            </a:r>
            <a:r>
              <a:rPr lang="en-US" baseline="0" dirty="0" smtClean="0"/>
              <a:t> thought we may have put it in to balance the text.  Added ‘Available on </a:t>
            </a:r>
            <a:r>
              <a:rPr lang="en-US" baseline="0" dirty="0" err="1" smtClean="0"/>
              <a:t>prem</a:t>
            </a:r>
            <a:r>
              <a:rPr lang="en-US" baseline="0" dirty="0" smtClean="0"/>
              <a:t> with TFS at teams request.</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863619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image" Target="../media/image19.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 Type="http://schemas.openxmlformats.org/officeDocument/2006/relationships/image" Target="../media/image18.png"/><Relationship Id="rId16" Type="http://schemas.openxmlformats.org/officeDocument/2006/relationships/image" Target="../media/image32.png"/><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image" Target="../media/image57.png"/><Relationship Id="rId1" Type="http://schemas.openxmlformats.org/officeDocument/2006/relationships/slideMaster" Target="../slideMasters/slideMaster5.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89.emf"/><Relationship Id="rId3" Type="http://schemas.openxmlformats.org/officeDocument/2006/relationships/image" Target="../media/image84.emf"/><Relationship Id="rId7" Type="http://schemas.openxmlformats.org/officeDocument/2006/relationships/image" Target="../media/image88.emf"/><Relationship Id="rId2" Type="http://schemas.openxmlformats.org/officeDocument/2006/relationships/image" Target="../media/image83.emf"/><Relationship Id="rId1" Type="http://schemas.openxmlformats.org/officeDocument/2006/relationships/slideMaster" Target="../slideMasters/slideMaster8.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5.emf"/><Relationship Id="rId9" Type="http://schemas.openxmlformats.org/officeDocument/2006/relationships/image" Target="../media/image90.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1.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2.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7.jp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2.emf"/><Relationship Id="rId4" Type="http://schemas.openxmlformats.org/officeDocument/2006/relationships/oleObject" Target="../embeddings/oleObject1.bin"/></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Master" Target="../slideMasters/slideMaster19.xml"/><Relationship Id="rId4" Type="http://schemas.openxmlformats.org/officeDocument/2006/relationships/image" Target="../media/image117.wmf"/></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image" Target="../media/image118.png"/><Relationship Id="rId1" Type="http://schemas.openxmlformats.org/officeDocument/2006/relationships/slideMaster" Target="../slideMasters/slideMaster19.xml"/><Relationship Id="rId4" Type="http://schemas.openxmlformats.org/officeDocument/2006/relationships/image" Target="../media/image116.png"/></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22.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8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image" Target="../media/image19.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 Type="http://schemas.openxmlformats.org/officeDocument/2006/relationships/image" Target="../media/image18.png"/><Relationship Id="rId16" Type="http://schemas.openxmlformats.org/officeDocument/2006/relationships/image" Target="../media/image32.png"/><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image" Target="../media/image57.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1196402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331744544"/>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416896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07147389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1068421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892830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1"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250767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6311439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2385904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1744117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52257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779964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669121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2042808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6210056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1528257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4030" eaLnBrk="1" hangingPunct="1">
                <a:defRPr/>
              </a:pPr>
              <a:endParaRPr lang="en-US" sz="1961"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056" eaLnBrk="1" fontAlgn="auto" hangingPunct="1">
                <a:spcBef>
                  <a:spcPts val="0"/>
                </a:spcBef>
                <a:spcAft>
                  <a:spcPts val="0"/>
                </a:spcAft>
                <a:defRPr/>
              </a:pPr>
              <a:endParaRPr lang="en-US" sz="1800"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950">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923"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50411360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079748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47350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3242257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26352906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1395517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143607557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434671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363848271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81315581"/>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04681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675202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123748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55706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84318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0272643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9498698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17972661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994422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19279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548036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288639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9753773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37797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047428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0251998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444809"/>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2912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466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39995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6858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eaLnBrk="1" hangingPunct="1"/>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718252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450062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70047197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414793375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0689013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820130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01354"/>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49" y="2425050"/>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3629003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6"/>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3363511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242757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663876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1649104"/>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11021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8093321"/>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3375367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913813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40363"/>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3"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161121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40363"/>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5080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985217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0729409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133599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2778794"/>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654940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8287922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831117"/>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96129075"/>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7422046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0253665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402858"/>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273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366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11777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0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512168"/>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6"/>
            <a:ext cx="11653522" cy="395276"/>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86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105363313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71" indent="-28477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05" indent="-27543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75" indent="-28477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58" indent="-22408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39" indent="-22408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2509939"/>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6" y="6256216"/>
            <a:ext cx="2743200" cy="365125"/>
          </a:xfrm>
          <a:prstGeom prst="rect">
            <a:avLst/>
          </a:prstGeom>
        </p:spPr>
        <p:txBody>
          <a:bodyPr/>
          <a:lstStyle/>
          <a:p>
            <a:pPr algn="r" defTabSz="914142">
              <a:defRPr/>
            </a:pPr>
            <a:fld id="{0A164282-434E-41D4-9582-783D542A7B68}" type="slidenum">
              <a:rPr lang="en-US" sz="2000" smtClean="0">
                <a:solidFill>
                  <a:srgbClr val="289FD7"/>
                </a:solidFill>
                <a:latin typeface="Segoe UI Light"/>
              </a:rPr>
              <a:pPr algn="r" defTabSz="914142">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2756060020"/>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532455"/>
            <a:ext cx="8964185" cy="1793090"/>
          </a:xfrm>
          <a:noFill/>
        </p:spPr>
        <p:txBody>
          <a:bodyPr lIns="146304" tIns="91440" rIns="146304" bIns="91440" anchor="ctr"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4775125"/>
            <a:ext cx="8964186"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93344" y="477196"/>
            <a:ext cx="1254995" cy="267546"/>
          </a:xfrm>
          <a:prstGeom prst="rect">
            <a:avLst/>
          </a:prstGeom>
        </p:spPr>
      </p:pic>
    </p:spTree>
    <p:extLst>
      <p:ext uri="{BB962C8B-B14F-4D97-AF65-F5344CB8AC3E}">
        <p14:creationId xmlns:p14="http://schemas.microsoft.com/office/powerpoint/2010/main" val="2651929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340858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1364636"/>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895450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43972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599881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42552262"/>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7534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577672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063736"/>
          </a:xfrm>
          <a:noFill/>
        </p:spPr>
        <p:txBody>
          <a:bodyPr tIns="91440" bIns="91440" anchor="t" anchorCtr="0">
            <a:spAutoFit/>
          </a:bodyPr>
          <a:lstStyle>
            <a:lvl1pPr>
              <a:defRPr sz="637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79182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004359"/>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976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lang="en-US" sz="637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00171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sz="637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77382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1074694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00860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374577632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5028460"/>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520357301"/>
      </p:ext>
    </p:extLst>
  </p:cSld>
  <p:clrMapOvr>
    <a:masterClrMapping/>
  </p:clrMapOvr>
  <p:transition spd="slow"/>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476442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75316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339513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7173070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25814876"/>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523814433"/>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402375440"/>
      </p:ext>
    </p:extLst>
  </p:cSld>
  <p:clrMapOvr>
    <a:masterClrMapping/>
  </p:clrMapOvr>
  <p:transition spd="slow"/>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9105181"/>
      </p:ext>
    </p:extLst>
  </p:cSld>
  <p:clrMapOvr>
    <a:masterClrMapping/>
  </p:clrMapOvr>
  <p:transition spd="slow"/>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182319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2808120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33421118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3194160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0423611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47695504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367673881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34541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62298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52362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87282"/>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52645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30632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68815353"/>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975696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7"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6" name="Presenter"/>
          <p:cNvSpPr txBox="1">
            <a:spLocks/>
          </p:cNvSpPr>
          <p:nvPr/>
        </p:nvSpPr>
        <p:spPr>
          <a:xfrm>
            <a:off x="6342215" y="5233034"/>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4081" y="4263385"/>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92603061"/>
      </p:ext>
    </p:extLst>
  </p:cSld>
  <p:clrMapOvr>
    <a:masterClrMapping/>
  </p:clrMapOvr>
  <p:transition>
    <p:fade/>
  </p:transition>
  <p:timing>
    <p:tnLst>
      <p:par>
        <p:cTn id="1" dur="indefinite" restart="never" nodeType="tmRoot"/>
      </p:par>
    </p:tnLst>
  </p:timing>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7"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0" name="Title"/>
          <p:cNvSpPr>
            <a:spLocks noGrp="1"/>
          </p:cNvSpPr>
          <p:nvPr>
            <p:ph type="title" hasCustomPrompt="1"/>
          </p:nvPr>
        </p:nvSpPr>
        <p:spPr>
          <a:xfrm>
            <a:off x="6364081" y="4263385"/>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74847926"/>
      </p:ext>
    </p:extLst>
  </p:cSld>
  <p:clrMapOvr>
    <a:masterClrMapping/>
  </p:clrMapOvr>
  <p:transition>
    <p:fade/>
  </p:transition>
  <p:timing>
    <p:tnLst>
      <p:par>
        <p:cTn id="1" dur="indefinite" restart="never" nodeType="tmRoot"/>
      </p:par>
    </p:tnLst>
  </p:timing>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9" name="Title"/>
          <p:cNvSpPr>
            <a:spLocks noGrp="1"/>
          </p:cNvSpPr>
          <p:nvPr>
            <p:ph type="title" hasCustomPrompt="1"/>
          </p:nvPr>
        </p:nvSpPr>
        <p:spPr>
          <a:xfrm>
            <a:off x="1" y="2194769"/>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83674310"/>
      </p:ext>
    </p:extLst>
  </p:cSld>
  <p:clrMapOvr>
    <a:masterClrMapping/>
  </p:clrMapOvr>
  <p:transition>
    <p:fade/>
  </p:transition>
  <p:timing>
    <p:tnLst>
      <p:par>
        <p:cTn id="1" dur="indefinite" restart="never" nodeType="tmRoot"/>
      </p:par>
    </p:tnLst>
  </p:timing>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2"/>
            <a:ext cx="10722224"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666656046"/>
      </p:ext>
    </p:extLst>
  </p:cSld>
  <p:clrMapOvr>
    <a:masterClrMapping/>
  </p:clrMapOvr>
  <p:transition>
    <p:fade/>
  </p:transition>
  <p:timing>
    <p:tnLst>
      <p:par>
        <p:cTn id="1" dur="indefinite" restart="never" nodeType="tmRoot"/>
      </p:par>
    </p:tnLst>
  </p:timing>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3904714860"/>
      </p:ext>
    </p:extLst>
  </p:cSld>
  <p:clrMapOvr>
    <a:masterClrMapping/>
  </p:clrMapOvr>
  <p:transition>
    <p:fade/>
  </p:transition>
  <p:timing>
    <p:tnLst>
      <p:par>
        <p:cTn id="1" dur="indefinite" restart="never" nodeType="tmRoot"/>
      </p:par>
    </p:tnLst>
  </p:timing>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2860677531"/>
      </p:ext>
    </p:extLst>
  </p:cSld>
  <p:clrMapOvr>
    <a:masterClrMapping/>
  </p:clrMapOvr>
  <p:transition>
    <p:fade/>
  </p:transition>
  <p:timing>
    <p:tnLst>
      <p:par>
        <p:cTn id="1" dur="indefinite" restart="never" nodeType="tmRoot"/>
      </p:par>
    </p:tnLst>
  </p:timing>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34547114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519651591"/>
      </p:ext>
    </p:extLst>
  </p:cSld>
  <p:clrMapOvr>
    <a:masterClrMapping/>
  </p:clrMapOvr>
  <p:transition>
    <p:fade/>
  </p:transition>
  <p:timing>
    <p:tnLst>
      <p:par>
        <p:cTn id="1" dur="indefinite" restart="never" nodeType="tmRoot"/>
      </p:par>
    </p:tnLst>
  </p:timing>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61896094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168133374"/>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47003689"/>
      </p:ext>
    </p:extLst>
  </p:cSld>
  <p:clrMapOvr>
    <a:masterClrMapping/>
  </p:clrMapOvr>
  <p:transition>
    <p:fade/>
  </p:transition>
  <p:timing>
    <p:tnLst>
      <p:par>
        <p:cTn id="1" dur="indefinite" restart="never" nodeType="tmRoot"/>
      </p:par>
    </p:tnLst>
  </p:timing>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2" name="Body"/>
          <p:cNvSpPr>
            <a:spLocks noGrp="1"/>
          </p:cNvSpPr>
          <p:nvPr>
            <p:ph type="body" sz="quarter" idx="11"/>
          </p:nvPr>
        </p:nvSpPr>
        <p:spPr>
          <a:xfrm>
            <a:off x="373985" y="4824405"/>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2"/>
            <a:ext cx="6748632"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26706935"/>
      </p:ext>
    </p:extLst>
  </p:cSld>
  <p:clrMapOvr>
    <a:masterClrMapping/>
  </p:clrMapOvr>
  <p:transition>
    <p:fade/>
  </p:transition>
  <p:timing>
    <p:tnLst>
      <p:par>
        <p:cTn id="1" dur="indefinite" restart="never" nodeType="tmRoot"/>
      </p:par>
    </p:tnLst>
  </p:timing>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4" name="Subhead"/>
          <p:cNvSpPr>
            <a:spLocks noGrp="1"/>
          </p:cNvSpPr>
          <p:nvPr>
            <p:ph type="body" sz="quarter" idx="12" hasCustomPrompt="1"/>
          </p:nvPr>
        </p:nvSpPr>
        <p:spPr>
          <a:xfrm>
            <a:off x="374748" y="3873502"/>
            <a:ext cx="6748632"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1774698515"/>
      </p:ext>
    </p:extLst>
  </p:cSld>
  <p:clrMapOvr>
    <a:masterClrMapping/>
  </p:clrMapOvr>
  <p:transition>
    <p:fade/>
  </p:transition>
  <p:timing>
    <p:tnLst>
      <p:par>
        <p:cTn id="1" dur="indefinite" restart="never" nodeType="tmRoot"/>
      </p:par>
    </p:tnLst>
  </p:timing>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3395138194"/>
      </p:ext>
    </p:extLst>
  </p:cSld>
  <p:clrMapOvr>
    <a:masterClrMapping/>
  </p:clrMapOvr>
  <p:transition>
    <p:fade/>
  </p:transition>
  <p:timing>
    <p:tnLst>
      <p:par>
        <p:cTn id="1" dur="indefinite" restart="never" nodeType="tmRoot"/>
      </p:par>
    </p:tnLst>
  </p:timing>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7679425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36580197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8"/>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24947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115429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8"/>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6840495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13045850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1940084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
        <p:nvSpPr>
          <p:cNvPr id="14" name="Subhead"/>
          <p:cNvSpPr txBox="1">
            <a:spLocks/>
          </p:cNvSpPr>
          <p:nvPr/>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004"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7961896"/>
      </p:ext>
    </p:extLst>
  </p:cSld>
  <p:clrMapOvr>
    <a:masterClrMapping/>
  </p:clrMapOvr>
  <p:transition>
    <p:fade/>
  </p:transition>
  <p:timing>
    <p:tnLst>
      <p:par>
        <p:cTn id="1" dur="indefinite" restart="never" nodeType="tmRoot"/>
      </p:par>
    </p:tnLst>
  </p:timing>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
        <p:nvSpPr>
          <p:cNvPr id="13" name="Headline"/>
          <p:cNvSpPr>
            <a:spLocks noGrp="1"/>
          </p:cNvSpPr>
          <p:nvPr>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22458908"/>
      </p:ext>
    </p:extLst>
  </p:cSld>
  <p:clrMapOvr>
    <a:masterClrMapping/>
  </p:clrMapOvr>
  <p:transition>
    <p:fade/>
  </p:transition>
  <p:timing>
    <p:tnLst>
      <p:par>
        <p:cTn id="1" dur="indefinite" restart="never" nodeType="tmRoot"/>
      </p:par>
    </p:tnLst>
  </p:timing>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Tree>
    <p:extLst>
      <p:ext uri="{BB962C8B-B14F-4D97-AF65-F5344CB8AC3E}">
        <p14:creationId xmlns:p14="http://schemas.microsoft.com/office/powerpoint/2010/main" val="3796248667"/>
      </p:ext>
    </p:extLst>
  </p:cSld>
  <p:clrMapOvr>
    <a:masterClrMapping/>
  </p:clrMapOvr>
  <p:transition>
    <p:fade/>
  </p:transition>
  <p:timing>
    <p:tnLst>
      <p:par>
        <p:cTn id="1" dur="indefinite" restart="never" nodeType="tmRoot"/>
      </p:par>
    </p:tnLst>
  </p:timing>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5"/>
            <a:ext cx="8772126" cy="917575"/>
          </a:xfrm>
          <a:prstGeom prst="rect">
            <a:avLst/>
          </a:prstGeom>
        </p:spPr>
        <p:txBody>
          <a:bodyPr/>
          <a:lstStyle/>
          <a:p>
            <a:r>
              <a:rPr lang="en-US" sz="5399"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1"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1050820"/>
      </p:ext>
    </p:extLst>
  </p:cSld>
  <p:clrMapOvr>
    <a:masterClrMapping/>
  </p:clrMapOvr>
  <p:transition>
    <p:fade/>
  </p:transition>
  <p:timing>
    <p:tnLst>
      <p:par>
        <p:cTn id="1" dur="indefinite" restart="never" nodeType="tmRoot"/>
      </p:par>
    </p:tnLst>
  </p:timing>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5"/>
            <a:ext cx="8772126" cy="917575"/>
          </a:xfrm>
          <a:prstGeom prst="rect">
            <a:avLst/>
          </a:prstGeom>
        </p:spPr>
        <p:txBody>
          <a:bodyPr/>
          <a:lstStyle/>
          <a:p>
            <a:r>
              <a:rPr lang="en-US" sz="5399"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1631516744"/>
      </p:ext>
    </p:extLst>
  </p:cSld>
  <p:clrMapOvr>
    <a:masterClrMapping/>
  </p:clrMapOvr>
  <p:transition>
    <p:fade/>
  </p:transition>
  <p:timing>
    <p:tnLst>
      <p:par>
        <p:cTn id="1" dur="indefinite" restart="never" nodeType="tmRoot"/>
      </p:par>
    </p:tnLst>
  </p:timing>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5"/>
            <a:ext cx="10086517" cy="917575"/>
          </a:xfrm>
          <a:prstGeom prst="rect">
            <a:avLst/>
          </a:prstGeom>
        </p:spPr>
        <p:txBody>
          <a:bodyPr/>
          <a:lstStyle>
            <a:lvl1pPr algn="ctr">
              <a:defRPr sz="5998">
                <a:solidFill>
                  <a:srgbClr val="92D050"/>
                </a:solidFill>
              </a:defRPr>
            </a:lvl1pPr>
          </a:lstStyle>
          <a:p>
            <a:r>
              <a:rPr lang="en-US" sz="5399"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503883393"/>
      </p:ext>
    </p:extLst>
  </p:cSld>
  <p:clrMapOvr>
    <a:masterClrMapping/>
  </p:clrMapOvr>
  <p:transition>
    <p:fade/>
  </p:transition>
  <p:timing>
    <p:tnLst>
      <p:par>
        <p:cTn id="1" dur="indefinite" restart="never" nodeType="tmRoot"/>
      </p:par>
    </p:tnLst>
  </p:timing>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7225724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Tree>
    <p:extLst>
      <p:ext uri="{BB962C8B-B14F-4D97-AF65-F5344CB8AC3E}">
        <p14:creationId xmlns:p14="http://schemas.microsoft.com/office/powerpoint/2010/main" val="205630036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7175136"/>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42" tIns="46621" rIns="93242"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6"/>
            <a:ext cx="3694118" cy="2413891"/>
          </a:xfrm>
          <a:prstGeom prst="rect">
            <a:avLst/>
          </a:prstGeom>
        </p:spPr>
        <p:txBody>
          <a:bodyPr anchor="ctr">
            <a:noAutofit/>
          </a:bodyPr>
          <a:lstStyle>
            <a:lvl1pPr>
              <a:defRPr sz="8798"/>
            </a:lvl1pPr>
          </a:lstStyle>
          <a:p>
            <a:r>
              <a:rPr lang="en-US" sz="8796" dirty="0">
                <a:solidFill>
                  <a:schemeClr val="bg1">
                    <a:alpha val="99000"/>
                  </a:schemeClr>
                </a:solidFill>
              </a:rPr>
              <a:t>Q&amp;A</a:t>
            </a:r>
          </a:p>
        </p:txBody>
      </p:sp>
    </p:spTree>
    <p:extLst>
      <p:ext uri="{BB962C8B-B14F-4D97-AF65-F5344CB8AC3E}">
        <p14:creationId xmlns:p14="http://schemas.microsoft.com/office/powerpoint/2010/main" val="25617028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51592751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42" tIns="46621" rIns="93242"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31" tIns="41966" rIns="83931" bIns="41966" numCol="1" anchor="t" anchorCtr="0" compatLnSpc="1">
            <a:prstTxWarp prst="textNoShape">
              <a:avLst/>
            </a:prstTxWarp>
          </a:body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1"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39911667"/>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7499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51042237"/>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50" y="2425052"/>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1925445974"/>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7"/>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3608005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4" indent="0">
              <a:buNone/>
              <a:defRPr/>
            </a:lvl4pPr>
            <a:lvl5pPr marL="67220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506483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4121870"/>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0" indent="0">
              <a:buNone/>
              <a:tabLst/>
              <a:defRPr sz="1961"/>
            </a:lvl3pPr>
            <a:lvl4pPr marL="451247" indent="0">
              <a:buNone/>
              <a:defRPr/>
            </a:lvl4pPr>
            <a:lvl5pPr marL="67220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0" indent="0">
              <a:buNone/>
              <a:tabLst/>
              <a:defRPr sz="1961"/>
            </a:lvl3pPr>
            <a:lvl4pPr marL="451247" indent="0">
              <a:buNone/>
              <a:defRPr/>
            </a:lvl4pPr>
            <a:lvl5pPr marL="67220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398644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443234"/>
          </a:xfrm>
        </p:spPr>
        <p:txBody>
          <a:bodyPr wrap="square">
            <a:spAutoFit/>
          </a:bodyPr>
          <a:lstStyle>
            <a:lvl1pPr marL="281641" indent="-281641">
              <a:spcBef>
                <a:spcPts val="1200"/>
              </a:spcBef>
              <a:buClr>
                <a:schemeClr val="tx1"/>
              </a:buClr>
              <a:buFont typeface="Arial" pitchFamily="34" charset="0"/>
              <a:buChar char="•"/>
              <a:defRPr sz="3137"/>
            </a:lvl1pPr>
            <a:lvl2pPr marL="520634" indent="-228571">
              <a:defRPr sz="2353"/>
            </a:lvl2pPr>
            <a:lvl3pPr marL="685713" indent="-165079">
              <a:tabLst/>
              <a:defRPr sz="1961"/>
            </a:lvl3pPr>
            <a:lvl4pPr marL="863490" indent="-177776">
              <a:defRPr/>
            </a:lvl4pPr>
            <a:lvl5pPr marL="1028569" indent="-16507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43234"/>
          </a:xfrm>
        </p:spPr>
        <p:txBody>
          <a:bodyPr wrap="square">
            <a:spAutoFit/>
          </a:bodyPr>
          <a:lstStyle>
            <a:lvl1pPr marL="281641" indent="-281641">
              <a:spcBef>
                <a:spcPts val="1200"/>
              </a:spcBef>
              <a:buClr>
                <a:schemeClr val="tx1"/>
              </a:buClr>
              <a:buFont typeface="Arial" pitchFamily="34" charset="0"/>
              <a:buChar char="•"/>
              <a:defRPr sz="3137"/>
            </a:lvl1pPr>
            <a:lvl2pPr marL="520634" indent="-228571">
              <a:defRPr sz="2353"/>
            </a:lvl2pPr>
            <a:lvl3pPr marL="685713" indent="-165079">
              <a:tabLst/>
              <a:defRPr sz="1961"/>
            </a:lvl3pPr>
            <a:lvl4pPr marL="863490" indent="-177776">
              <a:defRPr/>
            </a:lvl4pPr>
            <a:lvl5pPr marL="1028569" indent="-16507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613133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4917108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77906045"/>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87428555"/>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8" y="2240364"/>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10"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5"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0" y="4207041"/>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592075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31" y="2240364"/>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6234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1591166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11625052"/>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09276263"/>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9189749"/>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15967753"/>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3599494411"/>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51449996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696111"/>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926997963"/>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333333"/>
              </a:solidFill>
            </a:endParaRPr>
          </a:p>
        </p:txBody>
      </p:sp>
    </p:spTree>
    <p:extLst>
      <p:ext uri="{BB962C8B-B14F-4D97-AF65-F5344CB8AC3E}">
        <p14:creationId xmlns:p14="http://schemas.microsoft.com/office/powerpoint/2010/main" val="7051597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07344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322570"/>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115825"/>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8928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632188"/>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1615"/>
            <a:ext cx="11653522" cy="395236"/>
          </a:xfrm>
          <a:prstGeom prst="rect">
            <a:avLst/>
          </a:prstGeom>
          <a:noFill/>
          <a:ln w="12700">
            <a:noFill/>
            <a:miter lim="800000"/>
            <a:headEnd type="none" w="sm" len="sm"/>
            <a:tailEnd type="none" w="sm" len="sm"/>
          </a:ln>
          <a:effectLst/>
        </p:spPr>
        <p:txBody>
          <a:bodyPr vert="horz" wrap="square" lIns="179235" tIns="143388" rIns="179235" bIns="143388" numCol="1" anchor="t" anchorCtr="0" compatLnSpc="1">
            <a:prstTxWarp prst="textNoShape">
              <a:avLst/>
            </a:prstTxWarp>
            <a:spAutoFit/>
          </a:bodyPr>
          <a:lstStyle/>
          <a:p>
            <a:pPr defTabSz="91380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201553245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53" indent="-28475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69" indent="-27541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0" indent="-28475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89"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4"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6390060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7" y="6256216"/>
            <a:ext cx="2743200" cy="365125"/>
          </a:xfrm>
          <a:prstGeom prst="rect">
            <a:avLst/>
          </a:prstGeom>
        </p:spPr>
        <p:txBody>
          <a:bodyPr/>
          <a:lstStyle/>
          <a:p>
            <a:pPr algn="r" defTabSz="914105">
              <a:defRPr/>
            </a:pPr>
            <a:fld id="{0A164282-434E-41D4-9582-783D542A7B68}" type="slidenum">
              <a:rPr lang="en-US" sz="2000" smtClean="0">
                <a:solidFill>
                  <a:srgbClr val="289FD7"/>
                </a:solidFill>
                <a:latin typeface="Segoe UI Light"/>
              </a:rPr>
              <a:pPr algn="r" defTabSz="91410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94580955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94031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88970109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63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86598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2"/>
            <a:ext cx="5826760"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3" y="1187622"/>
            <a:ext cx="5826760"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590091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4" y="756000"/>
            <a:ext cx="12181914" cy="348283"/>
          </a:xfrm>
          <a:prstGeom prst="rect">
            <a:avLst/>
          </a:prstGeom>
          <a:noFill/>
          <a:ln w="9525">
            <a:noFill/>
            <a:miter lim="800000"/>
            <a:headEnd/>
            <a:tailEnd/>
          </a:ln>
        </p:spPr>
        <p:txBody>
          <a:bodyPr wrap="square" lIns="360000" tIns="36000" rIns="90000" bIns="36000">
            <a:spAutoFit/>
          </a:bodyPr>
          <a:lstStyle>
            <a:lvl1pPr>
              <a:defRPr lang="de-DE" sz="2000" kern="1200" dirty="0" smtClean="0">
                <a:solidFill>
                  <a:schemeClr val="tx1"/>
                </a:solidFill>
                <a:latin typeface="Calibri" pitchFamily="34" charset="0"/>
                <a:ea typeface="+mn-ea"/>
                <a:cs typeface="Calibri" pitchFamily="34" charset="0"/>
              </a:defRPr>
            </a:lvl1pPr>
          </a:lstStyle>
          <a:p>
            <a:pPr marL="177760" lvl="0" indent="-177760" algn="l" defTabSz="801502"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92000" cy="795405"/>
          </a:xfrm>
          <a:prstGeom prst="rect">
            <a:avLst/>
          </a:prstGeom>
          <a:noFill/>
          <a:effectLst/>
        </p:spPr>
        <p:txBody>
          <a:bodyPr wrap="square" lIns="360000" tIns="36000" rIns="90000" bIns="36000">
            <a:spAutoFit/>
          </a:bodyPr>
          <a:lstStyle/>
          <a:p>
            <a:pPr marL="177760" marR="0" lvl="0" indent="-177760" algn="l" defTabSz="801502"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2662710576"/>
      </p:ext>
    </p:extLst>
  </p:cSld>
  <p:clrMapOvr>
    <a:masterClrMapping/>
  </p:clrMapOvr>
  <p:transition spd="slow">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870" y="4452770"/>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303744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358937"/>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4786130"/>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74056539"/>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3417960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808976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188895"/>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4965286"/>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3625803"/>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281757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289551"/>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85307821"/>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2234932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813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2839595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8978398"/>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201987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019818"/>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87170489"/>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0720075"/>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68867524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22186087"/>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47507922"/>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333333"/>
              </a:solidFill>
            </a:endParaRPr>
          </a:p>
        </p:txBody>
      </p:sp>
    </p:spTree>
    <p:extLst>
      <p:ext uri="{BB962C8B-B14F-4D97-AF65-F5344CB8AC3E}">
        <p14:creationId xmlns:p14="http://schemas.microsoft.com/office/powerpoint/2010/main" val="2220295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7445707"/>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322766"/>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778688"/>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820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000596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850186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536148"/>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394340248"/>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17830221"/>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2708833371"/>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02187129"/>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1448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49" y="2425050"/>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468804254"/>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6"/>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4109490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9818085"/>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798789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91009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218671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619692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01375875"/>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81988663"/>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40363"/>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532944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40363"/>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609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27481537"/>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42149906"/>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64502859"/>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5626867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 ANIMATED">
    <p:spTree>
      <p:nvGrpSpPr>
        <p:cNvPr id="1" name=""/>
        <p:cNvGrpSpPr/>
        <p:nvPr/>
      </p:nvGrpSpPr>
      <p:grpSpPr>
        <a:xfrm>
          <a:off x="0" y="0"/>
          <a:ext cx="0" cy="0"/>
          <a:chOff x="0" y="0"/>
          <a:chExt cx="0" cy="0"/>
        </a:xfrm>
      </p:grpSpPr>
      <p:sp>
        <p:nvSpPr>
          <p:cNvPr id="15" name="Rectangle 14"/>
          <p:cNvSpPr/>
          <p:nvPr userDrawn="1"/>
        </p:nvSpPr>
        <p:spPr bwMode="white">
          <a:xfrm>
            <a:off x="0" y="0"/>
            <a:ext cx="12191377"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7009114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1.34362E-6 L -3.90605E-7 -1.34362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48339172"/>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990395990"/>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3694890796"/>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10194419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333333"/>
              </a:solidFill>
            </a:endParaRPr>
          </a:p>
        </p:txBody>
      </p:sp>
    </p:spTree>
    <p:extLst>
      <p:ext uri="{BB962C8B-B14F-4D97-AF65-F5344CB8AC3E}">
        <p14:creationId xmlns:p14="http://schemas.microsoft.com/office/powerpoint/2010/main" val="14637364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430677"/>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420287"/>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93879"/>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5935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9590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4113107310"/>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6"/>
            <a:ext cx="11653522" cy="395276"/>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86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175472010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71" indent="-28477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05" indent="-27543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75" indent="-28477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58" indent="-22408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39" indent="-22408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0500565"/>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5">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404620674"/>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9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880094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299591094"/>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18696374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75435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7"/>
            <a:ext cx="1517768" cy="326167"/>
          </a:xfrm>
          <a:prstGeom prst="rect">
            <a:avLst/>
          </a:prstGeom>
        </p:spPr>
      </p:pic>
    </p:spTree>
    <p:extLst>
      <p:ext uri="{BB962C8B-B14F-4D97-AF65-F5344CB8AC3E}">
        <p14:creationId xmlns:p14="http://schemas.microsoft.com/office/powerpoint/2010/main" val="3859542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4623291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0067"/>
            <a:ext cx="1522404" cy="326167"/>
          </a:xfrm>
          <a:prstGeom prst="rect">
            <a:avLst/>
          </a:prstGeom>
        </p:spPr>
      </p:pic>
    </p:spTree>
    <p:extLst>
      <p:ext uri="{BB962C8B-B14F-4D97-AF65-F5344CB8AC3E}">
        <p14:creationId xmlns:p14="http://schemas.microsoft.com/office/powerpoint/2010/main" val="2665180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327302010"/>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1563758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476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07919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65626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878146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745112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5235088"/>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6676564"/>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46028296"/>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2546801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53102124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2048785"/>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0313854"/>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18028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620921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82541024"/>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03918083"/>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0423262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4600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5803024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4084358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8582233"/>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76795529"/>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732261009"/>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86199501"/>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0091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382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206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066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4673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bwMode="ltGray">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rgbClr val="FFFFFF"/>
                    </a:gs>
                    <a:gs pos="100000">
                      <a:srgbClr val="FFFFFF"/>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339218354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2980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65453401"/>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Demo slide Charco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4" name="Straight Connector 13"/>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p:cNvSpPr>
            <a:spLocks noGrp="1"/>
          </p:cNvSpPr>
          <p:nvPr>
            <p:ph type="body" sz="quarter" idx="16"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15839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P spid="15" grpId="0">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5"/>
                        </p:tgtEl>
                        <p:attrNameLst>
                          <p:attrName>ppt_x</p:attrName>
                          <p:attrName>ppt_y</p:attrName>
                        </p:attrNameLst>
                      </p:cBhvr>
                      <p:rCtr x="1966" y="23"/>
                    </p:animMotion>
                  </p:childTnLst>
                </p:cTn>
              </p:par>
            </p:tnLst>
          </p:tmpl>
        </p:tmplLst>
      </p:bldP>
    </p:bld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9510962"/>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532448"/>
            <a:ext cx="6276530" cy="1793104"/>
          </a:xfrm>
          <a:noFill/>
        </p:spPr>
        <p:txBody>
          <a:bodyPr lIns="146304" tIns="91440" rIns="146304" bIns="91440" anchor="t" anchorCtr="0"/>
          <a:lstStyle>
            <a:lvl1pPr algn="l" defTabSz="914367" rtl="0" eaLnBrk="1" latinLnBrk="0" hangingPunct="1">
              <a:lnSpc>
                <a:spcPct val="90000"/>
              </a:lnSpc>
              <a:spcBef>
                <a:spcPct val="0"/>
              </a:spcBef>
              <a:buNone/>
              <a:defRPr lang="en-US" sz="4313"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4325532"/>
            <a:ext cx="6276530" cy="1195408"/>
          </a:xfrm>
        </p:spPr>
        <p:txBody>
          <a:bodyPr tIns="109728" bIns="109728">
            <a:noAutofit/>
          </a:bodyPr>
          <a:lstStyle>
            <a:lvl1pPr marL="0" indent="0">
              <a:spcBef>
                <a:spcPts val="0"/>
              </a:spcBef>
              <a:buNone/>
              <a:defRPr sz="3137" spc="0" baseline="0">
                <a:gradFill>
                  <a:gsLst>
                    <a:gs pos="76768">
                      <a:srgbClr val="FFFFFF"/>
                    </a:gs>
                    <a:gs pos="53000">
                      <a:srgbClr val="FFFFFF"/>
                    </a:gs>
                  </a:gsLst>
                  <a:lin ang="5400000" scaled="0"/>
                </a:gradFill>
                <a:latin typeface="+mn-lt"/>
              </a:defRPr>
            </a:lvl1pPr>
          </a:lstStyle>
          <a:p>
            <a:pPr lvl="0"/>
            <a:r>
              <a:rPr lang="en-US" dirty="0" smtClean="0"/>
              <a:t>Speaker Name</a:t>
            </a:r>
          </a:p>
        </p:txBody>
      </p:sp>
      <p:sp>
        <p:nvSpPr>
          <p:cNvPr id="5" name="Windows 10"/>
          <p:cNvSpPr>
            <a:spLocks noChangeAspect="1" noEditPoints="1"/>
          </p:cNvSpPr>
          <p:nvPr userDrawn="1"/>
        </p:nvSpPr>
        <p:spPr bwMode="auto">
          <a:xfrm>
            <a:off x="8863725" y="5970686"/>
            <a:ext cx="2878507" cy="53793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Tree>
    <p:extLst>
      <p:ext uri="{BB962C8B-B14F-4D97-AF65-F5344CB8AC3E}">
        <p14:creationId xmlns:p14="http://schemas.microsoft.com/office/powerpoint/2010/main" val="75558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446720" y="2362946"/>
            <a:ext cx="7552733" cy="1962606"/>
          </a:xfrm>
          <a:noFill/>
        </p:spPr>
        <p:txBody>
          <a:bodyPr lIns="0" tIns="91440" rIns="0" bIns="91440" anchor="b" anchorCtr="0"/>
          <a:lstStyle>
            <a:lvl1pPr algn="l" defTabSz="914367" rtl="0" eaLnBrk="1" latinLnBrk="0" hangingPunct="1">
              <a:lnSpc>
                <a:spcPct val="90000"/>
              </a:lnSpc>
              <a:spcBef>
                <a:spcPct val="0"/>
              </a:spcBef>
              <a:buNone/>
              <a:defRPr lang="en-US" sz="6862"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Insert presentation title here</a:t>
            </a:r>
            <a:endParaRPr lang="en-US" dirty="0"/>
          </a:p>
        </p:txBody>
      </p:sp>
      <p:sp>
        <p:nvSpPr>
          <p:cNvPr id="3" name="Text Placeholder 2"/>
          <p:cNvSpPr>
            <a:spLocks noGrp="1"/>
          </p:cNvSpPr>
          <p:nvPr>
            <p:ph type="body" sz="quarter" idx="14" hasCustomPrompt="1"/>
          </p:nvPr>
        </p:nvSpPr>
        <p:spPr bwMode="auto">
          <a:xfrm>
            <a:off x="445100" y="4325532"/>
            <a:ext cx="6276530" cy="635896"/>
          </a:xfrm>
        </p:spPr>
        <p:txBody>
          <a:bodyPr lIns="0" tIns="109728" rIns="0" bIns="109728">
            <a:noAutofit/>
          </a:bodyPr>
          <a:lstStyle>
            <a:lvl1pPr marL="0" indent="0">
              <a:spcBef>
                <a:spcPts val="0"/>
              </a:spcBef>
              <a:buNone/>
              <a:defRPr sz="2941" spc="0" baseline="0">
                <a:gradFill>
                  <a:gsLst>
                    <a:gs pos="76768">
                      <a:srgbClr val="FFFFFF"/>
                    </a:gs>
                    <a:gs pos="53000">
                      <a:srgbClr val="FFFFFF"/>
                    </a:gs>
                  </a:gsLst>
                  <a:lin ang="5400000" scaled="0"/>
                </a:gradFill>
                <a:latin typeface="+mn-lt"/>
              </a:defRPr>
            </a:lvl1pPr>
          </a:lstStyle>
          <a:p>
            <a:pPr lvl="0"/>
            <a:r>
              <a:rPr lang="en-US" dirty="0" smtClean="0"/>
              <a:t>Speaker Name</a:t>
            </a:r>
          </a:p>
        </p:txBody>
      </p:sp>
      <p:sp>
        <p:nvSpPr>
          <p:cNvPr id="6" name="Rectangle 5"/>
          <p:cNvSpPr/>
          <p:nvPr userDrawn="1"/>
        </p:nvSpPr>
        <p:spPr bwMode="auto">
          <a:xfrm>
            <a:off x="0" y="6768345"/>
            <a:ext cx="12192000" cy="8965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006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Section Divider">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0" y="6768345"/>
            <a:ext cx="12192000" cy="8965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userDrawn="1"/>
        </p:nvSpPr>
        <p:spPr>
          <a:xfrm>
            <a:off x="443544" y="470068"/>
            <a:ext cx="6605615" cy="5942770"/>
          </a:xfrm>
          <a:prstGeom prst="rect">
            <a:avLst/>
          </a:prstGeom>
          <a:noFill/>
        </p:spPr>
        <p:txBody>
          <a:bodyPr wrap="square" lIns="0" tIns="0" rIns="0" bIns="0" rtlCol="0" anchor="b">
            <a:noAutofit/>
          </a:bodyPr>
          <a:lstStyle/>
          <a:p>
            <a:pPr>
              <a:lnSpc>
                <a:spcPct val="90000"/>
              </a:lnSpc>
              <a:spcAft>
                <a:spcPts val="588"/>
              </a:spcAft>
            </a:pPr>
            <a:endParaRPr lang="en-US" sz="6862" b="1" dirty="0" err="1" smtClean="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0095525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Half Blue ">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60944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7211926"/>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7" rtl="0" eaLnBrk="1" latinLnBrk="0" hangingPunct="1">
              <a:lnSpc>
                <a:spcPct val="90000"/>
              </a:lnSpc>
              <a:spcBef>
                <a:spcPct val="0"/>
              </a:spcBef>
              <a:buNone/>
              <a:defRPr lang="en-US" sz="3529" b="1" kern="1200" cap="none" spc="0" baseline="0" dirty="0">
                <a:ln w="3175">
                  <a:noFill/>
                </a:ln>
                <a:gradFill>
                  <a:gsLst>
                    <a:gs pos="76768">
                      <a:srgbClr val="FFFFFF"/>
                    </a:gs>
                    <a:gs pos="53000">
                      <a:srgbClr val="FFFFFF"/>
                    </a:gs>
                  </a:gsLst>
                  <a:lin ang="5400000" scaled="0"/>
                </a:gradFill>
                <a:effectLst/>
                <a:latin typeface="Segoe UI" panose="020B05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518122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_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940639"/>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832882"/>
          </a:xfrm>
          <a:noFill/>
        </p:spPr>
        <p:txBody>
          <a:bodyPr tIns="91440" bIns="91440" anchor="t" anchorCtr="0">
            <a:spAutoFit/>
          </a:bodyPr>
          <a:lstStyle>
            <a:lvl1pPr algn="l" defTabSz="914367" rtl="0" eaLnBrk="1" latinLnBrk="0" hangingPunct="1">
              <a:lnSpc>
                <a:spcPct val="90000"/>
              </a:lnSpc>
              <a:spcBef>
                <a:spcPct val="0"/>
              </a:spcBef>
              <a:buNone/>
              <a:defRPr lang="en-US" sz="4705"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lang="en-US" sz="3137" kern="1200" spc="0" baseline="0" dirty="0" smtClean="0">
                <a:gradFill>
                  <a:gsLst>
                    <a:gs pos="76768">
                      <a:srgbClr val="FFFFFF"/>
                    </a:gs>
                    <a:gs pos="53000">
                      <a:srgbClr val="FFFFFF"/>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Tree>
    <p:extLst>
      <p:ext uri="{BB962C8B-B14F-4D97-AF65-F5344CB8AC3E}">
        <p14:creationId xmlns:p14="http://schemas.microsoft.com/office/powerpoint/2010/main" val="42432656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847096" y="6096903"/>
            <a:ext cx="914353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Microsoft </a:t>
            </a:r>
            <a:r>
              <a:rPr lang="en-US" sz="686" dirty="0">
                <a:gradFill>
                  <a:gsLst>
                    <a:gs pos="0">
                      <a:srgbClr val="FFFFFF"/>
                    </a:gs>
                    <a:gs pos="100000">
                      <a:srgbClr val="FFFFFF"/>
                    </a:gs>
                  </a:gsLst>
                  <a:lin ang="5400000" scaled="0"/>
                </a:gradFill>
                <a:cs typeface="Segoe UI" pitchFamily="34" charset="0"/>
              </a:rPr>
              <a:t>Corporation. All rights reserved. </a:t>
            </a:r>
          </a:p>
        </p:txBody>
      </p:sp>
      <p:sp>
        <p:nvSpPr>
          <p:cNvPr id="4" name="Windows 10"/>
          <p:cNvSpPr>
            <a:spLocks noChangeAspect="1" noEditPoints="1"/>
          </p:cNvSpPr>
          <p:nvPr userDrawn="1"/>
        </p:nvSpPr>
        <p:spPr bwMode="auto">
          <a:xfrm>
            <a:off x="1046302" y="3054453"/>
            <a:ext cx="4008456" cy="749094"/>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Tree>
    <p:extLst>
      <p:ext uri="{BB962C8B-B14F-4D97-AF65-F5344CB8AC3E}">
        <p14:creationId xmlns:p14="http://schemas.microsoft.com/office/powerpoint/2010/main" val="151274164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692295637"/>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561290"/>
          </a:xfrm>
          <a:prstGeom prst="rect">
            <a:avLst/>
          </a:prstGeom>
        </p:spPr>
        <p:txBody>
          <a:bodyPr/>
          <a:lstStyle>
            <a:lvl1pPr marL="0" indent="0">
              <a:spcAft>
                <a:spcPts val="2353"/>
              </a:spcAft>
              <a:buClr>
                <a:schemeClr val="tx1"/>
              </a:buClr>
              <a:buSzPct val="90000"/>
              <a:buFont typeface="Arial" pitchFamily="34" charset="0"/>
              <a:buNone/>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56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365760" bIns="77729" anchor="b" anchorCtr="0">
            <a:noAutofit/>
          </a:bodyPr>
          <a:lstStyle>
            <a:lvl1pPr algn="r" defTabSz="888606">
              <a:buFont typeface="Arial" pitchFamily="34" charset="0"/>
              <a:buNone/>
              <a:defRPr sz="274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96855641"/>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5500"/>
            <a:ext cx="11655840" cy="899665"/>
          </a:xfrm>
        </p:spPr>
        <p:txBody>
          <a:bodyPr/>
          <a:lstStyle>
            <a:lvl1pPr algn="l" defTabSz="914367" rtl="0" eaLnBrk="1" latinLnBrk="0" hangingPunct="1">
              <a:lnSpc>
                <a:spcPct val="100000"/>
              </a:lnSpc>
              <a:spcBef>
                <a:spcPct val="0"/>
              </a:spcBef>
              <a:buNone/>
              <a:defRPr lang="en-US" sz="4313" b="1" kern="1200" cap="none" spc="-147" baseline="0" dirty="0">
                <a:ln w="3175">
                  <a:noFill/>
                </a:ln>
                <a:solidFill>
                  <a:srgbClr val="0078D7"/>
                </a:solidFill>
                <a:effectLst/>
                <a:latin typeface="Segoe UI Black" panose="020B0A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105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Only_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7" rtl="0" eaLnBrk="1" latinLnBrk="0" hangingPunct="1">
              <a:lnSpc>
                <a:spcPct val="90000"/>
              </a:lnSpc>
              <a:spcBef>
                <a:spcPct val="0"/>
              </a:spcBef>
              <a:buNone/>
              <a:defRPr lang="en-US" sz="3529" b="1" kern="1200" cap="none" spc="-147" baseline="0" dirty="0">
                <a:ln w="3175">
                  <a:noFill/>
                </a:ln>
                <a:solidFill>
                  <a:srgbClr val="0078D7"/>
                </a:solidFill>
                <a:effectLst/>
                <a:latin typeface="Segoe UI" panose="020B05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59754629"/>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pSp>
        <p:nvGrpSpPr>
          <p:cNvPr id="2" name="Group 1"/>
          <p:cNvGrpSpPr/>
          <p:nvPr userDrawn="1"/>
        </p:nvGrpSpPr>
        <p:grpSpPr>
          <a:xfrm>
            <a:off x="0" y="-312"/>
            <a:ext cx="12192000" cy="6858623"/>
            <a:chOff x="-237725" y="482606"/>
            <a:chExt cx="12436475" cy="6995160"/>
          </a:xfrm>
        </p:grpSpPr>
        <p:sp>
          <p:nvSpPr>
            <p:cNvPr id="3" name="Rectangle 2"/>
            <p:cNvSpPr/>
            <p:nvPr/>
          </p:nvSpPr>
          <p:spPr bwMode="auto">
            <a:xfrm>
              <a:off x="-237725" y="482924"/>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White Frame"/>
            <p:cNvSpPr/>
            <p:nvPr/>
          </p:nvSpPr>
          <p:spPr>
            <a:xfrm>
              <a:off x="-237408" y="482606"/>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rgbClr val="FFFFFF"/>
            </a:solidFill>
            <a:ln w="10795" cap="flat" cmpd="sng" algn="ctr">
              <a:solidFill>
                <a:srgbClr val="FFFFFF"/>
              </a:solidFill>
              <a:prstDash val="solid"/>
            </a:ln>
            <a:effectLst/>
          </p:spPr>
          <p:txBody>
            <a:bodyPr rtlCol="0" anchor="ctr"/>
            <a:lstStyle/>
            <a:p>
              <a:pPr algn="ctr" defTabSz="896386">
                <a:defRPr/>
              </a:pPr>
              <a:endParaRPr lang="en-US" sz="1765" kern="0" smtClean="0">
                <a:solidFill>
                  <a:srgbClr val="FFFFFF"/>
                </a:solidFill>
              </a:endParaRPr>
            </a:p>
          </p:txBody>
        </p:sp>
      </p:grpSp>
    </p:spTree>
    <p:extLst>
      <p:ext uri="{BB962C8B-B14F-4D97-AF65-F5344CB8AC3E}">
        <p14:creationId xmlns:p14="http://schemas.microsoft.com/office/powerpoint/2010/main" val="281225444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6430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756506"/>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430555"/>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90" y="6118623"/>
            <a:ext cx="1255413" cy="268966"/>
          </a:xfrm>
          <a:prstGeom prst="rect">
            <a:avLst/>
          </a:prstGeom>
        </p:spPr>
      </p:pic>
    </p:spTree>
    <p:extLst>
      <p:ext uri="{BB962C8B-B14F-4D97-AF65-F5344CB8AC3E}">
        <p14:creationId xmlns:p14="http://schemas.microsoft.com/office/powerpoint/2010/main" val="2404037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760536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4266635"/>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337818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7823771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6505652"/>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1928835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88002170"/>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41190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Recordin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1"/>
            <a:ext cx="12192000" cy="724121"/>
          </a:xfrm>
        </p:spPr>
        <p:txBody>
          <a:bodyPr/>
          <a:lstStyle/>
          <a:p>
            <a:r>
              <a:rPr lang="en-US" smtClean="0"/>
              <a:t>Click icon to add media</a:t>
            </a:r>
            <a:endParaRPr lang="en-US"/>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59570"/>
          <a:stretch/>
        </p:blipFill>
        <p:spPr>
          <a:xfrm>
            <a:off x="1977154" y="3813716"/>
            <a:ext cx="8237697" cy="2497874"/>
          </a:xfrm>
          <a:prstGeom prst="rect">
            <a:avLst/>
          </a:prstGeom>
        </p:spPr>
      </p:pic>
    </p:spTree>
    <p:extLst>
      <p:ext uri="{BB962C8B-B14F-4D97-AF65-F5344CB8AC3E}">
        <p14:creationId xmlns:p14="http://schemas.microsoft.com/office/powerpoint/2010/main" val="3374548737"/>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395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4145267"/>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53500865"/>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41206546"/>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514392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889344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18875953"/>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22789"/>
            <a:ext cx="11106686" cy="995838"/>
          </a:xfrm>
          <a:noFill/>
        </p:spPr>
        <p:txBody>
          <a:bodyPr wrap="square" tIns="91440" bIns="91440" anchor="t" anchorCtr="0">
            <a:spAutoFit/>
          </a:bodyPr>
          <a:lstStyle>
            <a:lvl1pPr>
              <a:defRPr sz="5881" spc="-98" baseline="0">
                <a:gradFill>
                  <a:gsLst>
                    <a:gs pos="100000">
                      <a:schemeClr val="bg1"/>
                    </a:gs>
                    <a:gs pos="0">
                      <a:schemeClr val="bg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4840299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1639088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5077821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4701094"/>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1148857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26363760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389247"/>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486816"/>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824962"/>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1115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32021661"/>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132372"/>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1580404655"/>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37485416"/>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224992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264807"/>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30220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67720"/>
            <a:ext cx="11637012" cy="922560"/>
          </a:xfrm>
          <a:prstGeom prst="rect">
            <a:avLst/>
          </a:prstGeom>
        </p:spPr>
        <p:txBody>
          <a:bodyPr anchor="ctr" anchorCtr="0">
            <a:spAutoFit/>
          </a:bodyPr>
          <a:lstStyle>
            <a:lvl1pPr algn="l">
              <a:defRPr sz="5327">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27776848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033295"/>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97037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2"/>
            <a:ext cx="11151917" cy="205203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65600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485995727"/>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70435"/>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93504955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2643" y="5598338"/>
            <a:ext cx="876036" cy="876036"/>
          </a:xfrm>
          <a:prstGeom prst="rect">
            <a:avLst/>
          </a:prstGeom>
        </p:spPr>
      </p:pic>
    </p:spTree>
    <p:extLst>
      <p:ext uri="{BB962C8B-B14F-4D97-AF65-F5344CB8AC3E}">
        <p14:creationId xmlns:p14="http://schemas.microsoft.com/office/powerpoint/2010/main" val="20712737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3426" y="5494923"/>
            <a:ext cx="3347331" cy="1231293"/>
          </a:xfrm>
          <a:prstGeom prst="rect">
            <a:avLst/>
          </a:prstGeom>
        </p:spPr>
      </p:pic>
    </p:spTree>
    <p:extLst>
      <p:ext uri="{BB962C8B-B14F-4D97-AF65-F5344CB8AC3E}">
        <p14:creationId xmlns:p14="http://schemas.microsoft.com/office/powerpoint/2010/main" val="260437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accent1"/>
                    </a:gs>
                    <a:gs pos="100000">
                      <a:schemeClr val="accent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accent1"/>
                    </a:gs>
                    <a:gs pos="100000">
                      <a:schemeClr val="accent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3426" y="5494923"/>
            <a:ext cx="3347331" cy="1231293"/>
          </a:xfrm>
          <a:prstGeom prst="rect">
            <a:avLst/>
          </a:prstGeom>
        </p:spPr>
      </p:pic>
    </p:spTree>
    <p:extLst>
      <p:ext uri="{BB962C8B-B14F-4D97-AF65-F5344CB8AC3E}">
        <p14:creationId xmlns:p14="http://schemas.microsoft.com/office/powerpoint/2010/main" val="7482764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7" name="Picture 6"/>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2124156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7" name="Picture 6"/>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356840484"/>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363486139"/>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2376859357"/>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2771171748"/>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28092841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118327631"/>
      </p:ext>
    </p:extLst>
  </p:cSld>
  <p:clrMapOvr>
    <a:masterClrMapping/>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88295422"/>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1779979538"/>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3" name="Picture 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4"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316883042"/>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3" name="Picture 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901538258"/>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3"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964270414"/>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12798754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33225327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4961742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4224586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gradFill>
                  <a:gsLst>
                    <a:gs pos="0">
                      <a:schemeClr val="tx1"/>
                    </a:gs>
                    <a:gs pos="100000">
                      <a:schemeClr val="tx1"/>
                    </a:gs>
                  </a:gsLst>
                  <a:lin ang="5400000" scaled="1"/>
                </a:gra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3271340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79027955"/>
      </p:ext>
    </p:extLst>
  </p:cSld>
  <p:clrMapOvr>
    <a:masterClrMapping/>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8135"/>
            <a:ext cx="11637012" cy="941733"/>
          </a:xfrm>
        </p:spPr>
        <p:txBody>
          <a:bodyPr anchor="ctr" anchorCtr="0">
            <a:spAutoFit/>
          </a:bodyPr>
          <a:lstStyle>
            <a:lvl1pPr algn="l">
              <a:defRPr sz="5332">
                <a:gradFill>
                  <a:gsLst>
                    <a:gs pos="0">
                      <a:schemeClr val="bg1"/>
                    </a:gs>
                    <a:gs pos="100000">
                      <a:schemeClr val="bg1"/>
                    </a:gs>
                  </a:gsLst>
                  <a:lin ang="5400000" scaled="1"/>
                </a:gra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205011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4"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123636556"/>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41753911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461101"/>
          </a:xfrm>
          <a:prstGeom prst="rect">
            <a:avLst/>
          </a:prstGeom>
        </p:spPr>
        <p:txBody>
          <a:bodyPr/>
          <a:lstStyle>
            <a:lvl1pPr marL="284758" indent="-28475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8" indent="-27542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3" indent="-2847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5" indent="-2240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75144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7" indent="0">
              <a:buNone/>
              <a:defRPr sz="1961"/>
            </a:lvl2pPr>
            <a:lvl3pPr marL="219389" indent="0">
              <a:buNone/>
              <a:defRPr sz="1961"/>
            </a:lvl3pPr>
            <a:lvl4pPr marL="466783" indent="0">
              <a:buNone/>
              <a:defRPr sz="1765"/>
            </a:lvl4pPr>
            <a:lvl5pPr marL="725068"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bwMode="auto">
          <a:xfrm>
            <a:off x="1" y="6320070"/>
            <a:ext cx="12192000" cy="5379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5"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732612" y="6375999"/>
            <a:ext cx="339555" cy="415071"/>
          </a:xfrm>
          <a:prstGeom prst="rect">
            <a:avLst/>
          </a:prstGeom>
        </p:spPr>
      </p:pic>
    </p:spTree>
    <p:extLst>
      <p:ext uri="{BB962C8B-B14F-4D97-AF65-F5344CB8AC3E}">
        <p14:creationId xmlns:p14="http://schemas.microsoft.com/office/powerpoint/2010/main" val="1203802050"/>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33058663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54886042"/>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926011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71710527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63185629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50972131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19789337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279968417"/>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9785030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322282"/>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smtClean="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41233953"/>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023445816"/>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284835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1_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069577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1_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960094"/>
            <a:ext cx="5378549" cy="937811"/>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247943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4952851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13549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a:t>
            </a:r>
            <a:r>
              <a:rPr kumimoji="0" lang="en-US" sz="667" b="0" i="0" u="none" strike="noStrike" kern="1200" cap="none" spc="0" normalizeH="0" baseline="0" noProof="0" dirty="0" smtClean="0">
                <a:ln>
                  <a:noFill/>
                </a:ln>
                <a:solidFill>
                  <a:prstClr val="white">
                    <a:alpha val="95000"/>
                  </a:prstClr>
                </a:solidFill>
                <a:effectLst/>
                <a:uLnTx/>
                <a:uFillTx/>
                <a:latin typeface="Segoe UI"/>
                <a:ea typeface="+mn-ea"/>
                <a:cs typeface="Segoe UI" pitchFamily="34" charset="0"/>
              </a:rPr>
              <a:t>2014 </a:t>
            </a: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779966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7391090"/>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7465196"/>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500250907"/>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9682273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3679777"/>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633925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_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777064526"/>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4961701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0760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72737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smtClean="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9932948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64730372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2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976304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2_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2490412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2_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960094"/>
            <a:ext cx="5378549" cy="937811"/>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161327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300588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2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a:t>
            </a:r>
            <a:r>
              <a:rPr kumimoji="0" lang="en-US" sz="667" b="0" i="0" u="none" strike="noStrike" kern="1200" cap="none" spc="0" normalizeH="0" baseline="0" noProof="0" dirty="0" smtClean="0">
                <a:ln>
                  <a:noFill/>
                </a:ln>
                <a:solidFill>
                  <a:prstClr val="white">
                    <a:alpha val="95000"/>
                  </a:prstClr>
                </a:solidFill>
                <a:effectLst/>
                <a:uLnTx/>
                <a:uFillTx/>
                <a:latin typeface="Segoe UI"/>
                <a:ea typeface="+mn-ea"/>
                <a:cs typeface="Segoe UI" pitchFamily="34" charset="0"/>
              </a:rPr>
              <a:t>2014 </a:t>
            </a: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8239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2304205"/>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779350"/>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427361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446135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38741765"/>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70924"/>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9930707" y="6006587"/>
            <a:ext cx="1813244" cy="387120"/>
          </a:xfrm>
          <a:prstGeom prst="rect">
            <a:avLst/>
          </a:prstGeom>
          <a:noFill/>
          <a:ln>
            <a:noFill/>
          </a:ln>
        </p:spPr>
      </p:pic>
    </p:spTree>
    <p:extLst>
      <p:ext uri="{BB962C8B-B14F-4D97-AF65-F5344CB8AC3E}">
        <p14:creationId xmlns:p14="http://schemas.microsoft.com/office/powerpoint/2010/main" val="24209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1"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p:nvSpPr>
        <p:spPr bwMode="black">
          <a:xfrm>
            <a:off x="10129870"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593" tIns="44797" rIns="89593" bIns="44797" numCol="1" anchor="t" anchorCtr="0" compatLnSpc="1">
            <a:prstTxWarp prst="textNoShape">
              <a:avLst/>
            </a:prstTxWarp>
          </a:bodyPr>
          <a:lstStyle/>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898076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9586241"/>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63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865151945"/>
      </p:ext>
    </p:extLst>
  </p:cSld>
  <p:clrMapOvr>
    <a:masterClrMapping/>
  </p:clrMapOvr>
  <p:transition>
    <p:fade/>
  </p:transition>
  <p:timing>
    <p:tnLst>
      <p:par>
        <p:cTn id="1" dur="indefinite" restart="never" nodeType="tmRoot"/>
      </p:par>
    </p:tnLst>
  </p:timing>
  <p:hf sldNum="0"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642473" y="2084173"/>
            <a:ext cx="10383865" cy="1793104"/>
          </a:xfrm>
        </p:spPr>
        <p:txBody>
          <a:bodyPr/>
          <a:lstStyle>
            <a:lvl1pPr>
              <a:defRPr sz="4702" baseline="0"/>
            </a:lvl1pPr>
          </a:lstStyle>
          <a:p>
            <a:r>
              <a:rPr lang="en-US" smtClean="0"/>
              <a:t>Click to edit Master title style</a:t>
            </a:r>
            <a:endParaRPr lang="en-US" dirty="0"/>
          </a:p>
        </p:txBody>
      </p:sp>
    </p:spTree>
    <p:extLst>
      <p:ext uri="{BB962C8B-B14F-4D97-AF65-F5344CB8AC3E}">
        <p14:creationId xmlns:p14="http://schemas.microsoft.com/office/powerpoint/2010/main" val="2895467982"/>
      </p:ext>
    </p:extLst>
  </p:cSld>
  <p:clrMapOvr>
    <a:masterClrMapping/>
  </p:clrMapOvr>
  <p:transition>
    <p:fade/>
  </p:transition>
  <p:timing>
    <p:tnLst>
      <p:par>
        <p:cTn id="1" dur="indefinite" restart="never" nodeType="tmRoot"/>
      </p:par>
    </p:tnLst>
  </p:timing>
  <p:hf sldNum="0"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1_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463179" y="2554820"/>
            <a:ext cx="10563160" cy="1793104"/>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497573664"/>
      </p:ext>
    </p:extLst>
  </p:cSld>
  <p:clrMapOvr>
    <a:masterClrMapping/>
  </p:clrMapOvr>
  <p:transition>
    <p:fade/>
  </p:transition>
  <p:timing>
    <p:tnLst>
      <p:par>
        <p:cTn id="1" dur="indefinite" restart="never" nodeType="tmRoot"/>
      </p:par>
    </p:tnLst>
  </p:timing>
  <p:hf sldNum="0"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5948" indent="-335948">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63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199639883"/>
      </p:ext>
    </p:extLst>
  </p:cSld>
  <p:clrMapOvr>
    <a:masterClrMapping/>
  </p:clrMapOvr>
  <p:transition>
    <p:fade/>
  </p:transition>
  <p:timing>
    <p:tnLst>
      <p:par>
        <p:cTn id="1" dur="indefinite" restart="never" nodeType="tmRoot"/>
      </p:par>
    </p:tnLst>
  </p:timing>
  <p:hf sldNum="0"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465486" y="3104297"/>
            <a:ext cx="7457281" cy="649409"/>
          </a:xfrm>
        </p:spPr>
        <p:txBody>
          <a:bodyPr wrap="square" lIns="182880" tIns="146304" rIns="182880" bIns="146304" anchor="ctr" anchorCtr="0">
            <a:spAutoFit/>
          </a:bodyPr>
          <a:lstStyle>
            <a:lvl1pPr marL="0" indent="0">
              <a:lnSpc>
                <a:spcPct val="95000"/>
              </a:lnSpc>
              <a:spcBef>
                <a:spcPts val="0"/>
              </a:spcBef>
              <a:spcAft>
                <a:spcPts val="1600"/>
              </a:spcAft>
              <a:buNone/>
              <a:defRPr lang="en-US" sz="2399" kern="1200" dirty="0" smtClean="0">
                <a:solidFill>
                  <a:schemeClr val="tx1"/>
                </a:soli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63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18"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05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08054023"/>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37931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None/>
              <a:defRPr lang="en-US" sz="3526"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631"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3" y="291070"/>
            <a:ext cx="11653522" cy="896552"/>
          </a:xfrm>
        </p:spPr>
        <p:txBody>
          <a:bodyPr vert="horz" lIns="182880" tIns="146304" rIns="182880" bIns="146304" rtlCol="0" anchor="t">
            <a:noAutofit/>
          </a:bodyPr>
          <a:lstStyle>
            <a:lvl1pPr marL="0" indent="0" algn="l" defTabSz="913830"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18"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05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75306563"/>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3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003173666"/>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355" indent="-236406">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59854" indent="-335948">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631" rtl="0" eaLnBrk="1" latinLnBrk="0" hangingPunct="1">
              <a:spcBef>
                <a:spcPct val="20000"/>
              </a:spcBef>
              <a:spcAft>
                <a:spcPts val="800"/>
              </a:spcAft>
              <a:buFont typeface="Arial" pitchFamily="34" charset="0"/>
              <a:buNone/>
            </a:pPr>
            <a:r>
              <a:rPr lang="en-US" smtClean="0"/>
              <a:t>Click to edit Master text styles</a:t>
            </a:r>
          </a:p>
          <a:p>
            <a:pPr marL="0" lvl="1" indent="0" algn="l" defTabSz="895631" rtl="0" eaLnBrk="1" latinLnBrk="0" hangingPunct="1">
              <a:spcBef>
                <a:spcPct val="20000"/>
              </a:spcBef>
              <a:spcAft>
                <a:spcPts val="800"/>
              </a:spcAft>
              <a:buFont typeface="Arial" pitchFamily="34" charset="0"/>
              <a:buNone/>
            </a:pPr>
            <a:r>
              <a:rPr lang="en-US" smtClean="0"/>
              <a:t>Second level</a:t>
            </a:r>
          </a:p>
          <a:p>
            <a:pPr marL="0" lvl="2" indent="0" algn="l" defTabSz="895631"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7738547"/>
      </p:ext>
    </p:extLst>
  </p:cSld>
  <p:clrMapOvr>
    <a:masterClrMapping/>
  </p:clrMapOvr>
  <p:transition>
    <p:fade/>
  </p:transition>
  <p:timing>
    <p:tnLst>
      <p:par>
        <p:cTn id="1" dur="indefinite" restart="never" nodeType="tmRoot"/>
      </p:par>
    </p:tnLst>
  </p:timing>
  <p:hf sldNum="0"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514065"/>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9" y="2425051"/>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593" tIns="44797" rIns="89593" bIns="44797" numCol="1" anchor="t" anchorCtr="0" compatLnSpc="1">
            <a:prstTxWarp prst="textNoShape">
              <a:avLst/>
            </a:prstTxWarp>
          </a:bodyPr>
          <a:lstStyle/>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9930707" y="6006587"/>
            <a:ext cx="1813244" cy="387120"/>
          </a:xfrm>
          <a:prstGeom prst="rect">
            <a:avLst/>
          </a:prstGeom>
          <a:noFill/>
          <a:ln>
            <a:noFill/>
          </a:ln>
        </p:spPr>
      </p:pic>
    </p:spTree>
    <p:extLst>
      <p:ext uri="{BB962C8B-B14F-4D97-AF65-F5344CB8AC3E}">
        <p14:creationId xmlns:p14="http://schemas.microsoft.com/office/powerpoint/2010/main" val="3958428289"/>
      </p:ext>
    </p:extLst>
  </p:cSld>
  <p:clrMapOvr>
    <a:masterClrMapping/>
  </p:clrMapOvr>
  <p:transition>
    <p:fade/>
  </p:transition>
  <p:timing>
    <p:tnLst>
      <p:par>
        <p:cTn id="1" dur="indefinite" restart="never" nodeType="tmRoot"/>
      </p:par>
    </p:tnLst>
  </p:timing>
  <p:hf sldNum="0"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058"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9" y="2256324"/>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5" y="2256139"/>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058"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65052168"/>
      </p:ext>
    </p:extLst>
  </p:cSld>
  <p:clrMapOvr>
    <a:masterClrMapping/>
  </p:clrMapOvr>
  <p:transition>
    <p:fade/>
  </p:transition>
  <p:timing>
    <p:tnLst>
      <p:par>
        <p:cTn id="1" dur="indefinite" restart="never" nodeType="tmRoot"/>
      </p:par>
    </p:tnLst>
  </p:timing>
  <p:hf sldNum="0"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622" indent="-284622">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1" indent="-275291">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3" indent="-28462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0" indent="-223966">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65" indent="-223966">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173572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Title Only Dark blue logo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6423156"/>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 GREY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5"/>
            <a:ext cx="11151917"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52" y="1447800"/>
            <a:ext cx="11151917" cy="1129092"/>
          </a:xfrm>
        </p:spPr>
        <p:txBody>
          <a:bodyPr/>
          <a:lstStyle>
            <a:lvl1pPr marL="0" indent="0">
              <a:spcBef>
                <a:spcPts val="1197"/>
              </a:spcBef>
              <a:spcAft>
                <a:spcPts val="899"/>
              </a:spcAft>
              <a:buNone/>
              <a:defRPr lang="en-US" sz="3988"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marL="0" indent="0">
              <a:spcBef>
                <a:spcPts val="0"/>
              </a:spcBef>
              <a:spcAft>
                <a:spcPts val="299"/>
              </a:spcAft>
              <a:buNone/>
              <a:defRPr sz="1995" spc="-51" baseline="0"/>
            </a:lvl2pPr>
            <a:lvl3pPr marL="0" indent="0">
              <a:spcBef>
                <a:spcPts val="0"/>
              </a:spcBef>
              <a:spcAft>
                <a:spcPts val="299"/>
              </a:spcAft>
              <a:buNone/>
              <a:defRPr sz="1496"/>
            </a:lvl3pPr>
            <a:lvl4pPr marL="0" indent="0">
              <a:spcBef>
                <a:spcPts val="0"/>
              </a:spcBef>
              <a:spcAft>
                <a:spcPts val="299"/>
              </a:spcAft>
              <a:buNone/>
              <a:defRPr/>
            </a:lvl4pPr>
            <a:lvl5pPr marL="0" indent="0">
              <a:spcBef>
                <a:spcPts val="0"/>
              </a:spcBef>
              <a:spcAft>
                <a:spcPts val="299"/>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07566609"/>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2_Title and Main Content Slide">
    <p:bg>
      <p:bgPr>
        <a:blipFill dpi="0" rotWithShape="0">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29498"/>
            <a:ext cx="10972800" cy="1143000"/>
          </a:xfrm>
          <a:prstGeom prst="rect">
            <a:avLst/>
          </a:prstGeom>
        </p:spPr>
        <p:txBody>
          <a:bodyPr lIns="76193" tIns="38097" rIns="76193" bIns="38097" anchor="ctr"/>
          <a:lstStyle>
            <a:lvl1pPr algn="l">
              <a:defRPr b="1">
                <a:solidFill>
                  <a:schemeClr val="tx1"/>
                </a:solidFill>
                <a:latin typeface="+mn-lt"/>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9867" y="1373466"/>
            <a:ext cx="9322871" cy="1415166"/>
          </a:xfrm>
          <a:prstGeom prst="rect">
            <a:avLst/>
          </a:prstGeom>
        </p:spPr>
        <p:txBody>
          <a:bodyPr lIns="76193" tIns="38097" rIns="76193" bIns="38097"/>
          <a:lstStyle>
            <a:lvl1pPr marL="0" indent="0">
              <a:buNone/>
              <a:defRPr>
                <a:solidFill>
                  <a:schemeClr val="tx1"/>
                </a:solidFill>
                <a:latin typeface="+mn-lt"/>
              </a:defRPr>
            </a:lvl1pPr>
            <a:lvl2pPr marL="677941" indent="-268154">
              <a:buFont typeface="Arial" pitchFamily="34" charset="0"/>
              <a:buChar char="•"/>
              <a:defRPr>
                <a:solidFill>
                  <a:schemeClr val="tx1"/>
                </a:solidFill>
                <a:latin typeface="+mn-lt"/>
              </a:defRPr>
            </a:lvl2pPr>
            <a:lvl3pPr>
              <a:defRPr>
                <a:solidFill>
                  <a:schemeClr val="tx1"/>
                </a:solidFill>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Slide Number Placeholder 5"/>
          <p:cNvSpPr txBox="1">
            <a:spLocks/>
          </p:cNvSpPr>
          <p:nvPr userDrawn="1"/>
        </p:nvSpPr>
        <p:spPr>
          <a:xfrm>
            <a:off x="3" y="6419850"/>
            <a:ext cx="884678" cy="438150"/>
          </a:xfrm>
          <a:prstGeom prst="rect">
            <a:avLst/>
          </a:prstGeom>
        </p:spPr>
        <p:txBody>
          <a:bodyPr lIns="108788" tIns="54394" rIns="108788" bIns="54394" anchor="ctr"/>
          <a:lstStyle>
            <a:defPPr>
              <a:defRPr lang="en-US"/>
            </a:defPPr>
            <a:lvl1pPr algn="ctr" rtl="0" fontAlgn="base">
              <a:spcBef>
                <a:spcPct val="0"/>
              </a:spcBef>
              <a:spcAft>
                <a:spcPct val="0"/>
              </a:spcAft>
              <a:defRPr sz="1200" kern="1200">
                <a:solidFill>
                  <a:schemeClr val="tx1"/>
                </a:solidFill>
                <a:latin typeface="+mj-lt"/>
                <a:ea typeface="+mn-ea"/>
                <a:cs typeface="Arial" charset="0"/>
              </a:defRPr>
            </a:lvl1pPr>
            <a:lvl2pPr marL="653110" algn="l" rtl="0" fontAlgn="base">
              <a:spcBef>
                <a:spcPct val="0"/>
              </a:spcBef>
              <a:spcAft>
                <a:spcPct val="0"/>
              </a:spcAft>
              <a:defRPr kern="1200">
                <a:solidFill>
                  <a:schemeClr val="tx1"/>
                </a:solidFill>
                <a:latin typeface="Arial" charset="0"/>
                <a:ea typeface="+mn-ea"/>
                <a:cs typeface="Arial" charset="0"/>
              </a:defRPr>
            </a:lvl2pPr>
            <a:lvl3pPr marL="1306220" algn="l" rtl="0" fontAlgn="base">
              <a:spcBef>
                <a:spcPct val="0"/>
              </a:spcBef>
              <a:spcAft>
                <a:spcPct val="0"/>
              </a:spcAft>
              <a:defRPr kern="1200">
                <a:solidFill>
                  <a:schemeClr val="tx1"/>
                </a:solidFill>
                <a:latin typeface="Arial" charset="0"/>
                <a:ea typeface="+mn-ea"/>
                <a:cs typeface="Arial" charset="0"/>
              </a:defRPr>
            </a:lvl3pPr>
            <a:lvl4pPr marL="1959331" algn="l" rtl="0" fontAlgn="base">
              <a:spcBef>
                <a:spcPct val="0"/>
              </a:spcBef>
              <a:spcAft>
                <a:spcPct val="0"/>
              </a:spcAft>
              <a:defRPr kern="1200">
                <a:solidFill>
                  <a:schemeClr val="tx1"/>
                </a:solidFill>
                <a:latin typeface="Arial" charset="0"/>
                <a:ea typeface="+mn-ea"/>
                <a:cs typeface="Arial" charset="0"/>
              </a:defRPr>
            </a:lvl4pPr>
            <a:lvl5pPr marL="2612441" algn="l" rtl="0" fontAlgn="base">
              <a:spcBef>
                <a:spcPct val="0"/>
              </a:spcBef>
              <a:spcAft>
                <a:spcPct val="0"/>
              </a:spcAft>
              <a:defRPr kern="1200">
                <a:solidFill>
                  <a:schemeClr val="tx1"/>
                </a:solidFill>
                <a:latin typeface="Arial" charset="0"/>
                <a:ea typeface="+mn-ea"/>
                <a:cs typeface="Arial" charset="0"/>
              </a:defRPr>
            </a:lvl5pPr>
            <a:lvl6pPr marL="3265551" algn="l" defTabSz="1306220" rtl="0" eaLnBrk="1" latinLnBrk="0" hangingPunct="1">
              <a:defRPr kern="1200">
                <a:solidFill>
                  <a:schemeClr val="tx1"/>
                </a:solidFill>
                <a:latin typeface="Arial" charset="0"/>
                <a:ea typeface="+mn-ea"/>
                <a:cs typeface="Arial" charset="0"/>
              </a:defRPr>
            </a:lvl6pPr>
            <a:lvl7pPr marL="3918661" algn="l" defTabSz="1306220" rtl="0" eaLnBrk="1" latinLnBrk="0" hangingPunct="1">
              <a:defRPr kern="1200">
                <a:solidFill>
                  <a:schemeClr val="tx1"/>
                </a:solidFill>
                <a:latin typeface="Arial" charset="0"/>
                <a:ea typeface="+mn-ea"/>
                <a:cs typeface="Arial" charset="0"/>
              </a:defRPr>
            </a:lvl7pPr>
            <a:lvl8pPr marL="4571771" algn="l" defTabSz="1306220" rtl="0" eaLnBrk="1" latinLnBrk="0" hangingPunct="1">
              <a:defRPr kern="1200">
                <a:solidFill>
                  <a:schemeClr val="tx1"/>
                </a:solidFill>
                <a:latin typeface="Arial" charset="0"/>
                <a:ea typeface="+mn-ea"/>
                <a:cs typeface="Arial" charset="0"/>
              </a:defRPr>
            </a:lvl8pPr>
            <a:lvl9pPr marL="5224882" algn="l" defTabSz="1306220" rtl="0" eaLnBrk="1" latinLnBrk="0" hangingPunct="1">
              <a:defRPr kern="1200">
                <a:solidFill>
                  <a:schemeClr val="tx1"/>
                </a:solidFill>
                <a:latin typeface="Arial" charset="0"/>
                <a:ea typeface="+mn-ea"/>
                <a:cs typeface="Arial" charset="0"/>
              </a:defRPr>
            </a:lvl9pPr>
          </a:lstStyle>
          <a:p>
            <a:pPr marL="0" marR="0" lvl="0" indent="0" algn="ctr" defTabSz="761522" rtl="0" eaLnBrk="1" fontAlgn="base" latinLnBrk="0" hangingPunct="1">
              <a:lnSpc>
                <a:spcPct val="100000"/>
              </a:lnSpc>
              <a:spcBef>
                <a:spcPct val="0"/>
              </a:spcBef>
              <a:spcAft>
                <a:spcPct val="0"/>
              </a:spcAft>
              <a:buClrTx/>
              <a:buSzTx/>
              <a:buFontTx/>
              <a:buNone/>
              <a:tabLst/>
              <a:defRPr/>
            </a:pPr>
            <a:fld id="{1B9E43C9-772F-438B-ADE0-F8493A8386F4}" type="slidenum">
              <a:rPr kumimoji="0" lang="en-US" sz="1200" b="0" i="0" u="none" strike="noStrike" kern="1200" cap="none" spc="0" normalizeH="0" baseline="0" noProof="0" smtClean="0">
                <a:ln>
                  <a:noFill/>
                </a:ln>
                <a:solidFill>
                  <a:srgbClr val="FFFFFF"/>
                </a:solidFill>
                <a:effectLst/>
                <a:uLnTx/>
                <a:uFillTx/>
                <a:latin typeface="Segoe UI Light"/>
                <a:ea typeface="+mn-ea"/>
                <a:cs typeface="Arial" charset="0"/>
              </a:rPr>
              <a:pPr marL="0" marR="0" lvl="0" indent="0" algn="ctr" defTabSz="761522"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dirty="0">
              <a:ln>
                <a:noFill/>
              </a:ln>
              <a:solidFill>
                <a:srgbClr val="FFFFFF"/>
              </a:solidFill>
              <a:effectLst/>
              <a:uLnTx/>
              <a:uFillTx/>
              <a:latin typeface="Segoe UI Light"/>
              <a:ea typeface="+mn-ea"/>
              <a:cs typeface="Arial" charset="0"/>
            </a:endParaRPr>
          </a:p>
        </p:txBody>
      </p:sp>
    </p:spTree>
    <p:extLst>
      <p:ext uri="{BB962C8B-B14F-4D97-AF65-F5344CB8AC3E}">
        <p14:creationId xmlns:p14="http://schemas.microsoft.com/office/powerpoint/2010/main" val="340413480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395050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954994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686583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77159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786644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8951990"/>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312583816"/>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797306327"/>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311765507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2903122"/>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1843369601"/>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037512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979277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6161084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dirty="0" smtClean="0"/>
              <a:t>Click icon to add picture</a:t>
            </a:r>
            <a:endParaRPr lang="en-US" dirty="0"/>
          </a:p>
        </p:txBody>
      </p:sp>
    </p:spTree>
    <p:extLst>
      <p:ext uri="{BB962C8B-B14F-4D97-AF65-F5344CB8AC3E}">
        <p14:creationId xmlns:p14="http://schemas.microsoft.com/office/powerpoint/2010/main" val="37632496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13863815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6930847"/>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463015"/>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255236920"/>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404040"/>
                    </a:gs>
                    <a:gs pos="100000">
                      <a:srgbClr val="40404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872832514"/>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45502085"/>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582714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295767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43616675"/>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3516434"/>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163166649"/>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6132"/>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08595106"/>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3757826"/>
      </p:ext>
    </p:extLst>
  </p:cSld>
  <p:clrMapOvr>
    <a:masterClrMapping/>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740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81529296"/>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dirty="0">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78898930"/>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529530880"/>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14893468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733788744"/>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452985889"/>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090456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2" cy="6858000"/>
          </a:xfrm>
          <a:prstGeom prst="rect">
            <a:avLst/>
          </a:prstGeom>
        </p:spPr>
      </p:pic>
      <p:sp>
        <p:nvSpPr>
          <p:cNvPr id="5" name="Text Placeholder 4"/>
          <p:cNvSpPr>
            <a:spLocks noGrp="1"/>
          </p:cNvSpPr>
          <p:nvPr>
            <p:ph type="body" sz="quarter" idx="12" hasCustomPrompt="1"/>
          </p:nvPr>
        </p:nvSpPr>
        <p:spPr>
          <a:xfrm>
            <a:off x="271106" y="5491379"/>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9963420" y="6380923"/>
            <a:ext cx="986068"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2084172"/>
            <a:ext cx="2689618" cy="474706"/>
          </a:xfrm>
          <a:prstGeom prst="rect">
            <a:avLst/>
          </a:prstGeom>
        </p:spPr>
      </p:pic>
    </p:spTree>
    <p:extLst>
      <p:ext uri="{BB962C8B-B14F-4D97-AF65-F5344CB8AC3E}">
        <p14:creationId xmlns:p14="http://schemas.microsoft.com/office/powerpoint/2010/main" val="89252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5" name="Text Placeholder 4"/>
          <p:cNvSpPr>
            <a:spLocks noGrp="1"/>
          </p:cNvSpPr>
          <p:nvPr>
            <p:ph type="body" sz="quarter" idx="12" hasCustomPrompt="1"/>
          </p:nvPr>
        </p:nvSpPr>
        <p:spPr>
          <a:xfrm>
            <a:off x="271106" y="5491379"/>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2084172"/>
            <a:ext cx="2689618"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9963420" y="6380923"/>
            <a:ext cx="986068" cy="191269"/>
          </a:xfrm>
          <a:prstGeom prst="rect">
            <a:avLst/>
          </a:prstGeom>
          <a:noFill/>
        </p:spPr>
      </p:pic>
    </p:spTree>
    <p:extLst>
      <p:ext uri="{BB962C8B-B14F-4D97-AF65-F5344CB8AC3E}">
        <p14:creationId xmlns:p14="http://schemas.microsoft.com/office/powerpoint/2010/main" val="461567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1"/>
            <a:ext cx="3154184"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9927693" y="6308981"/>
            <a:ext cx="1229852" cy="345606"/>
          </a:xfrm>
          <a:prstGeom prst="rect">
            <a:avLst/>
          </a:prstGeom>
        </p:spPr>
      </p:pic>
      <p:sp>
        <p:nvSpPr>
          <p:cNvPr id="5" name="Text Placeholder 4"/>
          <p:cNvSpPr>
            <a:spLocks noGrp="1"/>
          </p:cNvSpPr>
          <p:nvPr>
            <p:ph type="body" sz="quarter" idx="12" hasCustomPrompt="1"/>
          </p:nvPr>
        </p:nvSpPr>
        <p:spPr>
          <a:xfrm>
            <a:off x="271106" y="5491379"/>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789465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0"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1"/>
            <a:ext cx="3154184" cy="883460"/>
          </a:xfrm>
          <a:prstGeom prst="rect">
            <a:avLst/>
          </a:prstGeom>
        </p:spPr>
      </p:pic>
      <p:sp>
        <p:nvSpPr>
          <p:cNvPr id="5" name="Text Placeholder 4"/>
          <p:cNvSpPr>
            <a:spLocks noGrp="1"/>
          </p:cNvSpPr>
          <p:nvPr>
            <p:ph type="body" sz="quarter" idx="12" hasCustomPrompt="1"/>
          </p:nvPr>
        </p:nvSpPr>
        <p:spPr>
          <a:xfrm>
            <a:off x="271106" y="5491379"/>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9927693" y="6308981"/>
            <a:ext cx="1229852" cy="345606"/>
          </a:xfrm>
          <a:prstGeom prst="rect">
            <a:avLst/>
          </a:prstGeom>
        </p:spPr>
      </p:pic>
    </p:spTree>
    <p:extLst>
      <p:ext uri="{BB962C8B-B14F-4D97-AF65-F5344CB8AC3E}">
        <p14:creationId xmlns:p14="http://schemas.microsoft.com/office/powerpoint/2010/main" val="393924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110464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973433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68437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7" cy="6858000"/>
          </a:xfrm>
          <a:prstGeom prst="rect">
            <a:avLst/>
          </a:prstGeom>
        </p:spPr>
      </p:pic>
      <p:sp>
        <p:nvSpPr>
          <p:cNvPr id="2" name="Title 1"/>
          <p:cNvSpPr>
            <a:spLocks noGrp="1"/>
          </p:cNvSpPr>
          <p:nvPr>
            <p:ph type="title" hasCustomPrompt="1"/>
          </p:nvPr>
        </p:nvSpPr>
        <p:spPr>
          <a:xfrm>
            <a:off x="269239" y="268965"/>
            <a:ext cx="4653096" cy="440104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1885960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3355161965"/>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5863"/>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Announcing</a:t>
            </a:r>
            <a:endParaRPr lang="en-US" dirty="0"/>
          </a:p>
        </p:txBody>
      </p:sp>
    </p:spTree>
    <p:extLst>
      <p:ext uri="{BB962C8B-B14F-4D97-AF65-F5344CB8AC3E}">
        <p14:creationId xmlns:p14="http://schemas.microsoft.com/office/powerpoint/2010/main" val="36531452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7" cy="6858000"/>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3315344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accent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8274654"/>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tx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53868813"/>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00382468"/>
      </p:ext>
    </p:extLst>
  </p:cSld>
  <p:clrMapOvr>
    <a:masterClrMapping/>
  </p:clrMapOvr>
  <p:transition>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73999"/>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accent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68217A"/>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909244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9927992"/>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5" indent="-281595">
              <a:spcBef>
                <a:spcPts val="1200"/>
              </a:spcBef>
              <a:buClr>
                <a:schemeClr val="tx1"/>
              </a:buClr>
              <a:buFont typeface="Arial" pitchFamily="34" charset="0"/>
              <a:buChar char="•"/>
              <a:defRPr sz="3529">
                <a:solidFill>
                  <a:srgbClr val="68217A"/>
                </a:soli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9"/>
            <a:ext cx="5378548" cy="2486578"/>
          </a:xfrm>
        </p:spPr>
        <p:txBody>
          <a:bodyPr wrap="square">
            <a:spAutoFit/>
          </a:bodyPr>
          <a:lstStyle>
            <a:lvl1pPr marL="281595" indent="-281595">
              <a:spcBef>
                <a:spcPts val="1200"/>
              </a:spcBef>
              <a:buClr>
                <a:schemeClr val="tx1"/>
              </a:buClr>
              <a:buFont typeface="Arial" pitchFamily="34" charset="0"/>
              <a:buChar char="•"/>
              <a:defRPr sz="3529">
                <a:solidFill>
                  <a:srgbClr val="68217A"/>
                </a:soli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701049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5" indent="-281595">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9"/>
            <a:ext cx="5378548" cy="2486578"/>
          </a:xfrm>
        </p:spPr>
        <p:txBody>
          <a:bodyPr wrap="square">
            <a:spAutoFit/>
          </a:bodyPr>
          <a:lstStyle>
            <a:lvl1pPr marL="281595" indent="-281595">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201576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5905245"/>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5826761"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6094582" y="2082615"/>
            <a:ext cx="5826761" cy="3586208"/>
          </a:xfrm>
          <a:solidFill>
            <a:schemeClr val="accent4"/>
          </a:solidFill>
        </p:spPr>
        <p:txBody>
          <a:bodyPr wrap="square" tIns="146304" bIns="146304">
            <a:noAutofit/>
          </a:bodyPr>
          <a:lstStyle>
            <a:lvl1pPr marL="0" indent="0">
              <a:spcBef>
                <a:spcPts val="1200"/>
              </a:spcBef>
              <a:buClr>
                <a:schemeClr val="tx1"/>
              </a:buClr>
              <a:buFont typeface="Wingdings" pitchFamily="2" charset="2"/>
              <a:buNone/>
              <a:defRPr sz="3921">
                <a:solidFill>
                  <a:srgbClr val="FFFFFF"/>
                </a:solidFill>
              </a:defRPr>
            </a:lvl1pPr>
            <a:lvl2pPr marL="0" indent="0">
              <a:spcBef>
                <a:spcPts val="1059"/>
              </a:spcBef>
              <a:buNone/>
              <a:defRPr sz="1961">
                <a:solidFill>
                  <a:srgbClr val="FFFFFF"/>
                </a:solidFill>
              </a:defRPr>
            </a:lvl2pPr>
            <a:lvl3pPr marL="227142" indent="0">
              <a:buNone/>
              <a:tabLst/>
              <a:defRPr sz="1961">
                <a:solidFill>
                  <a:srgbClr val="FFFFFF"/>
                </a:solidFill>
              </a:defRPr>
            </a:lvl3pPr>
            <a:lvl4pPr marL="451172" indent="0">
              <a:buNone/>
              <a:defRPr>
                <a:solidFill>
                  <a:srgbClr val="FFFFFF"/>
                </a:solidFill>
              </a:defRPr>
            </a:lvl4pPr>
            <a:lvl5pPr marL="672092"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86091487"/>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3836698"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158259" y="2082615"/>
            <a:ext cx="3836698"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1">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8044355" y="2082615"/>
            <a:ext cx="3881519"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0364810"/>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087920" y="2080711"/>
            <a:ext cx="7837954" cy="727645"/>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3836698"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8353078"/>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6322831"/>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69242" y="2082616"/>
            <a:ext cx="11653523" cy="1326724"/>
          </a:xfrm>
        </p:spPr>
        <p:txBody>
          <a:bodyPr wrap="square">
            <a:spAutoFit/>
          </a:bodyPr>
          <a:lstStyle>
            <a:lvl1pPr marL="0" indent="0">
              <a:spcBef>
                <a:spcPts val="1200"/>
              </a:spcBef>
              <a:buClr>
                <a:schemeClr val="tx1"/>
              </a:buClr>
              <a:buFont typeface="Wingdings" pitchFamily="2" charset="2"/>
              <a:buNone/>
              <a:defRPr sz="5294">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38846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044355" y="2082615"/>
            <a:ext cx="3881519" cy="3586208"/>
          </a:xfrm>
          <a:solidFill>
            <a:schemeClr val="accent3"/>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69242" y="2082616"/>
            <a:ext cx="7171399" cy="2988969"/>
          </a:xfrm>
        </p:spPr>
        <p:txBody>
          <a:bodyPr wrap="square">
            <a:spAutoFit/>
          </a:bodyPr>
          <a:lstStyle>
            <a:lvl1pPr marL="0" indent="0">
              <a:spcBef>
                <a:spcPts val="1200"/>
              </a:spcBef>
              <a:buClr>
                <a:schemeClr val="tx1"/>
              </a:buClr>
              <a:buFont typeface="Wingdings" pitchFamily="2" charset="2"/>
              <a:buNone/>
              <a:defRPr sz="5294">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297636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4" y="1189176"/>
            <a:ext cx="5378548" cy="2988969"/>
          </a:xfrm>
        </p:spPr>
        <p:txBody>
          <a:bodyPr wrap="square">
            <a:spAutoFit/>
          </a:bodyPr>
          <a:lstStyle>
            <a:lvl1pPr marL="0" indent="0">
              <a:spcBef>
                <a:spcPts val="1200"/>
              </a:spcBef>
              <a:buClr>
                <a:schemeClr val="tx1"/>
              </a:buClr>
              <a:buFont typeface="Wingdings" pitchFamily="2" charset="2"/>
              <a:buNone/>
              <a:defRPr sz="5294">
                <a:solidFill>
                  <a:schemeClr val="accent2"/>
                </a:solidFill>
              </a:defRPr>
            </a:lvl1pPr>
            <a:lvl2pPr marL="0" indent="0">
              <a:spcBef>
                <a:spcPts val="1059"/>
              </a:spcBef>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6541100" y="1176725"/>
            <a:ext cx="2644453" cy="2644828"/>
          </a:xfrm>
          <a:solidFill>
            <a:srgbClr val="55C5E9"/>
          </a:solidFill>
        </p:spPr>
        <p:txBody>
          <a:bodyPr wrap="square" tIns="146304" bIns="146304">
            <a:noAutofit/>
          </a:bodyPr>
          <a:lstStyle>
            <a:lvl1pPr marL="0" indent="0">
              <a:spcBef>
                <a:spcPts val="1200"/>
              </a:spcBef>
              <a:buClr>
                <a:schemeClr val="tx1"/>
              </a:buClr>
              <a:buFont typeface="Wingdings" pitchFamily="2" charset="2"/>
              <a:buNone/>
              <a:defRPr sz="3921">
                <a:solidFill>
                  <a:schemeClr val="tx1"/>
                </a:solidFill>
              </a:defRPr>
            </a:lvl1pPr>
            <a:lvl2pPr marL="0" indent="0">
              <a:spcBef>
                <a:spcPts val="1059"/>
              </a:spcBef>
              <a:buNone/>
              <a:defRPr sz="1961">
                <a:solidFill>
                  <a:schemeClr val="tx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9238156" y="1176725"/>
            <a:ext cx="2689274" cy="264482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6541100" y="3867937"/>
            <a:ext cx="2644453" cy="2689656"/>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9238156" y="3867937"/>
            <a:ext cx="2689274" cy="2689656"/>
          </a:xfrm>
          <a:solidFill>
            <a:schemeClr val="accent5"/>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9309565"/>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19585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370256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24461207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7706163"/>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2761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4709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882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398035"/>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3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5"/>
            <a:ext cx="11653522" cy="1983040"/>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82"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89"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7599538"/>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07" indent="-28470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8" indent="-27537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82" indent="-28470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13" indent="-22403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45" indent="-22403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75787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3456870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3415672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84715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558669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571310387"/>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4039193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12951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961632374"/>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7249001"/>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604728432"/>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373019020"/>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805112"/>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135004"/>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30870387"/>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368120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727944572"/>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7169640"/>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7049712"/>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6443931"/>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7224470"/>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003061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40530441"/>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113349343"/>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772838748"/>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49926587"/>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0891248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1769436165"/>
      </p:ext>
    </p:extLst>
  </p:cSld>
  <p:clrMapOvr>
    <a:masterClrMapping/>
  </p:clrMapOvr>
  <p:transition>
    <p:fade/>
  </p:transition>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02272785"/>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986350"/>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531367"/>
      </p:ext>
    </p:extLst>
  </p:cSld>
  <p:clrMapOvr>
    <a:masterClrMapping/>
  </p:clrMapOvr>
  <p:transition>
    <p:fade/>
  </p:transition>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578080"/>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250624"/>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5170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939939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Title Slide - ANIMATED">
    <p:spTree>
      <p:nvGrpSpPr>
        <p:cNvPr id="1" name=""/>
        <p:cNvGrpSpPr/>
        <p:nvPr/>
      </p:nvGrpSpPr>
      <p:grpSpPr>
        <a:xfrm>
          <a:off x="0" y="0"/>
          <a:ext cx="0" cy="0"/>
          <a:chOff x="0" y="0"/>
          <a:chExt cx="0" cy="0"/>
        </a:xfrm>
      </p:grpSpPr>
      <p:sp>
        <p:nvSpPr>
          <p:cNvPr id="15" name="Rectangle 14"/>
          <p:cNvSpPr/>
          <p:nvPr userDrawn="1"/>
        </p:nvSpPr>
        <p:spPr bwMode="white">
          <a:xfrm>
            <a:off x="0" y="0"/>
            <a:ext cx="12191377"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41928107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1.34362E-6 L -3.90605E-7 -1.34362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294251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99154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1865848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1" y="233152"/>
            <a:ext cx="9310688"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07242008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537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9288230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983417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88748870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683410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2677598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3880614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95636101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55611248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385033482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40407145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12712503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164956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8"/>
            <a:ext cx="11653523"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943795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190735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418049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30034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05808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69813208"/>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6810152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0724467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48256262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62536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635878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8276160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3585241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920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34182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75774472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146617246"/>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5902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16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1264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312817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050096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978759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279513005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147124390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6913507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056049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26" Type="http://schemas.openxmlformats.org/officeDocument/2006/relationships/slideLayout" Target="../slideLayouts/slideLayout360.xml"/><Relationship Id="rId39" Type="http://schemas.openxmlformats.org/officeDocument/2006/relationships/image" Target="../media/image94.png"/><Relationship Id="rId3" Type="http://schemas.openxmlformats.org/officeDocument/2006/relationships/slideLayout" Target="../slideLayouts/slideLayout337.xml"/><Relationship Id="rId21" Type="http://schemas.openxmlformats.org/officeDocument/2006/relationships/slideLayout" Target="../slideLayouts/slideLayout355.xml"/><Relationship Id="rId34" Type="http://schemas.openxmlformats.org/officeDocument/2006/relationships/slideLayout" Target="../slideLayouts/slideLayout368.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slideLayout" Target="../slideLayouts/slideLayout367.xml"/><Relationship Id="rId38" Type="http://schemas.openxmlformats.org/officeDocument/2006/relationships/theme" Target="../theme/theme13.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29" Type="http://schemas.openxmlformats.org/officeDocument/2006/relationships/slideLayout" Target="../slideLayouts/slideLayout363.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32" Type="http://schemas.openxmlformats.org/officeDocument/2006/relationships/slideLayout" Target="../slideLayouts/slideLayout366.xml"/><Relationship Id="rId37" Type="http://schemas.openxmlformats.org/officeDocument/2006/relationships/slideLayout" Target="../slideLayouts/slideLayout371.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slideLayout" Target="../slideLayouts/slideLayout370.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31" Type="http://schemas.openxmlformats.org/officeDocument/2006/relationships/slideLayout" Target="../slideLayouts/slideLayout365.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slideLayout" Target="../slideLayouts/slideLayout36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2" Type="http://schemas.openxmlformats.org/officeDocument/2006/relationships/slideLayout" Target="../slideLayouts/slideLayout373.xml"/><Relationship Id="rId16" Type="http://schemas.openxmlformats.org/officeDocument/2006/relationships/image" Target="../media/image16.png"/><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theme" Target="../theme/theme14.xml"/><Relationship Id="rId10" Type="http://schemas.openxmlformats.org/officeDocument/2006/relationships/slideLayout" Target="../slideLayouts/slideLayout381.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slideLayout" Target="../slideLayouts/slideLayout411.x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slideLayout" Target="../slideLayouts/slideLayout419.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slideLayout" Target="../slideLayouts/slideLayout410.xml"/><Relationship Id="rId33" Type="http://schemas.openxmlformats.org/officeDocument/2006/relationships/slideLayout" Target="../slideLayouts/slideLayout418.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slideLayout" Target="../slideLayouts/slideLayout414.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slideLayout" Target="../slideLayouts/slideLayout417.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slideLayout" Target="../slideLayouts/slideLayout413.xml"/><Relationship Id="rId36" Type="http://schemas.openxmlformats.org/officeDocument/2006/relationships/theme" Target="../theme/theme15.x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slideLayout" Target="../slideLayouts/slideLayout416.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slideLayout" Target="../slideLayouts/slideLayout412.xml"/><Relationship Id="rId30" Type="http://schemas.openxmlformats.org/officeDocument/2006/relationships/slideLayout" Target="../slideLayouts/slideLayout415.xml"/><Relationship Id="rId35" Type="http://schemas.openxmlformats.org/officeDocument/2006/relationships/slideLayout" Target="../slideLayouts/slideLayout42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9" Type="http://schemas.openxmlformats.org/officeDocument/2006/relationships/slideLayout" Target="../slideLayouts/slideLayout459.xml"/><Relationship Id="rId21" Type="http://schemas.openxmlformats.org/officeDocument/2006/relationships/slideLayout" Target="../slideLayouts/slideLayout441.xml"/><Relationship Id="rId34" Type="http://schemas.openxmlformats.org/officeDocument/2006/relationships/slideLayout" Target="../slideLayouts/slideLayout454.xml"/><Relationship Id="rId42" Type="http://schemas.openxmlformats.org/officeDocument/2006/relationships/slideLayout" Target="../slideLayouts/slideLayout462.xml"/><Relationship Id="rId47" Type="http://schemas.openxmlformats.org/officeDocument/2006/relationships/slideLayout" Target="../slideLayouts/slideLayout467.xml"/><Relationship Id="rId50" Type="http://schemas.openxmlformats.org/officeDocument/2006/relationships/slideLayout" Target="../slideLayouts/slideLayout470.xml"/><Relationship Id="rId55" Type="http://schemas.openxmlformats.org/officeDocument/2006/relationships/slideLayout" Target="../slideLayouts/slideLayout475.xml"/><Relationship Id="rId63" Type="http://schemas.openxmlformats.org/officeDocument/2006/relationships/image" Target="../media/image16.png"/><Relationship Id="rId7" Type="http://schemas.openxmlformats.org/officeDocument/2006/relationships/slideLayout" Target="../slideLayouts/slideLayout427.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29" Type="http://schemas.openxmlformats.org/officeDocument/2006/relationships/slideLayout" Target="../slideLayouts/slideLayout449.xml"/><Relationship Id="rId41" Type="http://schemas.openxmlformats.org/officeDocument/2006/relationships/slideLayout" Target="../slideLayouts/slideLayout461.xml"/><Relationship Id="rId54" Type="http://schemas.openxmlformats.org/officeDocument/2006/relationships/slideLayout" Target="../slideLayouts/slideLayout474.xml"/><Relationship Id="rId62" Type="http://schemas.openxmlformats.org/officeDocument/2006/relationships/theme" Target="../theme/theme1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32" Type="http://schemas.openxmlformats.org/officeDocument/2006/relationships/slideLayout" Target="../slideLayouts/slideLayout452.xml"/><Relationship Id="rId37" Type="http://schemas.openxmlformats.org/officeDocument/2006/relationships/slideLayout" Target="../slideLayouts/slideLayout457.xml"/><Relationship Id="rId40" Type="http://schemas.openxmlformats.org/officeDocument/2006/relationships/slideLayout" Target="../slideLayouts/slideLayout460.xml"/><Relationship Id="rId45" Type="http://schemas.openxmlformats.org/officeDocument/2006/relationships/slideLayout" Target="../slideLayouts/slideLayout465.xml"/><Relationship Id="rId53" Type="http://schemas.openxmlformats.org/officeDocument/2006/relationships/slideLayout" Target="../slideLayouts/slideLayout473.xml"/><Relationship Id="rId58" Type="http://schemas.openxmlformats.org/officeDocument/2006/relationships/slideLayout" Target="../slideLayouts/slideLayout478.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slideLayout" Target="../slideLayouts/slideLayout448.xml"/><Relationship Id="rId36" Type="http://schemas.openxmlformats.org/officeDocument/2006/relationships/slideLayout" Target="../slideLayouts/slideLayout456.xml"/><Relationship Id="rId49" Type="http://schemas.openxmlformats.org/officeDocument/2006/relationships/slideLayout" Target="../slideLayouts/slideLayout469.xml"/><Relationship Id="rId57" Type="http://schemas.openxmlformats.org/officeDocument/2006/relationships/slideLayout" Target="../slideLayouts/slideLayout477.xml"/><Relationship Id="rId61" Type="http://schemas.openxmlformats.org/officeDocument/2006/relationships/slideLayout" Target="../slideLayouts/slideLayout481.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31" Type="http://schemas.openxmlformats.org/officeDocument/2006/relationships/slideLayout" Target="../slideLayouts/slideLayout451.xml"/><Relationship Id="rId44" Type="http://schemas.openxmlformats.org/officeDocument/2006/relationships/slideLayout" Target="../slideLayouts/slideLayout464.xml"/><Relationship Id="rId52" Type="http://schemas.openxmlformats.org/officeDocument/2006/relationships/slideLayout" Target="../slideLayouts/slideLayout472.xml"/><Relationship Id="rId60" Type="http://schemas.openxmlformats.org/officeDocument/2006/relationships/slideLayout" Target="../slideLayouts/slideLayout480.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slideLayout" Target="../slideLayouts/slideLayout447.xml"/><Relationship Id="rId30" Type="http://schemas.openxmlformats.org/officeDocument/2006/relationships/slideLayout" Target="../slideLayouts/slideLayout450.xml"/><Relationship Id="rId35" Type="http://schemas.openxmlformats.org/officeDocument/2006/relationships/slideLayout" Target="../slideLayouts/slideLayout455.xml"/><Relationship Id="rId43" Type="http://schemas.openxmlformats.org/officeDocument/2006/relationships/slideLayout" Target="../slideLayouts/slideLayout463.xml"/><Relationship Id="rId48" Type="http://schemas.openxmlformats.org/officeDocument/2006/relationships/slideLayout" Target="../slideLayouts/slideLayout468.xml"/><Relationship Id="rId56" Type="http://schemas.openxmlformats.org/officeDocument/2006/relationships/slideLayout" Target="../slideLayouts/slideLayout476.xml"/><Relationship Id="rId8" Type="http://schemas.openxmlformats.org/officeDocument/2006/relationships/slideLayout" Target="../slideLayouts/slideLayout428.xml"/><Relationship Id="rId51" Type="http://schemas.openxmlformats.org/officeDocument/2006/relationships/slideLayout" Target="../slideLayouts/slideLayout471.xml"/><Relationship Id="rId3" Type="http://schemas.openxmlformats.org/officeDocument/2006/relationships/slideLayout" Target="../slideLayouts/slideLayout423.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33" Type="http://schemas.openxmlformats.org/officeDocument/2006/relationships/slideLayout" Target="../slideLayouts/slideLayout453.xml"/><Relationship Id="rId38" Type="http://schemas.openxmlformats.org/officeDocument/2006/relationships/slideLayout" Target="../slideLayouts/slideLayout458.xml"/><Relationship Id="rId46" Type="http://schemas.openxmlformats.org/officeDocument/2006/relationships/slideLayout" Target="../slideLayouts/slideLayout466.xml"/><Relationship Id="rId59" Type="http://schemas.openxmlformats.org/officeDocument/2006/relationships/slideLayout" Target="../slideLayouts/slideLayout47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image" Target="../media/image107.png"/><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10" Type="http://schemas.openxmlformats.org/officeDocument/2006/relationships/slideLayout" Target="../slideLayouts/slideLayout491.xml"/><Relationship Id="rId19" Type="http://schemas.openxmlformats.org/officeDocument/2006/relationships/theme" Target="../theme/theme17.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slideLayout" Target="../slideLayouts/slideLayout512.xml"/><Relationship Id="rId18" Type="http://schemas.openxmlformats.org/officeDocument/2006/relationships/slideLayout" Target="../slideLayouts/slideLayout517.xml"/><Relationship Id="rId26" Type="http://schemas.openxmlformats.org/officeDocument/2006/relationships/slideLayout" Target="../slideLayouts/slideLayout525.xml"/><Relationship Id="rId3" Type="http://schemas.openxmlformats.org/officeDocument/2006/relationships/slideLayout" Target="../slideLayouts/slideLayout502.xml"/><Relationship Id="rId21" Type="http://schemas.openxmlformats.org/officeDocument/2006/relationships/slideLayout" Target="../slideLayouts/slideLayout520.xml"/><Relationship Id="rId34" Type="http://schemas.openxmlformats.org/officeDocument/2006/relationships/image" Target="../media/image75.png"/><Relationship Id="rId7" Type="http://schemas.openxmlformats.org/officeDocument/2006/relationships/slideLayout" Target="../slideLayouts/slideLayout506.xml"/><Relationship Id="rId12" Type="http://schemas.openxmlformats.org/officeDocument/2006/relationships/slideLayout" Target="../slideLayouts/slideLayout511.xml"/><Relationship Id="rId17" Type="http://schemas.openxmlformats.org/officeDocument/2006/relationships/slideLayout" Target="../slideLayouts/slideLayout516.xml"/><Relationship Id="rId25" Type="http://schemas.openxmlformats.org/officeDocument/2006/relationships/slideLayout" Target="../slideLayouts/slideLayout524.xml"/><Relationship Id="rId33" Type="http://schemas.openxmlformats.org/officeDocument/2006/relationships/theme" Target="../theme/theme18.xml"/><Relationship Id="rId2" Type="http://schemas.openxmlformats.org/officeDocument/2006/relationships/slideLayout" Target="../slideLayouts/slideLayout501.xml"/><Relationship Id="rId16" Type="http://schemas.openxmlformats.org/officeDocument/2006/relationships/slideLayout" Target="../slideLayouts/slideLayout515.xml"/><Relationship Id="rId20" Type="http://schemas.openxmlformats.org/officeDocument/2006/relationships/slideLayout" Target="../slideLayouts/slideLayout519.xml"/><Relationship Id="rId29" Type="http://schemas.openxmlformats.org/officeDocument/2006/relationships/slideLayout" Target="../slideLayouts/slideLayout528.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slideLayout" Target="../slideLayouts/slideLayout510.xml"/><Relationship Id="rId24" Type="http://schemas.openxmlformats.org/officeDocument/2006/relationships/slideLayout" Target="../slideLayouts/slideLayout523.xml"/><Relationship Id="rId32" Type="http://schemas.openxmlformats.org/officeDocument/2006/relationships/slideLayout" Target="../slideLayouts/slideLayout531.xml"/><Relationship Id="rId5" Type="http://schemas.openxmlformats.org/officeDocument/2006/relationships/slideLayout" Target="../slideLayouts/slideLayout504.xml"/><Relationship Id="rId15" Type="http://schemas.openxmlformats.org/officeDocument/2006/relationships/slideLayout" Target="../slideLayouts/slideLayout514.xml"/><Relationship Id="rId23" Type="http://schemas.openxmlformats.org/officeDocument/2006/relationships/slideLayout" Target="../slideLayouts/slideLayout522.xml"/><Relationship Id="rId28" Type="http://schemas.openxmlformats.org/officeDocument/2006/relationships/slideLayout" Target="../slideLayouts/slideLayout527.xml"/><Relationship Id="rId10" Type="http://schemas.openxmlformats.org/officeDocument/2006/relationships/slideLayout" Target="../slideLayouts/slideLayout509.xml"/><Relationship Id="rId19" Type="http://schemas.openxmlformats.org/officeDocument/2006/relationships/slideLayout" Target="../slideLayouts/slideLayout518.xml"/><Relationship Id="rId31" Type="http://schemas.openxmlformats.org/officeDocument/2006/relationships/slideLayout" Target="../slideLayouts/slideLayout530.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slideLayout" Target="../slideLayouts/slideLayout513.xml"/><Relationship Id="rId22" Type="http://schemas.openxmlformats.org/officeDocument/2006/relationships/slideLayout" Target="../slideLayouts/slideLayout521.xml"/><Relationship Id="rId27" Type="http://schemas.openxmlformats.org/officeDocument/2006/relationships/slideLayout" Target="../slideLayouts/slideLayout526.xml"/><Relationship Id="rId30" Type="http://schemas.openxmlformats.org/officeDocument/2006/relationships/slideLayout" Target="../slideLayouts/slideLayout52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 Type="http://schemas.openxmlformats.org/officeDocument/2006/relationships/slideLayout" Target="../slideLayouts/slideLayout534.xml"/><Relationship Id="rId21" Type="http://schemas.openxmlformats.org/officeDocument/2006/relationships/slideLayout" Target="../slideLayouts/slideLayout552.xml"/><Relationship Id="rId34" Type="http://schemas.openxmlformats.org/officeDocument/2006/relationships/slideLayout" Target="../slideLayouts/slideLayout565.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slideLayout" Target="../slideLayouts/slideLayout564.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29" Type="http://schemas.openxmlformats.org/officeDocument/2006/relationships/slideLayout" Target="../slideLayouts/slideLayout560.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slideLayout" Target="../slideLayouts/slideLayout563.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slideLayout" Target="../slideLayouts/slideLayout559.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slideLayout" Target="../slideLayouts/slideLayout56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slideLayout" Target="../slideLayouts/slideLayout558.xml"/><Relationship Id="rId30" Type="http://schemas.openxmlformats.org/officeDocument/2006/relationships/slideLayout" Target="../slideLayouts/slideLayout561.xml"/><Relationship Id="rId35"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8.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image" Target="../media/image9.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26" Type="http://schemas.openxmlformats.org/officeDocument/2006/relationships/slideLayout" Target="../slideLayouts/slideLayout591.xml"/><Relationship Id="rId3" Type="http://schemas.openxmlformats.org/officeDocument/2006/relationships/slideLayout" Target="../slideLayouts/slideLayout568.xml"/><Relationship Id="rId21" Type="http://schemas.openxmlformats.org/officeDocument/2006/relationships/slideLayout" Target="../slideLayouts/slideLayout586.xml"/><Relationship Id="rId34" Type="http://schemas.openxmlformats.org/officeDocument/2006/relationships/image" Target="NUL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5" Type="http://schemas.openxmlformats.org/officeDocument/2006/relationships/slideLayout" Target="../slideLayouts/slideLayout590.xml"/><Relationship Id="rId33" Type="http://schemas.openxmlformats.org/officeDocument/2006/relationships/theme" Target="../theme/theme20.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slideLayout" Target="../slideLayouts/slideLayout585.xml"/><Relationship Id="rId29" Type="http://schemas.openxmlformats.org/officeDocument/2006/relationships/slideLayout" Target="../slideLayouts/slideLayout59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24" Type="http://schemas.openxmlformats.org/officeDocument/2006/relationships/slideLayout" Target="../slideLayouts/slideLayout589.xml"/><Relationship Id="rId32" Type="http://schemas.openxmlformats.org/officeDocument/2006/relationships/slideLayout" Target="../slideLayouts/slideLayout597.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23" Type="http://schemas.openxmlformats.org/officeDocument/2006/relationships/slideLayout" Target="../slideLayouts/slideLayout588.xml"/><Relationship Id="rId28" Type="http://schemas.openxmlformats.org/officeDocument/2006/relationships/slideLayout" Target="../slideLayouts/slideLayout593.xml"/><Relationship Id="rId36" Type="http://schemas.openxmlformats.org/officeDocument/2006/relationships/image" Target="../media/image130.jpeg"/><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31" Type="http://schemas.openxmlformats.org/officeDocument/2006/relationships/slideLayout" Target="../slideLayouts/slideLayout596.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 Id="rId22" Type="http://schemas.openxmlformats.org/officeDocument/2006/relationships/slideLayout" Target="../slideLayouts/slideLayout587.xml"/><Relationship Id="rId27" Type="http://schemas.openxmlformats.org/officeDocument/2006/relationships/slideLayout" Target="../slideLayouts/slideLayout592.xml"/><Relationship Id="rId30" Type="http://schemas.openxmlformats.org/officeDocument/2006/relationships/slideLayout" Target="../slideLayouts/slideLayout595.xml"/><Relationship Id="rId35" Type="http://schemas.openxmlformats.org/officeDocument/2006/relationships/image" Target="../media/image1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image" Target="../media/image16.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theme" Target="../theme/theme3.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4.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image" Target="../media/image16.png"/><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theme" Target="../theme/theme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image" Target="../media/image75.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theme" Target="../theme/theme6.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theme" Target="../theme/theme7.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image" Target="../media/image79.png"/><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heme" Target="../theme/theme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image" Target="../media/image8.png"/><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theme" Target="../theme/theme9.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91651657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725332"/>
      </p:ext>
    </p:extLst>
  </p:cSld>
  <p:clrMap bg1="dk1" tx1="lt1" bg2="dk2" tx2="lt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 id="2147483938" r:id="rId27"/>
    <p:sldLayoutId id="2147483939" r:id="rId28"/>
    <p:sldLayoutId id="2147483940" r:id="rId29"/>
    <p:sldLayoutId id="2147483941" r:id="rId30"/>
    <p:sldLayoutId id="2147483942" r:id="rId31"/>
    <p:sldLayoutId id="2147483943" r:id="rId32"/>
    <p:sldLayoutId id="2147483974" r:id="rId33"/>
    <p:sldLayoutId id="2147483975" r:id="rId34"/>
  </p:sldLayoutIdLst>
  <p:transition>
    <p:fade/>
  </p:transition>
  <p:timing>
    <p:tnLst>
      <p:par>
        <p:cTn id="1" dur="indefinite" restart="never" nodeType="tmRoot"/>
      </p:par>
    </p:tnLst>
  </p:timing>
  <p:txStyles>
    <p:titleStyle>
      <a:lvl1pPr algn="l" defTabSz="914246"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0" marR="0" indent="-336100" algn="l" defTabSz="91424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616" marR="0" indent="-236515" algn="l" defTabSz="91424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5"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1"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369"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178"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03"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27"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51"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46" rtl="0" eaLnBrk="1" latinLnBrk="0" hangingPunct="1">
        <a:defRPr sz="1766" kern="1200">
          <a:solidFill>
            <a:schemeClr val="tx1"/>
          </a:solidFill>
          <a:latin typeface="+mn-lt"/>
          <a:ea typeface="+mn-ea"/>
          <a:cs typeface="+mn-cs"/>
        </a:defRPr>
      </a:lvl1pPr>
      <a:lvl2pPr marL="457125" algn="l" defTabSz="914246" rtl="0" eaLnBrk="1" latinLnBrk="0" hangingPunct="1">
        <a:defRPr sz="1766" kern="1200">
          <a:solidFill>
            <a:schemeClr val="tx1"/>
          </a:solidFill>
          <a:latin typeface="+mn-lt"/>
          <a:ea typeface="+mn-ea"/>
          <a:cs typeface="+mn-cs"/>
        </a:defRPr>
      </a:lvl2pPr>
      <a:lvl3pPr marL="914246" algn="l" defTabSz="914246" rtl="0" eaLnBrk="1" latinLnBrk="0" hangingPunct="1">
        <a:defRPr sz="1766" kern="1200">
          <a:solidFill>
            <a:schemeClr val="tx1"/>
          </a:solidFill>
          <a:latin typeface="+mn-lt"/>
          <a:ea typeface="+mn-ea"/>
          <a:cs typeface="+mn-cs"/>
        </a:defRPr>
      </a:lvl3pPr>
      <a:lvl4pPr marL="1371371" algn="l" defTabSz="914246" rtl="0" eaLnBrk="1" latinLnBrk="0" hangingPunct="1">
        <a:defRPr sz="1766" kern="1200">
          <a:solidFill>
            <a:schemeClr val="tx1"/>
          </a:solidFill>
          <a:latin typeface="+mn-lt"/>
          <a:ea typeface="+mn-ea"/>
          <a:cs typeface="+mn-cs"/>
        </a:defRPr>
      </a:lvl4pPr>
      <a:lvl5pPr marL="1828494" algn="l" defTabSz="914246" rtl="0" eaLnBrk="1" latinLnBrk="0" hangingPunct="1">
        <a:defRPr sz="1766" kern="1200">
          <a:solidFill>
            <a:schemeClr val="tx1"/>
          </a:solidFill>
          <a:latin typeface="+mn-lt"/>
          <a:ea typeface="+mn-ea"/>
          <a:cs typeface="+mn-cs"/>
        </a:defRPr>
      </a:lvl5pPr>
      <a:lvl6pPr marL="2285619" algn="l" defTabSz="914246" rtl="0" eaLnBrk="1" latinLnBrk="0" hangingPunct="1">
        <a:defRPr sz="1766" kern="1200">
          <a:solidFill>
            <a:schemeClr val="tx1"/>
          </a:solidFill>
          <a:latin typeface="+mn-lt"/>
          <a:ea typeface="+mn-ea"/>
          <a:cs typeface="+mn-cs"/>
        </a:defRPr>
      </a:lvl6pPr>
      <a:lvl7pPr marL="2742742" algn="l" defTabSz="914246" rtl="0" eaLnBrk="1" latinLnBrk="0" hangingPunct="1">
        <a:defRPr sz="1766" kern="1200">
          <a:solidFill>
            <a:schemeClr val="tx1"/>
          </a:solidFill>
          <a:latin typeface="+mn-lt"/>
          <a:ea typeface="+mn-ea"/>
          <a:cs typeface="+mn-cs"/>
        </a:defRPr>
      </a:lvl7pPr>
      <a:lvl8pPr marL="3199865" algn="l" defTabSz="914246" rtl="0" eaLnBrk="1" latinLnBrk="0" hangingPunct="1">
        <a:defRPr sz="1766" kern="1200">
          <a:solidFill>
            <a:schemeClr val="tx1"/>
          </a:solidFill>
          <a:latin typeface="+mn-lt"/>
          <a:ea typeface="+mn-ea"/>
          <a:cs typeface="+mn-cs"/>
        </a:defRPr>
      </a:lvl8pPr>
      <a:lvl9pPr marL="3656990" algn="l" defTabSz="91424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2701390"/>
      </p:ext>
    </p:extLst>
  </p:cSld>
  <p:clrMap bg1="dk1" tx1="lt1" bg2="dk2" tx2="lt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4082233"/>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 id="2147483998" r:id="rId22"/>
    <p:sldLayoutId id="2147483999" r:id="rId23"/>
    <p:sldLayoutId id="2147484000" r:id="rId24"/>
    <p:sldLayoutId id="2147484001" r:id="rId25"/>
    <p:sldLayoutId id="2147484002" r:id="rId26"/>
    <p:sldLayoutId id="2147484003" r:id="rId27"/>
    <p:sldLayoutId id="2147484004" r:id="rId28"/>
    <p:sldLayoutId id="2147484005" r:id="rId29"/>
  </p:sldLayoutIdLst>
  <p:transition>
    <p:fade/>
  </p:transition>
  <p:timing>
    <p:tnLst>
      <p:par>
        <p:cTn id="1" dur="indefinite" restart="never" nodeType="tmRoot"/>
      </p:par>
    </p:tnLst>
  </p:timing>
  <p:txStyles>
    <p:title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765766752"/>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 id="2147484034" r:id="rId28"/>
    <p:sldLayoutId id="2147484035" r:id="rId29"/>
    <p:sldLayoutId id="2147484036" r:id="rId30"/>
    <p:sldLayoutId id="2147484037" r:id="rId31"/>
    <p:sldLayoutId id="2147484038" r:id="rId32"/>
    <p:sldLayoutId id="2147484039" r:id="rId33"/>
    <p:sldLayoutId id="2147484040" r:id="rId34"/>
    <p:sldLayoutId id="2147484041" r:id="rId35"/>
    <p:sldLayoutId id="2147484042" r:id="rId36"/>
    <p:sldLayoutId id="2147484043" r:id="rId37"/>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693488"/>
            <a:ext cx="11653521" cy="1644641"/>
          </a:xfrm>
          <a:prstGeom prst="rect">
            <a:avLst/>
          </a:prstGeom>
        </p:spPr>
        <p:txBody>
          <a:bodyPr vert="horz" wrap="square" lIns="146304" tIns="91440" rIns="146304" bIns="91440" rtlCol="0">
            <a:spAutoFit/>
          </a:bodyPr>
          <a:lstStyle/>
          <a:p>
            <a:pPr marL="0" marR="0" lvl="0" indent="0" algn="l" defTabSz="914367" rtl="0" eaLnBrk="1" fontAlgn="auto" latinLnBrk="0" hangingPunct="1">
              <a:lnSpc>
                <a:spcPct val="90000"/>
              </a:lnSpc>
              <a:spcBef>
                <a:spcPct val="20000"/>
              </a:spcBef>
              <a:spcAft>
                <a:spcPts val="0"/>
              </a:spcAft>
              <a:buClrTx/>
              <a:buSzPct val="90000"/>
              <a:tabLst/>
            </a:pPr>
            <a:r>
              <a:rPr lang="en-US" dirty="0"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tabLst/>
            </a:pPr>
            <a:r>
              <a:rPr lang="en-US" dirty="0" smtClean="0"/>
              <a:t>Second level</a:t>
            </a:r>
          </a:p>
          <a:p>
            <a:pPr marL="0" marR="0" lvl="2" indent="0" algn="l" defTabSz="914367" rtl="0" eaLnBrk="1" fontAlgn="auto" latinLnBrk="0" hangingPunct="1">
              <a:lnSpc>
                <a:spcPct val="90000"/>
              </a:lnSpc>
              <a:spcBef>
                <a:spcPct val="20000"/>
              </a:spcBef>
              <a:spcAft>
                <a:spcPts val="0"/>
              </a:spcAft>
              <a:buClrTx/>
              <a:buSzPct val="90000"/>
              <a:tabLst/>
            </a:pPr>
            <a:r>
              <a:rPr lang="en-US" dirty="0" smtClean="0"/>
              <a:t>Third level</a:t>
            </a:r>
          </a:p>
          <a:p>
            <a:pPr marL="0" marR="0" lvl="3" indent="0" algn="l" defTabSz="914367" rtl="0" eaLnBrk="1" fontAlgn="auto" latinLnBrk="0" hangingPunct="1">
              <a:lnSpc>
                <a:spcPct val="90000"/>
              </a:lnSpc>
              <a:spcBef>
                <a:spcPct val="20000"/>
              </a:spcBef>
              <a:spcAft>
                <a:spcPts val="0"/>
              </a:spcAft>
              <a:buClrTx/>
              <a:buSzPct val="90000"/>
              <a:tabLst/>
            </a:pPr>
            <a:r>
              <a:rPr lang="en-US" dirty="0" smtClean="0"/>
              <a:t>Fourth level</a:t>
            </a:r>
          </a:p>
          <a:p>
            <a:pPr marL="0" marR="0" lvl="4" indent="0" algn="l" defTabSz="914367" rtl="0" eaLnBrk="1" fontAlgn="auto" latinLnBrk="0" hangingPunct="1">
              <a:lnSpc>
                <a:spcPct val="90000"/>
              </a:lnSpc>
              <a:spcBef>
                <a:spcPct val="20000"/>
              </a:spcBef>
              <a:spcAft>
                <a:spcPts val="0"/>
              </a:spcAft>
              <a:buClrTx/>
              <a:buSzPct val="90000"/>
              <a:tabLst/>
            </a:pPr>
            <a:r>
              <a:rPr lang="en-US" dirty="0" smtClean="0"/>
              <a:t>Fifth level</a:t>
            </a:r>
            <a:endParaRPr lang="en-US" dirty="0"/>
          </a:p>
        </p:txBody>
      </p:sp>
      <p:pic>
        <p:nvPicPr>
          <p:cNvPr id="7" name="Picture 6"/>
          <p:cNvPicPr>
            <a:picLocks noChangeAspect="1"/>
          </p:cNvPicPr>
          <p:nvPr/>
        </p:nvPicPr>
        <p:blipFill>
          <a:blip r:embed="rId1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29631829"/>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3529"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None/>
        <a:tabLst/>
        <a:defRPr lang="en-US" sz="3137" kern="1200" spc="0" baseline="0" dirty="0" smtClean="0">
          <a:solidFill>
            <a:schemeClr val="tx1"/>
          </a:soli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solidFill>
            <a:schemeClr val="tx1"/>
          </a:soli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soli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soli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2076136"/>
      </p:ext>
    </p:extLst>
  </p:cSld>
  <p:clrMap bg1="dk1" tx1="lt1" bg2="dk2" tx2="lt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05488"/>
            <a:ext cx="11653523" cy="982133"/>
          </a:xfrm>
          <a:prstGeom prst="rect">
            <a:avLst/>
          </a:prstGeom>
        </p:spPr>
        <p:txBody>
          <a:bodyPr vert="horz" lIns="137160" tIns="91440" rIns="137160" bIns="109728"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69240" y="1187620"/>
            <a:ext cx="11653523" cy="5379312"/>
          </a:xfrm>
          <a:prstGeom prst="rect">
            <a:avLst/>
          </a:prstGeom>
        </p:spPr>
        <p:txBody>
          <a:bodyPr vert="horz" lIns="137160" tIns="109728" rIns="137160" bIns="109728"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63"/>
          <a:stretch>
            <a:fillRect/>
          </a:stretch>
        </p:blipFill>
        <p:spPr>
          <a:xfrm rot="5400000">
            <a:off x="9296855" y="2990703"/>
            <a:ext cx="6857997" cy="876601"/>
          </a:xfrm>
          <a:prstGeom prst="rect">
            <a:avLst/>
          </a:prstGeom>
        </p:spPr>
      </p:pic>
    </p:spTree>
    <p:extLst>
      <p:ext uri="{BB962C8B-B14F-4D97-AF65-F5344CB8AC3E}">
        <p14:creationId xmlns:p14="http://schemas.microsoft.com/office/powerpoint/2010/main" val="2590044519"/>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 id="2147484131" r:id="rId36"/>
    <p:sldLayoutId id="2147484132" r:id="rId37"/>
    <p:sldLayoutId id="2147484133" r:id="rId38"/>
    <p:sldLayoutId id="2147484134" r:id="rId39"/>
    <p:sldLayoutId id="2147484135" r:id="rId40"/>
    <p:sldLayoutId id="2147484136" r:id="rId41"/>
    <p:sldLayoutId id="2147484137" r:id="rId42"/>
    <p:sldLayoutId id="2147484138" r:id="rId43"/>
    <p:sldLayoutId id="2147484139" r:id="rId44"/>
    <p:sldLayoutId id="2147484140" r:id="rId45"/>
    <p:sldLayoutId id="2147484141" r:id="rId46"/>
    <p:sldLayoutId id="2147484142" r:id="rId47"/>
    <p:sldLayoutId id="2147484143" r:id="rId48"/>
    <p:sldLayoutId id="2147484144" r:id="rId49"/>
    <p:sldLayoutId id="2147484145" r:id="rId50"/>
    <p:sldLayoutId id="2147484146" r:id="rId51"/>
    <p:sldLayoutId id="2147484147" r:id="rId52"/>
    <p:sldLayoutId id="2147484148" r:id="rId53"/>
    <p:sldLayoutId id="2147484149" r:id="rId54"/>
    <p:sldLayoutId id="2147484150" r:id="rId55"/>
    <p:sldLayoutId id="2147484151" r:id="rId56"/>
    <p:sldLayoutId id="2147484152" r:id="rId57"/>
    <p:sldLayoutId id="2147484153" r:id="rId58"/>
    <p:sldLayoutId id="2147484154" r:id="rId59"/>
    <p:sldLayoutId id="2147484155" r:id="rId60"/>
    <p:sldLayoutId id="2147484156" r:id="rId61"/>
  </p:sldLayoutIdLst>
  <p:transition>
    <p:fade/>
  </p:transition>
  <p:timing>
    <p:tnLst>
      <p:par>
        <p:cTn id="1" dur="indefinite" restart="never" nodeType="tmRoot"/>
      </p:par>
    </p:tnLst>
  </p:timing>
  <p:hf hdr="0" ftr="0" dt="0"/>
  <p:txStyles>
    <p:titleStyle>
      <a:lvl1pPr algn="l" defTabSz="914201" rtl="0" eaLnBrk="1" latinLnBrk="0" hangingPunct="1">
        <a:lnSpc>
          <a:spcPct val="90000"/>
        </a:lnSpc>
        <a:spcBef>
          <a:spcPct val="0"/>
        </a:spcBef>
        <a:buNone/>
        <a:defRPr sz="4266" b="0" kern="1200">
          <a:gradFill>
            <a:gsLst>
              <a:gs pos="0">
                <a:schemeClr val="accent1"/>
              </a:gs>
              <a:gs pos="100000">
                <a:schemeClr val="accent1"/>
              </a:gs>
            </a:gsLst>
            <a:lin ang="5400000" scaled="1"/>
          </a:gradFill>
          <a:latin typeface="+mj-lt"/>
          <a:ea typeface="+mj-ea"/>
          <a:cs typeface="+mj-cs"/>
        </a:defRPr>
      </a:lvl1pPr>
    </p:titleStyle>
    <p:bodyStyle>
      <a:lvl1pPr marL="0" indent="0" algn="l" defTabSz="914201" rtl="0" eaLnBrk="1" latinLnBrk="0" hangingPunct="1">
        <a:lnSpc>
          <a:spcPct val="90000"/>
        </a:lnSpc>
        <a:spcBef>
          <a:spcPts val="2400"/>
        </a:spcBef>
        <a:buFont typeface="Arial" panose="020B0604020202020204" pitchFamily="34" charset="0"/>
        <a:buNone/>
        <a:defRPr sz="3732" b="0" kern="1200">
          <a:gradFill>
            <a:gsLst>
              <a:gs pos="0">
                <a:schemeClr val="accent1"/>
              </a:gs>
              <a:gs pos="100000">
                <a:schemeClr val="accent1"/>
              </a:gs>
            </a:gsLst>
            <a:lin ang="5400000" scaled="1"/>
          </a:gradFill>
          <a:latin typeface="+mj-lt"/>
          <a:ea typeface="+mn-ea"/>
          <a:cs typeface="+mn-cs"/>
        </a:defRPr>
      </a:lvl1pPr>
      <a:lvl2pPr marL="0" indent="0" algn="l" defTabSz="914201" rtl="0" eaLnBrk="1" latinLnBrk="0" hangingPunct="1">
        <a:lnSpc>
          <a:spcPct val="90000"/>
        </a:lnSpc>
        <a:spcBef>
          <a:spcPts val="600"/>
        </a:spcBef>
        <a:buFont typeface="Arial" panose="020B0604020202020204" pitchFamily="34" charset="0"/>
        <a:buNone/>
        <a:defRPr sz="1866" kern="1200">
          <a:gradFill>
            <a:gsLst>
              <a:gs pos="0">
                <a:schemeClr val="tx1"/>
              </a:gs>
              <a:gs pos="100000">
                <a:schemeClr val="tx1"/>
              </a:gs>
            </a:gsLst>
            <a:lin ang="5400000" scaled="1"/>
          </a:gradFill>
          <a:latin typeface="+mn-lt"/>
          <a:ea typeface="+mn-ea"/>
          <a:cs typeface="+mn-cs"/>
        </a:defRPr>
      </a:lvl2pPr>
      <a:lvl3pPr marL="233312"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3pPr>
      <a:lvl4pPr marL="457101"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4pPr>
      <a:lvl5pPr marL="690413"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5pPr>
      <a:lvl6pPr marL="2514054"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11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82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5356"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en-US"/>
      </a:defPPr>
      <a:lvl1pPr marL="0" algn="l" defTabSz="914201" rtl="0" eaLnBrk="1" latinLnBrk="0" hangingPunct="1">
        <a:defRPr sz="1866" kern="1200">
          <a:solidFill>
            <a:schemeClr val="tx1"/>
          </a:solidFill>
          <a:latin typeface="+mn-lt"/>
          <a:ea typeface="+mn-ea"/>
          <a:cs typeface="+mn-cs"/>
        </a:defRPr>
      </a:lvl1pPr>
      <a:lvl2pPr marL="457101" algn="l" defTabSz="914201" rtl="0" eaLnBrk="1" latinLnBrk="0" hangingPunct="1">
        <a:defRPr sz="1866" kern="1200">
          <a:solidFill>
            <a:schemeClr val="tx1"/>
          </a:solidFill>
          <a:latin typeface="+mn-lt"/>
          <a:ea typeface="+mn-ea"/>
          <a:cs typeface="+mn-cs"/>
        </a:defRPr>
      </a:lvl2pPr>
      <a:lvl3pPr marL="914201" algn="l" defTabSz="914201" rtl="0" eaLnBrk="1" latinLnBrk="0" hangingPunct="1">
        <a:defRPr sz="1866" kern="1200">
          <a:solidFill>
            <a:schemeClr val="tx1"/>
          </a:solidFill>
          <a:latin typeface="+mn-lt"/>
          <a:ea typeface="+mn-ea"/>
          <a:cs typeface="+mn-cs"/>
        </a:defRPr>
      </a:lvl3pPr>
      <a:lvl4pPr marL="1371302" algn="l" defTabSz="914201" rtl="0" eaLnBrk="1" latinLnBrk="0" hangingPunct="1">
        <a:defRPr sz="1866" kern="1200">
          <a:solidFill>
            <a:schemeClr val="tx1"/>
          </a:solidFill>
          <a:latin typeface="+mn-lt"/>
          <a:ea typeface="+mn-ea"/>
          <a:cs typeface="+mn-cs"/>
        </a:defRPr>
      </a:lvl4pPr>
      <a:lvl5pPr marL="1828403" algn="l" defTabSz="914201" rtl="0" eaLnBrk="1" latinLnBrk="0" hangingPunct="1">
        <a:defRPr sz="1866" kern="1200">
          <a:solidFill>
            <a:schemeClr val="tx1"/>
          </a:solidFill>
          <a:latin typeface="+mn-lt"/>
          <a:ea typeface="+mn-ea"/>
          <a:cs typeface="+mn-cs"/>
        </a:defRPr>
      </a:lvl5pPr>
      <a:lvl6pPr marL="2285504" algn="l" defTabSz="914201" rtl="0" eaLnBrk="1" latinLnBrk="0" hangingPunct="1">
        <a:defRPr sz="1866" kern="1200">
          <a:solidFill>
            <a:schemeClr val="tx1"/>
          </a:solidFill>
          <a:latin typeface="+mn-lt"/>
          <a:ea typeface="+mn-ea"/>
          <a:cs typeface="+mn-cs"/>
        </a:defRPr>
      </a:lvl6pPr>
      <a:lvl7pPr marL="2742604" algn="l" defTabSz="914201" rtl="0" eaLnBrk="1" latinLnBrk="0" hangingPunct="1">
        <a:defRPr sz="1866" kern="1200">
          <a:solidFill>
            <a:schemeClr val="tx1"/>
          </a:solidFill>
          <a:latin typeface="+mn-lt"/>
          <a:ea typeface="+mn-ea"/>
          <a:cs typeface="+mn-cs"/>
        </a:defRPr>
      </a:lvl7pPr>
      <a:lvl8pPr marL="3199705" algn="l" defTabSz="914201" rtl="0" eaLnBrk="1" latinLnBrk="0" hangingPunct="1">
        <a:defRPr sz="1866" kern="1200">
          <a:solidFill>
            <a:schemeClr val="tx1"/>
          </a:solidFill>
          <a:latin typeface="+mn-lt"/>
          <a:ea typeface="+mn-ea"/>
          <a:cs typeface="+mn-cs"/>
        </a:defRPr>
      </a:lvl8pPr>
      <a:lvl9pPr marL="3656806" algn="l" defTabSz="914201" rtl="0" eaLnBrk="1" latinLnBrk="0" hangingPunct="1">
        <a:defRPr sz="186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2835349650"/>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Lst>
  <p:transition>
    <p:fade/>
  </p:transition>
  <p:timing>
    <p:tnLst>
      <p:par>
        <p:cTn id="1" dur="indefinite" restart="never" nodeType="tmRoot"/>
      </p:par>
    </p:tnLst>
  </p:timing>
  <p:hf sldNum="0" hdr="0" ftr="0" dt="0"/>
  <p:txStyles>
    <p:titleStyle>
      <a:lvl1pPr algn="l" defTabSz="913830"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8" marR="0" indent="-335948"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355" marR="0" indent="-23640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876"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843"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807"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030"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45"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61"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76"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0" rtl="0" eaLnBrk="1" latinLnBrk="0" hangingPunct="1">
        <a:defRPr sz="1764" kern="1200">
          <a:solidFill>
            <a:schemeClr val="tx1"/>
          </a:solidFill>
          <a:latin typeface="+mn-lt"/>
          <a:ea typeface="+mn-ea"/>
          <a:cs typeface="+mn-cs"/>
        </a:defRPr>
      </a:lvl1pPr>
      <a:lvl2pPr marL="456914" algn="l" defTabSz="913830" rtl="0" eaLnBrk="1" latinLnBrk="0" hangingPunct="1">
        <a:defRPr sz="1764" kern="1200">
          <a:solidFill>
            <a:schemeClr val="tx1"/>
          </a:solidFill>
          <a:latin typeface="+mn-lt"/>
          <a:ea typeface="+mn-ea"/>
          <a:cs typeface="+mn-cs"/>
        </a:defRPr>
      </a:lvl2pPr>
      <a:lvl3pPr marL="913830" algn="l" defTabSz="913830" rtl="0" eaLnBrk="1" latinLnBrk="0" hangingPunct="1">
        <a:defRPr sz="1764" kern="1200">
          <a:solidFill>
            <a:schemeClr val="tx1"/>
          </a:solidFill>
          <a:latin typeface="+mn-lt"/>
          <a:ea typeface="+mn-ea"/>
          <a:cs typeface="+mn-cs"/>
        </a:defRPr>
      </a:lvl3pPr>
      <a:lvl4pPr marL="1370744" algn="l" defTabSz="913830" rtl="0" eaLnBrk="1" latinLnBrk="0" hangingPunct="1">
        <a:defRPr sz="1764" kern="1200">
          <a:solidFill>
            <a:schemeClr val="tx1"/>
          </a:solidFill>
          <a:latin typeface="+mn-lt"/>
          <a:ea typeface="+mn-ea"/>
          <a:cs typeface="+mn-cs"/>
        </a:defRPr>
      </a:lvl4pPr>
      <a:lvl5pPr marL="1827659" algn="l" defTabSz="913830" rtl="0" eaLnBrk="1" latinLnBrk="0" hangingPunct="1">
        <a:defRPr sz="1764" kern="1200">
          <a:solidFill>
            <a:schemeClr val="tx1"/>
          </a:solidFill>
          <a:latin typeface="+mn-lt"/>
          <a:ea typeface="+mn-ea"/>
          <a:cs typeface="+mn-cs"/>
        </a:defRPr>
      </a:lvl5pPr>
      <a:lvl6pPr marL="2284574" algn="l" defTabSz="913830" rtl="0" eaLnBrk="1" latinLnBrk="0" hangingPunct="1">
        <a:defRPr sz="1764" kern="1200">
          <a:solidFill>
            <a:schemeClr val="tx1"/>
          </a:solidFill>
          <a:latin typeface="+mn-lt"/>
          <a:ea typeface="+mn-ea"/>
          <a:cs typeface="+mn-cs"/>
        </a:defRPr>
      </a:lvl6pPr>
      <a:lvl7pPr marL="2741488" algn="l" defTabSz="913830" rtl="0" eaLnBrk="1" latinLnBrk="0" hangingPunct="1">
        <a:defRPr sz="1764" kern="1200">
          <a:solidFill>
            <a:schemeClr val="tx1"/>
          </a:solidFill>
          <a:latin typeface="+mn-lt"/>
          <a:ea typeface="+mn-ea"/>
          <a:cs typeface="+mn-cs"/>
        </a:defRPr>
      </a:lvl7pPr>
      <a:lvl8pPr marL="3198402" algn="l" defTabSz="913830" rtl="0" eaLnBrk="1" latinLnBrk="0" hangingPunct="1">
        <a:defRPr sz="1764" kern="1200">
          <a:solidFill>
            <a:schemeClr val="tx1"/>
          </a:solidFill>
          <a:latin typeface="+mn-lt"/>
          <a:ea typeface="+mn-ea"/>
          <a:cs typeface="+mn-cs"/>
        </a:defRPr>
      </a:lvl8pPr>
      <a:lvl9pPr marL="3655319" algn="l" defTabSz="91383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72146584"/>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 id="2147484199" r:id="rId23"/>
    <p:sldLayoutId id="2147484200" r:id="rId24"/>
    <p:sldLayoutId id="2147484201" r:id="rId25"/>
    <p:sldLayoutId id="2147484202" r:id="rId26"/>
    <p:sldLayoutId id="2147484203" r:id="rId27"/>
    <p:sldLayoutId id="2147484204" r:id="rId28"/>
    <p:sldLayoutId id="2147484205" r:id="rId29"/>
    <p:sldLayoutId id="2147484206" r:id="rId30"/>
    <p:sldLayoutId id="2147484207" r:id="rId31"/>
    <p:sldLayoutId id="2147484208"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4"/>
            <a:ext cx="11655840" cy="899665"/>
          </a:xfrm>
          <a:prstGeom prst="rect">
            <a:avLst/>
          </a:prstGeom>
        </p:spPr>
        <p:txBody>
          <a:bodyPr vert="horz" wrap="square" lIns="146260" tIns="91413" rIns="146260" bIns="91413"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81"/>
            <a:ext cx="11653521" cy="2079990"/>
          </a:xfrm>
          <a:prstGeom prst="rect">
            <a:avLst/>
          </a:prstGeom>
        </p:spPr>
        <p:txBody>
          <a:bodyPr vert="horz" wrap="square" lIns="146260" tIns="91413" rIns="146260" bIns="91413"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82596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Lst>
  <p:transition>
    <p:fade/>
  </p:transition>
  <p:timing>
    <p:tnLst>
      <p:par>
        <p:cTn id="1" dur="indefinite" restart="never" nodeType="tmRoot"/>
      </p:par>
    </p:tnLst>
  </p:timing>
  <p:txStyles>
    <p:titleStyle>
      <a:lvl1pPr algn="l" defTabSz="914098"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098"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524" marR="0" indent="-236477" algn="l" defTabSz="91409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13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67"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770"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0"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69"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19"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F26B43"/>
          </p15:clr>
        </p15:guide>
        <p15:guide id="2" pos="7661">
          <p15:clr>
            <a:srgbClr val="F26B43"/>
          </p15:clr>
        </p15:guide>
        <p15:guide id="3" orient="horz" pos="187">
          <p15:clr>
            <a:srgbClr val="F26B43"/>
          </p15:clr>
        </p15:guide>
        <p15:guide id="4" orient="horz" pos="4219">
          <p15:clr>
            <a:srgbClr val="F26B43"/>
          </p15:clr>
        </p15:guide>
        <p15:guide id="5" orient="horz" pos="3643">
          <p15:clr>
            <a:srgbClr val="5ACBF0"/>
          </p15:clr>
        </p15:guide>
        <p15:guide id="6" orient="horz" pos="3067">
          <p15:clr>
            <a:srgbClr val="5ACBF0"/>
          </p15:clr>
        </p15:guide>
        <p15:guide id="7" orient="horz" pos="2491">
          <p15:clr>
            <a:srgbClr val="5ACBF0"/>
          </p15:clr>
        </p15:guide>
        <p15:guide id="8" orient="horz" pos="1915">
          <p15:clr>
            <a:srgbClr val="5ACBF0"/>
          </p15:clr>
        </p15:guide>
        <p15:guide id="9" orient="horz" pos="1339">
          <p15:clr>
            <a:srgbClr val="5ACBF0"/>
          </p15:clr>
        </p15:guide>
        <p15:guide id="10" orient="horz" pos="763">
          <p15:clr>
            <a:srgbClr val="5ACBF0"/>
          </p15:clr>
        </p15:guide>
        <p15:guide id="11" pos="749">
          <p15:clr>
            <a:srgbClr val="5ACBF0"/>
          </p15:clr>
        </p15:guide>
        <p15:guide id="12" pos="1325">
          <p15:clr>
            <a:srgbClr val="5ACBF0"/>
          </p15:clr>
        </p15:guide>
        <p15:guide id="13" pos="1901">
          <p15:clr>
            <a:srgbClr val="5ACBF0"/>
          </p15:clr>
        </p15:guide>
        <p15:guide id="14" pos="2477">
          <p15:clr>
            <a:srgbClr val="5ACBF0"/>
          </p15:clr>
        </p15:guide>
        <p15:guide id="15" pos="3053">
          <p15:clr>
            <a:srgbClr val="5ACBF0"/>
          </p15:clr>
        </p15:guide>
        <p15:guide id="16" pos="3629">
          <p15:clr>
            <a:srgbClr val="5ACBF0"/>
          </p15:clr>
        </p15:guide>
        <p15:guide id="17" pos="4205">
          <p15:clr>
            <a:srgbClr val="5ACBF0"/>
          </p15:clr>
        </p15:guide>
        <p15:guide id="18" pos="4781">
          <p15:clr>
            <a:srgbClr val="5ACBF0"/>
          </p15:clr>
        </p15:guide>
        <p15:guide id="19" pos="5357">
          <p15:clr>
            <a:srgbClr val="5ACBF0"/>
          </p15:clr>
        </p15:guide>
        <p15:guide id="20" pos="5933">
          <p15:clr>
            <a:srgbClr val="5ACBF0"/>
          </p15:clr>
        </p15:guide>
        <p15:guide id="21" pos="6509">
          <p15:clr>
            <a:srgbClr val="5ACBF0"/>
          </p15:clr>
        </p15:guide>
        <p15:guide id="22" pos="708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2263783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8" name="Picture 7"/>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24308" y="5951040"/>
            <a:ext cx="2465614" cy="906960"/>
          </a:xfrm>
          <a:prstGeom prst="rect">
            <a:avLst/>
          </a:prstGeom>
        </p:spPr>
      </p:pic>
      <p:pic>
        <p:nvPicPr>
          <p:cNvPr id="9" name="Picture 8"/>
          <p:cNvPicPr>
            <a:picLocks noChangeAspect="1"/>
          </p:cNvPicPr>
          <p:nvPr userDrawn="1"/>
        </p:nvPicPr>
        <p:blipFill>
          <a:blip r:embed="rId36"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10580914" y="6152463"/>
            <a:ext cx="1611086" cy="705537"/>
          </a:xfrm>
          <a:prstGeom prst="rect">
            <a:avLst/>
          </a:prstGeom>
        </p:spPr>
      </p:pic>
    </p:spTree>
    <p:extLst>
      <p:ext uri="{BB962C8B-B14F-4D97-AF65-F5344CB8AC3E}">
        <p14:creationId xmlns:p14="http://schemas.microsoft.com/office/powerpoint/2010/main" val="3324533034"/>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4279417192"/>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22718499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45045052"/>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706098886"/>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Lst>
  <p:transition>
    <p:fade/>
  </p:transition>
  <p:timing>
    <p:tnLst>
      <p:par>
        <p:cTn id="1" dur="indefinite" restart="never" nodeType="tmRoot"/>
      </p:par>
    </p:tnLst>
  </p:timing>
  <p:txStyles>
    <p:title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51059643"/>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9053114"/>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Lst>
  <p:transition>
    <p:fade/>
  </p:transition>
  <p:timing>
    <p:tnLst>
      <p:par>
        <p:cTn id="1" dur="indefinite" restart="never" nodeType="tmRoot"/>
      </p:par>
    </p:tnLst>
  </p:timing>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2"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404102051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Lst>
  <p:transition>
    <p:fade/>
  </p:transition>
  <p:timing>
    <p:tnLst>
      <p:par>
        <p:cTn id="1" dur="indefinite" restart="never" nodeType="tmRoot"/>
      </p:par>
    </p:tnLst>
  </p:timing>
  <p:hf hdr="0" ftr="0" dt="0"/>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7.xml"/><Relationship Id="rId1" Type="http://schemas.openxmlformats.org/officeDocument/2006/relationships/slideLayout" Target="../slideLayouts/slideLayout181.xml"/><Relationship Id="rId4" Type="http://schemas.openxmlformats.org/officeDocument/2006/relationships/image" Target="../media/image148.png"/></Relationships>
</file>

<file path=ppt/slides/_rels/slide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xml"/><Relationship Id="rId1" Type="http://schemas.openxmlformats.org/officeDocument/2006/relationships/slideLayout" Target="../slideLayouts/slideLayout1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13.xml.rels><?xml version="1.0" encoding="UTF-8" standalone="yes"?>
<Relationships xmlns="http://schemas.openxmlformats.org/package/2006/relationships"><Relationship Id="rId8" Type="http://schemas.openxmlformats.org/officeDocument/2006/relationships/image" Target="../media/image156.emf"/><Relationship Id="rId13" Type="http://schemas.openxmlformats.org/officeDocument/2006/relationships/image" Target="../media/image161.png"/><Relationship Id="rId3" Type="http://schemas.openxmlformats.org/officeDocument/2006/relationships/image" Target="../media/image151.emf"/><Relationship Id="rId7" Type="http://schemas.openxmlformats.org/officeDocument/2006/relationships/image" Target="../media/image155.emf"/><Relationship Id="rId12" Type="http://schemas.openxmlformats.org/officeDocument/2006/relationships/image" Target="../media/image160.emf"/><Relationship Id="rId2" Type="http://schemas.openxmlformats.org/officeDocument/2006/relationships/image" Target="../media/image150.emf"/><Relationship Id="rId16" Type="http://schemas.openxmlformats.org/officeDocument/2006/relationships/image" Target="../media/image164.emf"/><Relationship Id="rId1" Type="http://schemas.openxmlformats.org/officeDocument/2006/relationships/slideLayout" Target="../slideLayouts/slideLayout215.xml"/><Relationship Id="rId6" Type="http://schemas.openxmlformats.org/officeDocument/2006/relationships/image" Target="../media/image154.emf"/><Relationship Id="rId11" Type="http://schemas.openxmlformats.org/officeDocument/2006/relationships/image" Target="../media/image159.emf"/><Relationship Id="rId5" Type="http://schemas.openxmlformats.org/officeDocument/2006/relationships/image" Target="../media/image153.emf"/><Relationship Id="rId15" Type="http://schemas.openxmlformats.org/officeDocument/2006/relationships/image" Target="../media/image163.emf"/><Relationship Id="rId10" Type="http://schemas.openxmlformats.org/officeDocument/2006/relationships/image" Target="../media/image158.emf"/><Relationship Id="rId4" Type="http://schemas.openxmlformats.org/officeDocument/2006/relationships/image" Target="../media/image152.emf"/><Relationship Id="rId9" Type="http://schemas.openxmlformats.org/officeDocument/2006/relationships/image" Target="../media/image157.emf"/><Relationship Id="rId14" Type="http://schemas.openxmlformats.org/officeDocument/2006/relationships/image" Target="../media/image162.emf"/></Relationships>
</file>

<file path=ppt/slides/_rels/slide14.xml.rels><?xml version="1.0" encoding="UTF-8" standalone="yes"?>
<Relationships xmlns="http://schemas.openxmlformats.org/package/2006/relationships"><Relationship Id="rId8" Type="http://schemas.openxmlformats.org/officeDocument/2006/relationships/image" Target="../media/image158.emf"/><Relationship Id="rId13" Type="http://schemas.openxmlformats.org/officeDocument/2006/relationships/image" Target="../media/image163.emf"/><Relationship Id="rId3" Type="http://schemas.openxmlformats.org/officeDocument/2006/relationships/image" Target="../media/image151.emf"/><Relationship Id="rId7" Type="http://schemas.openxmlformats.org/officeDocument/2006/relationships/image" Target="../media/image157.emf"/><Relationship Id="rId12" Type="http://schemas.openxmlformats.org/officeDocument/2006/relationships/image" Target="../media/image162.emf"/><Relationship Id="rId2" Type="http://schemas.openxmlformats.org/officeDocument/2006/relationships/image" Target="../media/image150.emf"/><Relationship Id="rId16" Type="http://schemas.openxmlformats.org/officeDocument/2006/relationships/image" Target="../media/image164.emf"/><Relationship Id="rId1" Type="http://schemas.openxmlformats.org/officeDocument/2006/relationships/slideLayout" Target="../slideLayouts/slideLayout215.xml"/><Relationship Id="rId6" Type="http://schemas.openxmlformats.org/officeDocument/2006/relationships/image" Target="../media/image154.emf"/><Relationship Id="rId11" Type="http://schemas.openxmlformats.org/officeDocument/2006/relationships/image" Target="../media/image161.png"/><Relationship Id="rId5" Type="http://schemas.openxmlformats.org/officeDocument/2006/relationships/image" Target="../media/image153.emf"/><Relationship Id="rId15" Type="http://schemas.openxmlformats.org/officeDocument/2006/relationships/image" Target="../media/image156.emf"/><Relationship Id="rId10" Type="http://schemas.openxmlformats.org/officeDocument/2006/relationships/image" Target="../media/image160.emf"/><Relationship Id="rId4" Type="http://schemas.openxmlformats.org/officeDocument/2006/relationships/image" Target="../media/image152.emf"/><Relationship Id="rId9" Type="http://schemas.openxmlformats.org/officeDocument/2006/relationships/image" Target="../media/image159.emf"/><Relationship Id="rId14" Type="http://schemas.openxmlformats.org/officeDocument/2006/relationships/image" Target="../media/image155.emf"/></Relationships>
</file>

<file path=ppt/slides/_rels/slide15.xml.rels><?xml version="1.0" encoding="UTF-8" standalone="yes"?>
<Relationships xmlns="http://schemas.openxmlformats.org/package/2006/relationships"><Relationship Id="rId8" Type="http://schemas.openxmlformats.org/officeDocument/2006/relationships/image" Target="../media/image153.emf"/><Relationship Id="rId13" Type="http://schemas.openxmlformats.org/officeDocument/2006/relationships/image" Target="../media/image159.emf"/><Relationship Id="rId3" Type="http://schemas.openxmlformats.org/officeDocument/2006/relationships/image" Target="../media/image155.emf"/><Relationship Id="rId7" Type="http://schemas.openxmlformats.org/officeDocument/2006/relationships/image" Target="../media/image152.emf"/><Relationship Id="rId12" Type="http://schemas.openxmlformats.org/officeDocument/2006/relationships/image" Target="../media/image158.emf"/><Relationship Id="rId2" Type="http://schemas.openxmlformats.org/officeDocument/2006/relationships/image" Target="../media/image154.emf"/><Relationship Id="rId16" Type="http://schemas.openxmlformats.org/officeDocument/2006/relationships/image" Target="../media/image164.emf"/><Relationship Id="rId1" Type="http://schemas.openxmlformats.org/officeDocument/2006/relationships/slideLayout" Target="../slideLayouts/slideLayout215.xml"/><Relationship Id="rId6" Type="http://schemas.openxmlformats.org/officeDocument/2006/relationships/image" Target="../media/image151.emf"/><Relationship Id="rId11" Type="http://schemas.openxmlformats.org/officeDocument/2006/relationships/image" Target="../media/image161.png"/><Relationship Id="rId5" Type="http://schemas.openxmlformats.org/officeDocument/2006/relationships/image" Target="../media/image150.emf"/><Relationship Id="rId15" Type="http://schemas.openxmlformats.org/officeDocument/2006/relationships/image" Target="../media/image163.emf"/><Relationship Id="rId10" Type="http://schemas.openxmlformats.org/officeDocument/2006/relationships/image" Target="../media/image160.emf"/><Relationship Id="rId4" Type="http://schemas.openxmlformats.org/officeDocument/2006/relationships/image" Target="../media/image156.emf"/><Relationship Id="rId9" Type="http://schemas.openxmlformats.org/officeDocument/2006/relationships/image" Target="../media/image157.emf"/><Relationship Id="rId14" Type="http://schemas.openxmlformats.org/officeDocument/2006/relationships/image" Target="../media/image162.emf"/></Relationships>
</file>

<file path=ppt/slides/_rels/slide16.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2" Type="http://schemas.openxmlformats.org/officeDocument/2006/relationships/image" Target="../media/image90.emf"/><Relationship Id="rId1" Type="http://schemas.openxmlformats.org/officeDocument/2006/relationships/slideLayout" Target="../slideLayouts/slideLayout195.xml"/><Relationship Id="rId6" Type="http://schemas.openxmlformats.org/officeDocument/2006/relationships/image" Target="../media/image86.emf"/><Relationship Id="rId5" Type="http://schemas.openxmlformats.org/officeDocument/2006/relationships/image" Target="../media/image85.emf"/><Relationship Id="rId10" Type="http://schemas.openxmlformats.org/officeDocument/2006/relationships/image" Target="../media/image89.emf"/><Relationship Id="rId4" Type="http://schemas.openxmlformats.org/officeDocument/2006/relationships/image" Target="../media/image84.emf"/><Relationship Id="rId9" Type="http://schemas.openxmlformats.org/officeDocument/2006/relationships/image" Target="../media/image165.emf"/></Relationships>
</file>

<file path=ppt/slides/_rels/slide17.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9.xml"/><Relationship Id="rId1" Type="http://schemas.openxmlformats.org/officeDocument/2006/relationships/slideLayout" Target="../slideLayouts/slideLayout296.xml"/></Relationships>
</file>

<file path=ppt/slides/_rels/slide18.xml.rels><?xml version="1.0" encoding="UTF-8" standalone="yes"?>
<Relationships xmlns="http://schemas.openxmlformats.org/package/2006/relationships"><Relationship Id="rId3" Type="http://schemas.openxmlformats.org/officeDocument/2006/relationships/image" Target="../media/image167.emf"/><Relationship Id="rId2" Type="http://schemas.openxmlformats.org/officeDocument/2006/relationships/notesSlide" Target="../notesSlides/notesSlide10.xml"/><Relationship Id="rId1" Type="http://schemas.openxmlformats.org/officeDocument/2006/relationships/slideLayout" Target="../slideLayouts/slideLayout553.xml"/><Relationship Id="rId5" Type="http://schemas.openxmlformats.org/officeDocument/2006/relationships/image" Target="../media/image169.png"/><Relationship Id="rId4" Type="http://schemas.openxmlformats.org/officeDocument/2006/relationships/image" Target="../media/image168.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2.xml"/></Relationships>
</file>

<file path=ppt/slides/_rels/slide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xml"/><Relationship Id="rId1" Type="http://schemas.openxmlformats.org/officeDocument/2006/relationships/slideLayout" Target="../slideLayouts/slideLayout563.xml"/><Relationship Id="rId6" Type="http://schemas.openxmlformats.org/officeDocument/2006/relationships/image" Target="../media/image173.png"/><Relationship Id="rId5" Type="http://schemas.openxmlformats.org/officeDocument/2006/relationships/image" Target="../media/image172.emf"/><Relationship Id="rId4" Type="http://schemas.openxmlformats.org/officeDocument/2006/relationships/image" Target="../media/image171.emf"/></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544.xml"/><Relationship Id="rId4" Type="http://schemas.openxmlformats.org/officeDocument/2006/relationships/image" Target="../media/image174.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44.xml"/><Relationship Id="rId4" Type="http://schemas.openxmlformats.org/officeDocument/2006/relationships/image" Target="../media/image175.png"/></Relationships>
</file>

<file path=ppt/slides/_rels/slide2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5.xml"/><Relationship Id="rId1" Type="http://schemas.openxmlformats.org/officeDocument/2006/relationships/slideLayout" Target="../slideLayouts/slideLayout544.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8" Type="http://schemas.openxmlformats.org/officeDocument/2006/relationships/image" Target="../media/image182.emf"/><Relationship Id="rId3" Type="http://schemas.openxmlformats.org/officeDocument/2006/relationships/image" Target="../media/image177.png"/><Relationship Id="rId7" Type="http://schemas.openxmlformats.org/officeDocument/2006/relationships/image" Target="../media/image181.png"/><Relationship Id="rId12" Type="http://schemas.openxmlformats.org/officeDocument/2006/relationships/image" Target="../media/image186.png"/><Relationship Id="rId2" Type="http://schemas.openxmlformats.org/officeDocument/2006/relationships/notesSlide" Target="../notesSlides/notesSlide16.xml"/><Relationship Id="rId1" Type="http://schemas.openxmlformats.org/officeDocument/2006/relationships/slideLayout" Target="../slideLayouts/slideLayout283.xml"/><Relationship Id="rId6" Type="http://schemas.openxmlformats.org/officeDocument/2006/relationships/image" Target="../media/image180.png"/><Relationship Id="rId11" Type="http://schemas.openxmlformats.org/officeDocument/2006/relationships/image" Target="../media/image185.png"/><Relationship Id="rId5" Type="http://schemas.openxmlformats.org/officeDocument/2006/relationships/image" Target="../media/image179.png"/><Relationship Id="rId10" Type="http://schemas.openxmlformats.org/officeDocument/2006/relationships/image" Target="../media/image184.emf"/><Relationship Id="rId4" Type="http://schemas.openxmlformats.org/officeDocument/2006/relationships/image" Target="../media/image178.png"/><Relationship Id="rId9" Type="http://schemas.openxmlformats.org/officeDocument/2006/relationships/image" Target="../media/image183.png"/></Relationships>
</file>

<file path=ppt/slides/_rels/slide25.xml.rels><?xml version="1.0" encoding="UTF-8" standalone="yes"?>
<Relationships xmlns="http://schemas.openxmlformats.org/package/2006/relationships"><Relationship Id="rId8" Type="http://schemas.openxmlformats.org/officeDocument/2006/relationships/image" Target="../media/image190.jpeg"/><Relationship Id="rId13" Type="http://schemas.openxmlformats.org/officeDocument/2006/relationships/image" Target="../media/image195.png"/><Relationship Id="rId18" Type="http://schemas.openxmlformats.org/officeDocument/2006/relationships/image" Target="../media/image200.png"/><Relationship Id="rId3" Type="http://schemas.openxmlformats.org/officeDocument/2006/relationships/image" Target="../media/image179.png"/><Relationship Id="rId7" Type="http://schemas.openxmlformats.org/officeDocument/2006/relationships/image" Target="../media/image189.png"/><Relationship Id="rId12" Type="http://schemas.openxmlformats.org/officeDocument/2006/relationships/image" Target="../media/image194.png"/><Relationship Id="rId17" Type="http://schemas.openxmlformats.org/officeDocument/2006/relationships/image" Target="../media/image199.png"/><Relationship Id="rId2" Type="http://schemas.openxmlformats.org/officeDocument/2006/relationships/notesSlide" Target="../notesSlides/notesSlide17.xml"/><Relationship Id="rId16" Type="http://schemas.openxmlformats.org/officeDocument/2006/relationships/image" Target="../media/image198.png"/><Relationship Id="rId1" Type="http://schemas.openxmlformats.org/officeDocument/2006/relationships/slideLayout" Target="../slideLayouts/slideLayout283.xml"/><Relationship Id="rId6" Type="http://schemas.openxmlformats.org/officeDocument/2006/relationships/image" Target="../media/image188.png"/><Relationship Id="rId11" Type="http://schemas.openxmlformats.org/officeDocument/2006/relationships/image" Target="../media/image193.png"/><Relationship Id="rId5" Type="http://schemas.openxmlformats.org/officeDocument/2006/relationships/image" Target="../media/image184.emf"/><Relationship Id="rId15" Type="http://schemas.openxmlformats.org/officeDocument/2006/relationships/image" Target="../media/image197.png"/><Relationship Id="rId10" Type="http://schemas.openxmlformats.org/officeDocument/2006/relationships/image" Target="../media/image192.jpeg"/><Relationship Id="rId19" Type="http://schemas.openxmlformats.org/officeDocument/2006/relationships/image" Target="../media/image185.png"/><Relationship Id="rId4" Type="http://schemas.openxmlformats.org/officeDocument/2006/relationships/image" Target="../media/image187.png"/><Relationship Id="rId9" Type="http://schemas.openxmlformats.org/officeDocument/2006/relationships/image" Target="../media/image191.png"/><Relationship Id="rId14" Type="http://schemas.openxmlformats.org/officeDocument/2006/relationships/image" Target="../media/image196.png"/></Relationships>
</file>

<file path=ppt/slides/_rels/slide2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8.xml"/><Relationship Id="rId1" Type="http://schemas.openxmlformats.org/officeDocument/2006/relationships/slideLayout" Target="../slideLayouts/slideLayout265.xml"/><Relationship Id="rId5" Type="http://schemas.openxmlformats.org/officeDocument/2006/relationships/image" Target="../media/image137.png"/><Relationship Id="rId4" Type="http://schemas.openxmlformats.org/officeDocument/2006/relationships/image" Target="../media/image138.png"/></Relationships>
</file>

<file path=ppt/slides/_rels/slide27.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9.png"/><Relationship Id="rId7" Type="http://schemas.microsoft.com/office/2007/relationships/hdphoto" Target="../media/hdphoto2.wdp"/><Relationship Id="rId2" Type="http://schemas.openxmlformats.org/officeDocument/2006/relationships/notesSlide" Target="../notesSlides/notesSlide19.xml"/><Relationship Id="rId1" Type="http://schemas.openxmlformats.org/officeDocument/2006/relationships/slideLayout" Target="../slideLayouts/slideLayout270.xml"/><Relationship Id="rId6" Type="http://schemas.openxmlformats.org/officeDocument/2006/relationships/image" Target="../media/image142.png"/><Relationship Id="rId11" Type="http://schemas.openxmlformats.org/officeDocument/2006/relationships/image" Target="../media/image146.png"/><Relationship Id="rId5" Type="http://schemas.openxmlformats.org/officeDocument/2006/relationships/image" Target="../media/image141.png"/><Relationship Id="rId10" Type="http://schemas.openxmlformats.org/officeDocument/2006/relationships/image" Target="../media/image145.png"/><Relationship Id="rId4" Type="http://schemas.openxmlformats.org/officeDocument/2006/relationships/image" Target="../media/image140.emf"/><Relationship Id="rId9" Type="http://schemas.openxmlformats.org/officeDocument/2006/relationships/image" Target="../media/image144.png"/></Relationships>
</file>

<file path=ppt/slides/_rels/slide28.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205.png"/><Relationship Id="rId2" Type="http://schemas.openxmlformats.org/officeDocument/2006/relationships/notesSlide" Target="../notesSlides/notesSlide20.xml"/><Relationship Id="rId1" Type="http://schemas.openxmlformats.org/officeDocument/2006/relationships/slideLayout" Target="../slideLayouts/slideLayout275.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202.png"/></Relationships>
</file>

<file path=ppt/slides/_rels/slide29.xml.rels><?xml version="1.0" encoding="UTF-8" standalone="yes"?>
<Relationships xmlns="http://schemas.openxmlformats.org/package/2006/relationships"><Relationship Id="rId8" Type="http://schemas.openxmlformats.org/officeDocument/2006/relationships/image" Target="../media/image211.emf"/><Relationship Id="rId3" Type="http://schemas.openxmlformats.org/officeDocument/2006/relationships/image" Target="../media/image206.emf"/><Relationship Id="rId7" Type="http://schemas.openxmlformats.org/officeDocument/2006/relationships/image" Target="../media/image210.emf"/><Relationship Id="rId2" Type="http://schemas.openxmlformats.org/officeDocument/2006/relationships/notesSlide" Target="../notesSlides/notesSlide21.xml"/><Relationship Id="rId1" Type="http://schemas.openxmlformats.org/officeDocument/2006/relationships/slideLayout" Target="../slideLayouts/slideLayout276.xml"/><Relationship Id="rId6" Type="http://schemas.openxmlformats.org/officeDocument/2006/relationships/image" Target="../media/image209.emf"/><Relationship Id="rId5" Type="http://schemas.openxmlformats.org/officeDocument/2006/relationships/image" Target="../media/image208.emf"/><Relationship Id="rId4" Type="http://schemas.openxmlformats.org/officeDocument/2006/relationships/image" Target="../media/image20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2.xml"/><Relationship Id="rId1" Type="http://schemas.openxmlformats.org/officeDocument/2006/relationships/slideLayout" Target="../slideLayouts/slideLayout170.xml"/><Relationship Id="rId5" Type="http://schemas.openxmlformats.org/officeDocument/2006/relationships/image" Target="../media/image137.png"/><Relationship Id="rId4" Type="http://schemas.openxmlformats.org/officeDocument/2006/relationships/image" Target="../media/image138.png"/></Relationships>
</file>

<file path=ppt/slides/_rels/slide31.xml.rels><?xml version="1.0" encoding="UTF-8" standalone="yes"?>
<Relationships xmlns="http://schemas.openxmlformats.org/package/2006/relationships"><Relationship Id="rId8" Type="http://schemas.openxmlformats.org/officeDocument/2006/relationships/image" Target="../media/image217.png"/><Relationship Id="rId13" Type="http://schemas.openxmlformats.org/officeDocument/2006/relationships/image" Target="../media/image222.png"/><Relationship Id="rId3" Type="http://schemas.openxmlformats.org/officeDocument/2006/relationships/image" Target="../media/image212.jpg"/><Relationship Id="rId7" Type="http://schemas.openxmlformats.org/officeDocument/2006/relationships/image" Target="../media/image216.png"/><Relationship Id="rId12" Type="http://schemas.openxmlformats.org/officeDocument/2006/relationships/image" Target="../media/image221.png"/><Relationship Id="rId2" Type="http://schemas.openxmlformats.org/officeDocument/2006/relationships/notesSlide" Target="../notesSlides/notesSlide23.xml"/><Relationship Id="rId1" Type="http://schemas.openxmlformats.org/officeDocument/2006/relationships/slideLayout" Target="../slideLayouts/slideLayout368.xml"/><Relationship Id="rId6" Type="http://schemas.openxmlformats.org/officeDocument/2006/relationships/image" Target="../media/image215.png"/><Relationship Id="rId11" Type="http://schemas.openxmlformats.org/officeDocument/2006/relationships/image" Target="../media/image220.png"/><Relationship Id="rId5" Type="http://schemas.openxmlformats.org/officeDocument/2006/relationships/image" Target="../media/image214.png"/><Relationship Id="rId15" Type="http://schemas.openxmlformats.org/officeDocument/2006/relationships/image" Target="../media/image224.png"/><Relationship Id="rId10" Type="http://schemas.openxmlformats.org/officeDocument/2006/relationships/image" Target="../media/image219.png"/><Relationship Id="rId4" Type="http://schemas.openxmlformats.org/officeDocument/2006/relationships/image" Target="../media/image213.png"/><Relationship Id="rId9" Type="http://schemas.openxmlformats.org/officeDocument/2006/relationships/image" Target="../media/image218.png"/><Relationship Id="rId14" Type="http://schemas.openxmlformats.org/officeDocument/2006/relationships/image" Target="../media/image22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8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7.xml"/></Relationships>
</file>

<file path=ppt/slides/_rels/slide35.xml.rels><?xml version="1.0" encoding="UTF-8" standalone="yes"?>
<Relationships xmlns="http://schemas.openxmlformats.org/package/2006/relationships"><Relationship Id="rId8" Type="http://schemas.openxmlformats.org/officeDocument/2006/relationships/image" Target="../media/image230.png"/><Relationship Id="rId13" Type="http://schemas.openxmlformats.org/officeDocument/2006/relationships/image" Target="../media/image235.png"/><Relationship Id="rId3" Type="http://schemas.openxmlformats.org/officeDocument/2006/relationships/image" Target="../media/image225.png"/><Relationship Id="rId7" Type="http://schemas.openxmlformats.org/officeDocument/2006/relationships/image" Target="../media/image229.png"/><Relationship Id="rId12" Type="http://schemas.openxmlformats.org/officeDocument/2006/relationships/image" Target="../media/image234.jpeg"/><Relationship Id="rId2" Type="http://schemas.openxmlformats.org/officeDocument/2006/relationships/notesSlide" Target="../notesSlides/notesSlide26.xml"/><Relationship Id="rId1" Type="http://schemas.openxmlformats.org/officeDocument/2006/relationships/slideLayout" Target="../slideLayouts/slideLayout369.xml"/><Relationship Id="rId6" Type="http://schemas.openxmlformats.org/officeDocument/2006/relationships/image" Target="../media/image228.png"/><Relationship Id="rId11" Type="http://schemas.openxmlformats.org/officeDocument/2006/relationships/image" Target="../media/image233.png"/><Relationship Id="rId5" Type="http://schemas.openxmlformats.org/officeDocument/2006/relationships/image" Target="../media/image227.png"/><Relationship Id="rId15" Type="http://schemas.openxmlformats.org/officeDocument/2006/relationships/image" Target="../media/image237.png"/><Relationship Id="rId10" Type="http://schemas.openxmlformats.org/officeDocument/2006/relationships/image" Target="../media/image232.png"/><Relationship Id="rId4" Type="http://schemas.openxmlformats.org/officeDocument/2006/relationships/image" Target="../media/image226.png"/><Relationship Id="rId9" Type="http://schemas.openxmlformats.org/officeDocument/2006/relationships/image" Target="../media/image231.png"/><Relationship Id="rId14" Type="http://schemas.openxmlformats.org/officeDocument/2006/relationships/image" Target="../media/image236.png"/></Relationships>
</file>

<file path=ppt/slides/_rels/slide36.xml.rels><?xml version="1.0" encoding="UTF-8" standalone="yes"?>
<Relationships xmlns="http://schemas.openxmlformats.org/package/2006/relationships"><Relationship Id="rId8" Type="http://schemas.openxmlformats.org/officeDocument/2006/relationships/image" Target="../media/image243.png"/><Relationship Id="rId13" Type="http://schemas.openxmlformats.org/officeDocument/2006/relationships/image" Target="../media/image248.png"/><Relationship Id="rId18" Type="http://schemas.openxmlformats.org/officeDocument/2006/relationships/image" Target="../media/image253.png"/><Relationship Id="rId26" Type="http://schemas.openxmlformats.org/officeDocument/2006/relationships/image" Target="../media/image232.png"/><Relationship Id="rId3" Type="http://schemas.openxmlformats.org/officeDocument/2006/relationships/image" Target="../media/image238.png"/><Relationship Id="rId21" Type="http://schemas.openxmlformats.org/officeDocument/2006/relationships/image" Target="../media/image256.png"/><Relationship Id="rId34" Type="http://schemas.openxmlformats.org/officeDocument/2006/relationships/image" Target="../media/image227.png"/><Relationship Id="rId7" Type="http://schemas.openxmlformats.org/officeDocument/2006/relationships/image" Target="../media/image242.png"/><Relationship Id="rId12" Type="http://schemas.openxmlformats.org/officeDocument/2006/relationships/image" Target="../media/image247.png"/><Relationship Id="rId17" Type="http://schemas.openxmlformats.org/officeDocument/2006/relationships/image" Target="../media/image252.png"/><Relationship Id="rId25" Type="http://schemas.openxmlformats.org/officeDocument/2006/relationships/image" Target="../media/image260.png"/><Relationship Id="rId33" Type="http://schemas.openxmlformats.org/officeDocument/2006/relationships/image" Target="../media/image226.png"/><Relationship Id="rId38" Type="http://schemas.openxmlformats.org/officeDocument/2006/relationships/image" Target="../media/image231.png"/><Relationship Id="rId2" Type="http://schemas.openxmlformats.org/officeDocument/2006/relationships/notesSlide" Target="../notesSlides/notesSlide27.xml"/><Relationship Id="rId16" Type="http://schemas.openxmlformats.org/officeDocument/2006/relationships/image" Target="../media/image251.png"/><Relationship Id="rId20" Type="http://schemas.openxmlformats.org/officeDocument/2006/relationships/image" Target="../media/image255.png"/><Relationship Id="rId29" Type="http://schemas.openxmlformats.org/officeDocument/2006/relationships/image" Target="../media/image235.png"/><Relationship Id="rId1" Type="http://schemas.openxmlformats.org/officeDocument/2006/relationships/slideLayout" Target="../slideLayouts/slideLayout369.xml"/><Relationship Id="rId6" Type="http://schemas.openxmlformats.org/officeDocument/2006/relationships/image" Target="../media/image241.png"/><Relationship Id="rId11" Type="http://schemas.openxmlformats.org/officeDocument/2006/relationships/image" Target="../media/image246.png"/><Relationship Id="rId24" Type="http://schemas.openxmlformats.org/officeDocument/2006/relationships/image" Target="../media/image259.png"/><Relationship Id="rId32" Type="http://schemas.openxmlformats.org/officeDocument/2006/relationships/image" Target="../media/image225.png"/><Relationship Id="rId37" Type="http://schemas.openxmlformats.org/officeDocument/2006/relationships/image" Target="../media/image230.png"/><Relationship Id="rId5" Type="http://schemas.openxmlformats.org/officeDocument/2006/relationships/image" Target="../media/image240.png"/><Relationship Id="rId15" Type="http://schemas.openxmlformats.org/officeDocument/2006/relationships/image" Target="../media/image250.png"/><Relationship Id="rId23" Type="http://schemas.openxmlformats.org/officeDocument/2006/relationships/image" Target="../media/image258.png"/><Relationship Id="rId28" Type="http://schemas.openxmlformats.org/officeDocument/2006/relationships/image" Target="../media/image234.jpeg"/><Relationship Id="rId36" Type="http://schemas.openxmlformats.org/officeDocument/2006/relationships/image" Target="../media/image229.png"/><Relationship Id="rId10" Type="http://schemas.openxmlformats.org/officeDocument/2006/relationships/image" Target="../media/image245.png"/><Relationship Id="rId19" Type="http://schemas.openxmlformats.org/officeDocument/2006/relationships/image" Target="../media/image254.png"/><Relationship Id="rId31" Type="http://schemas.openxmlformats.org/officeDocument/2006/relationships/image" Target="../media/image236.png"/><Relationship Id="rId4" Type="http://schemas.openxmlformats.org/officeDocument/2006/relationships/image" Target="../media/image239.png"/><Relationship Id="rId9" Type="http://schemas.openxmlformats.org/officeDocument/2006/relationships/image" Target="../media/image244.png"/><Relationship Id="rId14" Type="http://schemas.openxmlformats.org/officeDocument/2006/relationships/image" Target="../media/image249.png"/><Relationship Id="rId22" Type="http://schemas.openxmlformats.org/officeDocument/2006/relationships/image" Target="../media/image257.png"/><Relationship Id="rId27" Type="http://schemas.openxmlformats.org/officeDocument/2006/relationships/image" Target="../media/image233.png"/><Relationship Id="rId30" Type="http://schemas.openxmlformats.org/officeDocument/2006/relationships/image" Target="../media/image237.png"/><Relationship Id="rId35" Type="http://schemas.openxmlformats.org/officeDocument/2006/relationships/image" Target="../media/image228.png"/></Relationships>
</file>

<file path=ppt/slides/_rels/slide37.xml.rels><?xml version="1.0" encoding="UTF-8" standalone="yes"?>
<Relationships xmlns="http://schemas.openxmlformats.org/package/2006/relationships"><Relationship Id="rId8" Type="http://schemas.openxmlformats.org/officeDocument/2006/relationships/image" Target="../media/image266.png"/><Relationship Id="rId13" Type="http://schemas.openxmlformats.org/officeDocument/2006/relationships/image" Target="../media/image271.png"/><Relationship Id="rId18" Type="http://schemas.openxmlformats.org/officeDocument/2006/relationships/image" Target="../media/image276.png"/><Relationship Id="rId3" Type="http://schemas.openxmlformats.org/officeDocument/2006/relationships/image" Target="../media/image261.png"/><Relationship Id="rId7" Type="http://schemas.openxmlformats.org/officeDocument/2006/relationships/image" Target="../media/image265.png"/><Relationship Id="rId12" Type="http://schemas.openxmlformats.org/officeDocument/2006/relationships/image" Target="../media/image270.png"/><Relationship Id="rId17" Type="http://schemas.openxmlformats.org/officeDocument/2006/relationships/image" Target="../media/image275.png"/><Relationship Id="rId2" Type="http://schemas.openxmlformats.org/officeDocument/2006/relationships/notesSlide" Target="../notesSlides/notesSlide28.xml"/><Relationship Id="rId16" Type="http://schemas.openxmlformats.org/officeDocument/2006/relationships/image" Target="../media/image274.png"/><Relationship Id="rId20" Type="http://schemas.openxmlformats.org/officeDocument/2006/relationships/image" Target="../media/image278.png"/><Relationship Id="rId1" Type="http://schemas.openxmlformats.org/officeDocument/2006/relationships/slideLayout" Target="../slideLayouts/slideLayout327.xml"/><Relationship Id="rId6" Type="http://schemas.openxmlformats.org/officeDocument/2006/relationships/image" Target="../media/image264.png"/><Relationship Id="rId11" Type="http://schemas.openxmlformats.org/officeDocument/2006/relationships/image" Target="../media/image269.png"/><Relationship Id="rId5" Type="http://schemas.openxmlformats.org/officeDocument/2006/relationships/image" Target="../media/image263.png"/><Relationship Id="rId15" Type="http://schemas.openxmlformats.org/officeDocument/2006/relationships/image" Target="../media/image273.png"/><Relationship Id="rId10" Type="http://schemas.openxmlformats.org/officeDocument/2006/relationships/image" Target="../media/image268.png"/><Relationship Id="rId19" Type="http://schemas.openxmlformats.org/officeDocument/2006/relationships/image" Target="../media/image277.png"/><Relationship Id="rId4" Type="http://schemas.openxmlformats.org/officeDocument/2006/relationships/image" Target="../media/image262.png"/><Relationship Id="rId9" Type="http://schemas.openxmlformats.org/officeDocument/2006/relationships/image" Target="../media/image267.png"/><Relationship Id="rId14" Type="http://schemas.openxmlformats.org/officeDocument/2006/relationships/image" Target="../media/image272.png"/></Relationships>
</file>

<file path=ppt/slides/_rels/slide38.xml.rels><?xml version="1.0" encoding="UTF-8" standalone="yes"?>
<Relationships xmlns="http://schemas.openxmlformats.org/package/2006/relationships"><Relationship Id="rId3" Type="http://schemas.openxmlformats.org/officeDocument/2006/relationships/image" Target="../media/image279.jpg"/><Relationship Id="rId2" Type="http://schemas.openxmlformats.org/officeDocument/2006/relationships/notesSlide" Target="../notesSlides/notesSlide29.xml"/><Relationship Id="rId1" Type="http://schemas.openxmlformats.org/officeDocument/2006/relationships/slideLayout" Target="../slideLayouts/slideLayout4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59.xml"/></Relationships>
</file>

<file path=ppt/slides/_rels/slide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01.xml"/><Relationship Id="rId4" Type="http://schemas.openxmlformats.org/officeDocument/2006/relationships/image" Target="../media/image133.jpeg"/></Relationships>
</file>

<file path=ppt/slides/_rels/slide40.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31.xml"/><Relationship Id="rId1" Type="http://schemas.openxmlformats.org/officeDocument/2006/relationships/slideLayout" Target="../slideLayouts/slideLayout484.xml"/><Relationship Id="rId6" Type="http://schemas.openxmlformats.org/officeDocument/2006/relationships/image" Target="../media/image283.emf"/><Relationship Id="rId5" Type="http://schemas.openxmlformats.org/officeDocument/2006/relationships/image" Target="../media/image282.jpg"/><Relationship Id="rId4" Type="http://schemas.openxmlformats.org/officeDocument/2006/relationships/image" Target="../media/image281.W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0.xml"/></Relationships>
</file>

<file path=ppt/slides/_rels/slide42.xml.rels><?xml version="1.0" encoding="UTF-8" standalone="yes"?>
<Relationships xmlns="http://schemas.openxmlformats.org/package/2006/relationships"><Relationship Id="rId26" Type="http://schemas.openxmlformats.org/officeDocument/2006/relationships/image" Target="../media/image308.png"/><Relationship Id="rId21" Type="http://schemas.openxmlformats.org/officeDocument/2006/relationships/image" Target="../media/image303.jpeg"/><Relationship Id="rId42" Type="http://schemas.openxmlformats.org/officeDocument/2006/relationships/image" Target="../media/image323.png"/><Relationship Id="rId47" Type="http://schemas.openxmlformats.org/officeDocument/2006/relationships/image" Target="../media/image328.png"/><Relationship Id="rId63" Type="http://schemas.openxmlformats.org/officeDocument/2006/relationships/image" Target="../media/image343.png"/><Relationship Id="rId68" Type="http://schemas.openxmlformats.org/officeDocument/2006/relationships/image" Target="../media/image348.png"/><Relationship Id="rId84" Type="http://schemas.openxmlformats.org/officeDocument/2006/relationships/image" Target="../media/image363.jpeg"/><Relationship Id="rId89" Type="http://schemas.openxmlformats.org/officeDocument/2006/relationships/image" Target="../media/image368.png"/><Relationship Id="rId2" Type="http://schemas.openxmlformats.org/officeDocument/2006/relationships/image" Target="../media/image284.jpeg"/><Relationship Id="rId16" Type="http://schemas.openxmlformats.org/officeDocument/2006/relationships/image" Target="../media/image298.jpeg"/><Relationship Id="rId29" Type="http://schemas.openxmlformats.org/officeDocument/2006/relationships/image" Target="../media/image311.jpeg"/><Relationship Id="rId107" Type="http://schemas.openxmlformats.org/officeDocument/2006/relationships/image" Target="../media/image384.jpeg"/><Relationship Id="rId11" Type="http://schemas.openxmlformats.org/officeDocument/2006/relationships/image" Target="../media/image293.jpg"/><Relationship Id="rId24" Type="http://schemas.openxmlformats.org/officeDocument/2006/relationships/image" Target="../media/image306.png"/><Relationship Id="rId32" Type="http://schemas.openxmlformats.org/officeDocument/2006/relationships/image" Target="../media/image314.png"/><Relationship Id="rId37" Type="http://schemas.openxmlformats.org/officeDocument/2006/relationships/image" Target="../media/image318.png"/><Relationship Id="rId40" Type="http://schemas.openxmlformats.org/officeDocument/2006/relationships/image" Target="../media/image321.png"/><Relationship Id="rId45" Type="http://schemas.openxmlformats.org/officeDocument/2006/relationships/image" Target="../media/image326.png"/><Relationship Id="rId53" Type="http://schemas.openxmlformats.org/officeDocument/2006/relationships/image" Target="../media/image334.jpeg"/><Relationship Id="rId58" Type="http://schemas.openxmlformats.org/officeDocument/2006/relationships/image" Target="../media/image338.png"/><Relationship Id="rId66" Type="http://schemas.openxmlformats.org/officeDocument/2006/relationships/image" Target="../media/image346.jpeg"/><Relationship Id="rId74" Type="http://schemas.openxmlformats.org/officeDocument/2006/relationships/image" Target="../media/image354.png"/><Relationship Id="rId79" Type="http://schemas.openxmlformats.org/officeDocument/2006/relationships/image" Target="../media/image358.png"/><Relationship Id="rId87" Type="http://schemas.openxmlformats.org/officeDocument/2006/relationships/image" Target="../media/image366.jpeg"/><Relationship Id="rId102" Type="http://schemas.openxmlformats.org/officeDocument/2006/relationships/image" Target="../media/image379.jpeg"/><Relationship Id="rId5" Type="http://schemas.openxmlformats.org/officeDocument/2006/relationships/image" Target="../media/image287.jpeg"/><Relationship Id="rId61" Type="http://schemas.openxmlformats.org/officeDocument/2006/relationships/image" Target="../media/image341.png"/><Relationship Id="rId82" Type="http://schemas.openxmlformats.org/officeDocument/2006/relationships/image" Target="../media/image361.png"/><Relationship Id="rId90" Type="http://schemas.openxmlformats.org/officeDocument/2006/relationships/image" Target="../media/image369.png"/><Relationship Id="rId95" Type="http://schemas.openxmlformats.org/officeDocument/2006/relationships/image" Target="../media/image373.png"/><Relationship Id="rId19" Type="http://schemas.openxmlformats.org/officeDocument/2006/relationships/image" Target="../media/image301.jpeg"/><Relationship Id="rId14" Type="http://schemas.openxmlformats.org/officeDocument/2006/relationships/image" Target="../media/image296.jpeg"/><Relationship Id="rId22" Type="http://schemas.openxmlformats.org/officeDocument/2006/relationships/image" Target="../media/image304.png"/><Relationship Id="rId27" Type="http://schemas.openxmlformats.org/officeDocument/2006/relationships/image" Target="../media/image309.jpeg"/><Relationship Id="rId30" Type="http://schemas.openxmlformats.org/officeDocument/2006/relationships/image" Target="../media/image312.jpeg"/><Relationship Id="rId35" Type="http://schemas.openxmlformats.org/officeDocument/2006/relationships/image" Target="../media/image316.png"/><Relationship Id="rId43" Type="http://schemas.openxmlformats.org/officeDocument/2006/relationships/image" Target="../media/image324.jpeg"/><Relationship Id="rId48" Type="http://schemas.openxmlformats.org/officeDocument/2006/relationships/image" Target="../media/image329.png"/><Relationship Id="rId56" Type="http://schemas.microsoft.com/office/2007/relationships/hdphoto" Target="../media/hdphoto4.wdp"/><Relationship Id="rId64" Type="http://schemas.openxmlformats.org/officeDocument/2006/relationships/image" Target="../media/image344.jpeg"/><Relationship Id="rId69" Type="http://schemas.openxmlformats.org/officeDocument/2006/relationships/image" Target="../media/image349.jpg"/><Relationship Id="rId77" Type="http://schemas.microsoft.com/office/2007/relationships/hdphoto" Target="../media/hdphoto5.wdp"/><Relationship Id="rId100" Type="http://schemas.openxmlformats.org/officeDocument/2006/relationships/image" Target="../media/image377.png"/><Relationship Id="rId105" Type="http://schemas.openxmlformats.org/officeDocument/2006/relationships/image" Target="../media/image382.jpeg"/><Relationship Id="rId8" Type="http://schemas.openxmlformats.org/officeDocument/2006/relationships/image" Target="../media/image290.png"/><Relationship Id="rId51" Type="http://schemas.openxmlformats.org/officeDocument/2006/relationships/image" Target="../media/image332.png"/><Relationship Id="rId72" Type="http://schemas.openxmlformats.org/officeDocument/2006/relationships/image" Target="../media/image352.png"/><Relationship Id="rId80" Type="http://schemas.openxmlformats.org/officeDocument/2006/relationships/image" Target="../media/image359.jpeg"/><Relationship Id="rId85" Type="http://schemas.openxmlformats.org/officeDocument/2006/relationships/image" Target="../media/image364.jpeg"/><Relationship Id="rId93" Type="http://schemas.openxmlformats.org/officeDocument/2006/relationships/image" Target="../media/image371.jpeg"/><Relationship Id="rId98" Type="http://schemas.microsoft.com/office/2007/relationships/hdphoto" Target="../media/hdphoto7.wdp"/><Relationship Id="rId3" Type="http://schemas.openxmlformats.org/officeDocument/2006/relationships/image" Target="../media/image285.jpeg"/><Relationship Id="rId12" Type="http://schemas.openxmlformats.org/officeDocument/2006/relationships/image" Target="../media/image294.jpeg"/><Relationship Id="rId17" Type="http://schemas.openxmlformats.org/officeDocument/2006/relationships/image" Target="../media/image299.jpeg"/><Relationship Id="rId25" Type="http://schemas.openxmlformats.org/officeDocument/2006/relationships/image" Target="../media/image307.png"/><Relationship Id="rId33" Type="http://schemas.microsoft.com/office/2007/relationships/hdphoto" Target="../media/hdphoto3.wdp"/><Relationship Id="rId38" Type="http://schemas.openxmlformats.org/officeDocument/2006/relationships/image" Target="../media/image319.jpeg"/><Relationship Id="rId46" Type="http://schemas.openxmlformats.org/officeDocument/2006/relationships/image" Target="../media/image327.jpeg"/><Relationship Id="rId59" Type="http://schemas.openxmlformats.org/officeDocument/2006/relationships/image" Target="../media/image339.jpeg"/><Relationship Id="rId67" Type="http://schemas.openxmlformats.org/officeDocument/2006/relationships/image" Target="../media/image347.jpeg"/><Relationship Id="rId103" Type="http://schemas.openxmlformats.org/officeDocument/2006/relationships/image" Target="../media/image380.png"/><Relationship Id="rId108" Type="http://schemas.openxmlformats.org/officeDocument/2006/relationships/image" Target="../media/image385.jpeg"/><Relationship Id="rId20" Type="http://schemas.openxmlformats.org/officeDocument/2006/relationships/image" Target="../media/image302.jpeg"/><Relationship Id="rId41" Type="http://schemas.openxmlformats.org/officeDocument/2006/relationships/image" Target="../media/image322.jpeg"/><Relationship Id="rId54" Type="http://schemas.openxmlformats.org/officeDocument/2006/relationships/image" Target="../media/image335.jpeg"/><Relationship Id="rId62" Type="http://schemas.openxmlformats.org/officeDocument/2006/relationships/image" Target="../media/image342.png"/><Relationship Id="rId70" Type="http://schemas.openxmlformats.org/officeDocument/2006/relationships/image" Target="../media/image350.jpeg"/><Relationship Id="rId75" Type="http://schemas.openxmlformats.org/officeDocument/2006/relationships/image" Target="../media/image355.jpeg"/><Relationship Id="rId83" Type="http://schemas.openxmlformats.org/officeDocument/2006/relationships/image" Target="../media/image362.png"/><Relationship Id="rId88" Type="http://schemas.openxmlformats.org/officeDocument/2006/relationships/image" Target="../media/image367.png"/><Relationship Id="rId91" Type="http://schemas.openxmlformats.org/officeDocument/2006/relationships/image" Target="../media/image370.png"/><Relationship Id="rId96" Type="http://schemas.openxmlformats.org/officeDocument/2006/relationships/image" Target="../media/image374.png"/><Relationship Id="rId1" Type="http://schemas.openxmlformats.org/officeDocument/2006/relationships/slideLayout" Target="../slideLayouts/slideLayout520.xml"/><Relationship Id="rId6" Type="http://schemas.openxmlformats.org/officeDocument/2006/relationships/image" Target="../media/image288.jpeg"/><Relationship Id="rId15" Type="http://schemas.openxmlformats.org/officeDocument/2006/relationships/image" Target="../media/image297.png"/><Relationship Id="rId23" Type="http://schemas.openxmlformats.org/officeDocument/2006/relationships/image" Target="../media/image305.png"/><Relationship Id="rId28" Type="http://schemas.openxmlformats.org/officeDocument/2006/relationships/image" Target="../media/image310.png"/><Relationship Id="rId36" Type="http://schemas.openxmlformats.org/officeDocument/2006/relationships/image" Target="../media/image317.png"/><Relationship Id="rId49" Type="http://schemas.openxmlformats.org/officeDocument/2006/relationships/image" Target="../media/image330.png"/><Relationship Id="rId57" Type="http://schemas.openxmlformats.org/officeDocument/2006/relationships/image" Target="../media/image337.png"/><Relationship Id="rId106" Type="http://schemas.openxmlformats.org/officeDocument/2006/relationships/image" Target="../media/image383.png"/><Relationship Id="rId10" Type="http://schemas.openxmlformats.org/officeDocument/2006/relationships/image" Target="../media/image292.jpeg"/><Relationship Id="rId31" Type="http://schemas.openxmlformats.org/officeDocument/2006/relationships/image" Target="../media/image313.jpeg"/><Relationship Id="rId44" Type="http://schemas.openxmlformats.org/officeDocument/2006/relationships/image" Target="../media/image325.jpeg"/><Relationship Id="rId52" Type="http://schemas.openxmlformats.org/officeDocument/2006/relationships/image" Target="../media/image333.jpeg"/><Relationship Id="rId60" Type="http://schemas.openxmlformats.org/officeDocument/2006/relationships/image" Target="../media/image340.png"/><Relationship Id="rId65" Type="http://schemas.openxmlformats.org/officeDocument/2006/relationships/image" Target="../media/image345.png"/><Relationship Id="rId73" Type="http://schemas.openxmlformats.org/officeDocument/2006/relationships/image" Target="../media/image353.jpeg"/><Relationship Id="rId78" Type="http://schemas.openxmlformats.org/officeDocument/2006/relationships/image" Target="../media/image357.png"/><Relationship Id="rId81" Type="http://schemas.openxmlformats.org/officeDocument/2006/relationships/image" Target="../media/image360.jpeg"/><Relationship Id="rId86" Type="http://schemas.openxmlformats.org/officeDocument/2006/relationships/image" Target="../media/image365.png"/><Relationship Id="rId94" Type="http://schemas.openxmlformats.org/officeDocument/2006/relationships/image" Target="../media/image372.jpeg"/><Relationship Id="rId99" Type="http://schemas.openxmlformats.org/officeDocument/2006/relationships/image" Target="../media/image376.jpeg"/><Relationship Id="rId101" Type="http://schemas.openxmlformats.org/officeDocument/2006/relationships/image" Target="../media/image378.png"/><Relationship Id="rId4" Type="http://schemas.openxmlformats.org/officeDocument/2006/relationships/image" Target="../media/image286.jpeg"/><Relationship Id="rId9" Type="http://schemas.openxmlformats.org/officeDocument/2006/relationships/image" Target="../media/image291.png"/><Relationship Id="rId13" Type="http://schemas.openxmlformats.org/officeDocument/2006/relationships/image" Target="../media/image295.png"/><Relationship Id="rId18" Type="http://schemas.openxmlformats.org/officeDocument/2006/relationships/image" Target="../media/image300.jpeg"/><Relationship Id="rId39" Type="http://schemas.openxmlformats.org/officeDocument/2006/relationships/image" Target="../media/image320.png"/><Relationship Id="rId109" Type="http://schemas.openxmlformats.org/officeDocument/2006/relationships/image" Target="../media/image386.jpeg"/><Relationship Id="rId34" Type="http://schemas.openxmlformats.org/officeDocument/2006/relationships/image" Target="../media/image315.png"/><Relationship Id="rId50" Type="http://schemas.openxmlformats.org/officeDocument/2006/relationships/image" Target="../media/image331.jpeg"/><Relationship Id="rId55" Type="http://schemas.openxmlformats.org/officeDocument/2006/relationships/image" Target="../media/image336.png"/><Relationship Id="rId76" Type="http://schemas.openxmlformats.org/officeDocument/2006/relationships/image" Target="../media/image356.png"/><Relationship Id="rId97" Type="http://schemas.openxmlformats.org/officeDocument/2006/relationships/image" Target="../media/image375.png"/><Relationship Id="rId104" Type="http://schemas.openxmlformats.org/officeDocument/2006/relationships/image" Target="../media/image381.jpeg"/><Relationship Id="rId7" Type="http://schemas.openxmlformats.org/officeDocument/2006/relationships/image" Target="../media/image289.png"/><Relationship Id="rId71" Type="http://schemas.openxmlformats.org/officeDocument/2006/relationships/image" Target="../media/image351.png"/><Relationship Id="rId92" Type="http://schemas.microsoft.com/office/2007/relationships/hdphoto" Target="../media/hdphoto6.wdp"/></Relationships>
</file>

<file path=ppt/slides/_rels/slide43.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png"/><Relationship Id="rId7" Type="http://schemas.openxmlformats.org/officeDocument/2006/relationships/image" Target="../media/image265.png"/><Relationship Id="rId12" Type="http://schemas.openxmlformats.org/officeDocument/2006/relationships/image" Target="../media/image270.png"/><Relationship Id="rId2" Type="http://schemas.openxmlformats.org/officeDocument/2006/relationships/notesSlide" Target="../notesSlides/notesSlide32.xml"/><Relationship Id="rId1" Type="http://schemas.openxmlformats.org/officeDocument/2006/relationships/slideLayout" Target="../slideLayouts/slideLayout327.xml"/><Relationship Id="rId6" Type="http://schemas.openxmlformats.org/officeDocument/2006/relationships/image" Target="../media/image264.png"/><Relationship Id="rId11" Type="http://schemas.openxmlformats.org/officeDocument/2006/relationships/image" Target="../media/image269.png"/><Relationship Id="rId5" Type="http://schemas.openxmlformats.org/officeDocument/2006/relationships/image" Target="../media/image263.png"/><Relationship Id="rId10" Type="http://schemas.openxmlformats.org/officeDocument/2006/relationships/image" Target="../media/image268.png"/><Relationship Id="rId4" Type="http://schemas.openxmlformats.org/officeDocument/2006/relationships/image" Target="../media/image262.png"/><Relationship Id="rId9" Type="http://schemas.openxmlformats.org/officeDocument/2006/relationships/image" Target="../media/image267.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4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87.png"/><Relationship Id="rId4" Type="http://schemas.openxmlformats.org/officeDocument/2006/relationships/notesSlide" Target="../notesSlides/notesSlide33.xml"/></Relationships>
</file>

<file path=ppt/slides/_rels/slide45.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2.xml"/></Relationships>
</file>

<file path=ppt/slides/_rels/slide50.xml.rels><?xml version="1.0" encoding="UTF-8" standalone="yes"?>
<Relationships xmlns="http://schemas.openxmlformats.org/package/2006/relationships"><Relationship Id="rId3" Type="http://schemas.openxmlformats.org/officeDocument/2006/relationships/hyperlink" Target="mailto:nzedu@microsoft.com" TargetMode="External"/><Relationship Id="rId2" Type="http://schemas.openxmlformats.org/officeDocument/2006/relationships/image" Target="../media/image390.emf"/><Relationship Id="rId1" Type="http://schemas.openxmlformats.org/officeDocument/2006/relationships/slideLayout" Target="../slideLayouts/slideLayout14.xml"/><Relationship Id="rId5" Type="http://schemas.openxmlformats.org/officeDocument/2006/relationships/image" Target="../media/image389.jpeg"/><Relationship Id="rId4" Type="http://schemas.openxmlformats.org/officeDocument/2006/relationships/image" Target="../media/image388.png"/></Relationships>
</file>

<file path=ppt/slides/_rels/slide51.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xml"/><Relationship Id="rId1" Type="http://schemas.openxmlformats.org/officeDocument/2006/relationships/slideLayout" Target="../slideLayouts/slideLayout170.xml"/><Relationship Id="rId5" Type="http://schemas.openxmlformats.org/officeDocument/2006/relationships/image" Target="../media/image136.png"/><Relationship Id="rId4" Type="http://schemas.openxmlformats.org/officeDocument/2006/relationships/image" Target="../media/image135.png"/></Relationships>
</file>

<file path=ppt/slides/_rels/slide60.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4.xml"/><Relationship Id="rId1" Type="http://schemas.openxmlformats.org/officeDocument/2006/relationships/slideLayout" Target="../slideLayouts/slideLayout170.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390.emf"/><Relationship Id="rId2" Type="http://schemas.openxmlformats.org/officeDocument/2006/relationships/hyperlink" Target="mailto:nzedu@microsoft.com" TargetMode="External"/><Relationship Id="rId1" Type="http://schemas.openxmlformats.org/officeDocument/2006/relationships/slideLayout" Target="../slideLayouts/slideLayout579.xml"/></Relationships>
</file>

<file path=ppt/slides/_rels/slide73.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9.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0.xml"/><Relationship Id="rId6" Type="http://schemas.openxmlformats.org/officeDocument/2006/relationships/image" Target="../media/image142.png"/><Relationship Id="rId11" Type="http://schemas.openxmlformats.org/officeDocument/2006/relationships/image" Target="../media/image146.png"/><Relationship Id="rId5" Type="http://schemas.openxmlformats.org/officeDocument/2006/relationships/image" Target="../media/image141.png"/><Relationship Id="rId10" Type="http://schemas.openxmlformats.org/officeDocument/2006/relationships/image" Target="../media/image145.png"/><Relationship Id="rId4" Type="http://schemas.openxmlformats.org/officeDocument/2006/relationships/image" Target="../media/image140.emf"/><Relationship Id="rId9" Type="http://schemas.openxmlformats.org/officeDocument/2006/relationships/image" Target="../media/image144.png"/></Relationships>
</file>

<file path=ppt/slides/_rels/slide80.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image" Target="../media/image388.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28342" y="1173947"/>
            <a:ext cx="7330533" cy="5226574"/>
          </a:xfrm>
        </p:spPr>
        <p:txBody>
          <a:bodyPr/>
          <a:lstStyle/>
          <a:p>
            <a:pPr algn="just"/>
            <a:r>
              <a:rPr lang="en-NZ" sz="6400" dirty="0" smtClean="0"/>
              <a:t>Username: conf9216</a:t>
            </a:r>
            <a:r>
              <a:rPr lang="en-NZ" sz="6400" dirty="0"/>
              <a:t/>
            </a:r>
            <a:br>
              <a:rPr lang="en-NZ" sz="6400" dirty="0"/>
            </a:br>
            <a:r>
              <a:rPr lang="en-NZ" sz="6400" dirty="0" smtClean="0"/>
              <a:t>Password: 2arotard</a:t>
            </a:r>
            <a:br>
              <a:rPr lang="en-NZ" sz="6400" dirty="0" smtClean="0"/>
            </a:br>
            <a:r>
              <a:rPr lang="en-NZ" sz="6400" dirty="0"/>
              <a:t/>
            </a:r>
            <a:br>
              <a:rPr lang="en-NZ" sz="6400" dirty="0"/>
            </a:br>
            <a:r>
              <a:rPr lang="en-NZ" sz="6400" dirty="0" smtClean="0"/>
              <a:t>Username: conf9217</a:t>
            </a:r>
            <a:br>
              <a:rPr lang="en-NZ" sz="6400" dirty="0" smtClean="0"/>
            </a:br>
            <a:r>
              <a:rPr lang="en-NZ" sz="6400" dirty="0"/>
              <a:t> </a:t>
            </a:r>
            <a:r>
              <a:rPr lang="en-NZ" sz="6400" dirty="0" smtClean="0"/>
              <a:t>Password: ndinka5a</a:t>
            </a:r>
            <a:r>
              <a:rPr lang="en-NZ" sz="6400" dirty="0"/>
              <a:t/>
            </a:r>
            <a:br>
              <a:rPr lang="en-NZ" sz="6400" dirty="0"/>
            </a:br>
            <a:endParaRPr lang="en-NZ" sz="6400" dirty="0"/>
          </a:p>
        </p:txBody>
      </p:sp>
      <p:sp>
        <p:nvSpPr>
          <p:cNvPr id="3" name="TextBox 2"/>
          <p:cNvSpPr txBox="1"/>
          <p:nvPr/>
        </p:nvSpPr>
        <p:spPr>
          <a:xfrm>
            <a:off x="312234"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dirty="0" err="1" smtClean="0">
                <a:ln w="3175">
                  <a:noFill/>
                </a:ln>
                <a:gradFill>
                  <a:gsLst>
                    <a:gs pos="1250">
                      <a:srgbClr val="FFFFFF"/>
                    </a:gs>
                    <a:gs pos="100000">
                      <a:srgbClr val="FFFFFF"/>
                    </a:gs>
                  </a:gsLst>
                  <a:lin ang="5400000" scaled="0"/>
                </a:gradFill>
                <a:latin typeface="Segoe UI Light"/>
                <a:cs typeface="Segoe UI" pitchFamily="34" charset="0"/>
              </a:rPr>
              <a:t>WiFi</a:t>
            </a:r>
            <a:r>
              <a:rPr lang="en-NZ" sz="5882" spc="-100" dirty="0" smtClean="0">
                <a:ln w="3175">
                  <a:noFill/>
                </a:ln>
                <a:gradFill>
                  <a:gsLst>
                    <a:gs pos="1250">
                      <a:srgbClr val="FFFFFF"/>
                    </a:gs>
                    <a:gs pos="100000">
                      <a:srgbClr val="FFFFFF"/>
                    </a:gs>
                  </a:gsLst>
                  <a:lin ang="5400000" scaled="0"/>
                </a:gradFill>
                <a:latin typeface="Segoe UI Light"/>
                <a:cs typeface="Segoe UI" pitchFamily="34" charset="0"/>
              </a:rPr>
              <a:t>:</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6668190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8047" y="2342401"/>
            <a:ext cx="11055906" cy="704242"/>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8047" y="1631917"/>
            <a:ext cx="11055906" cy="706732"/>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643" y="471825"/>
            <a:ext cx="11429416"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902" spc="-100" dirty="0">
                <a:solidFill>
                  <a:srgbClr val="FFFFFF"/>
                </a:solidFill>
                <a:latin typeface="Segoe UI Semibold" panose="020B0702040204020203" pitchFamily="34" charset="0"/>
                <a:cs typeface="Segoe UI Semibold" panose="020B0702040204020203" pitchFamily="34" charset="0"/>
              </a:rPr>
              <a:t>Leading</a:t>
            </a:r>
            <a:r>
              <a:rPr lang="en-US" sz="4902" spc="-100" dirty="0">
                <a:solidFill>
                  <a:srgbClr val="FFFFFF"/>
                </a:solidFill>
                <a:latin typeface="Segoe UI Light"/>
              </a:rPr>
              <a:t> the journey to the Cloud</a:t>
            </a:r>
            <a:endParaRPr lang="en-US" sz="4902" spc="-100" dirty="0">
              <a:solidFill>
                <a:srgbClr val="FFFFFF"/>
              </a:solidFill>
              <a:latin typeface="Segoe UI Light"/>
            </a:endParaRPr>
          </a:p>
        </p:txBody>
      </p:sp>
      <p:sp>
        <p:nvSpPr>
          <p:cNvPr id="5" name="Rounded Rectangle 4"/>
          <p:cNvSpPr/>
          <p:nvPr/>
        </p:nvSpPr>
        <p:spPr bwMode="auto">
          <a:xfrm>
            <a:off x="439491" y="3173598"/>
            <a:ext cx="11299991" cy="3383094"/>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8047" y="5705127"/>
            <a:ext cx="11055906" cy="703433"/>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spc="-49" dirty="0">
                  <a:solidFill>
                    <a:srgbClr val="FFFFFF"/>
                  </a:solidFill>
                  <a:latin typeface="Segoe UI Semilight"/>
                  <a:ea typeface="Segoe UI" pitchFamily="34" charset="0"/>
                  <a:cs typeface="Segoe UI" pitchFamily="34" charset="0"/>
                </a:rPr>
                <a:t>Azure + Azure Stack </a:t>
              </a:r>
              <a:r>
                <a:rPr lang="en-US" sz="1961" spc="-49" dirty="0">
                  <a:solidFill>
                    <a:srgbClr val="FFFFFF"/>
                  </a:solidFill>
                  <a:latin typeface="Segoe UI Semilight"/>
                  <a:ea typeface="Segoe UI" pitchFamily="34" charset="0"/>
                  <a:cs typeface="Segoe UI" pitchFamily="34" charset="0"/>
                </a:rPr>
                <a:t>+ </a:t>
              </a:r>
              <a:r>
                <a:rPr lang="en-US" sz="1961" spc="-49" dirty="0">
                  <a:solidFill>
                    <a:srgbClr val="FFFFFF"/>
                  </a:solidFill>
                  <a:latin typeface="Segoe UI Semilight"/>
                  <a:ea typeface="Segoe UI" pitchFamily="34" charset="0"/>
                  <a:cs typeface="Segoe UI" pitchFamily="34" charset="0"/>
                </a:rPr>
                <a:t>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8047" y="3556191"/>
            <a:ext cx="11055906" cy="703433"/>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8047" y="4271393"/>
            <a:ext cx="11055906" cy="704242"/>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Cortana </a:t>
              </a:r>
              <a:r>
                <a:rPr lang="en-US" sz="1961" dirty="0">
                  <a:solidFill>
                    <a:srgbClr val="FFFFFF"/>
                  </a:solidFill>
                  <a:latin typeface="Segoe UI Semilight"/>
                  <a:ea typeface="Segoe UI" pitchFamily="34" charset="0"/>
                  <a:cs typeface="Segoe UI" pitchFamily="34" charset="0"/>
                </a:rPr>
                <a:t>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8047" y="4982686"/>
            <a:ext cx="11055906" cy="704244"/>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Azure </a:t>
              </a:r>
              <a:r>
                <a:rPr lang="en-US" sz="1961" dirty="0" err="1">
                  <a:solidFill>
                    <a:srgbClr val="FFFFFF"/>
                  </a:solidFill>
                  <a:latin typeface="Segoe UI Semilight"/>
                  <a:ea typeface="Segoe UI" pitchFamily="34" charset="0"/>
                  <a:cs typeface="Segoe UI" pitchFamily="34" charset="0"/>
                </a:rPr>
                <a:t>IoT</a:t>
              </a:r>
              <a:r>
                <a:rPr lang="en-US" sz="1961"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290" y="3108138"/>
            <a:ext cx="1813690"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211692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sp>
        <p:nvSpPr>
          <p:cNvPr id="71" name="TextBox 70"/>
          <p:cNvSpPr txBox="1"/>
          <p:nvPr/>
        </p:nvSpPr>
        <p:spPr>
          <a:xfrm>
            <a:off x="207453" y="3503702"/>
            <a:ext cx="3056739" cy="1647426"/>
          </a:xfrm>
          <a:prstGeom prst="rect">
            <a:avLst/>
          </a:prstGeom>
          <a:noFill/>
        </p:spPr>
        <p:txBody>
          <a:bodyPr wrap="none" lIns="277892" tIns="277892" rIns="277892" bIns="277892" rtlCol="0">
            <a:spAutoFit/>
          </a:bodyPr>
          <a:lstStyle/>
          <a:p>
            <a:pPr defTabSz="914367">
              <a:lnSpc>
                <a:spcPct val="90000"/>
              </a:lnSpc>
              <a:spcAft>
                <a:spcPts val="588"/>
              </a:spcAft>
              <a:defRPr/>
            </a:pPr>
            <a:r>
              <a:rPr lang="en-US" sz="3921"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1" dirty="0">
                <a:gradFill>
                  <a:gsLst>
                    <a:gs pos="2917">
                      <a:srgbClr val="ECECEC"/>
                    </a:gs>
                    <a:gs pos="30000">
                      <a:srgbClr val="ECECEC"/>
                    </a:gs>
                  </a:gsLst>
                  <a:lin ang="5400000" scaled="0"/>
                </a:gradFill>
                <a:latin typeface="Segoe UI Light"/>
                <a:ea typeface="MS PGothic" panose="020B0600070205080204" pitchFamily="34" charset="-128"/>
              </a:rPr>
            </a:br>
            <a:r>
              <a:rPr lang="en-US" sz="3921" dirty="0">
                <a:gradFill>
                  <a:gsLst>
                    <a:gs pos="2917">
                      <a:srgbClr val="ECECEC"/>
                    </a:gs>
                    <a:gs pos="30000">
                      <a:srgbClr val="ECECEC"/>
                    </a:gs>
                  </a:gsLst>
                  <a:lin ang="5400000" scaled="0"/>
                </a:gradFill>
                <a:latin typeface="Segoe UI Light"/>
                <a:ea typeface="MS PGothic" panose="020B0600070205080204" pitchFamily="34" charset="-128"/>
              </a:rPr>
              <a:t>footprint</a:t>
            </a:r>
            <a:endParaRPr lang="en-US" sz="3921" dirty="0">
              <a:gradFill>
                <a:gsLst>
                  <a:gs pos="2917">
                    <a:srgbClr val="ECECEC"/>
                  </a:gs>
                  <a:gs pos="30000">
                    <a:srgbClr val="ECECEC"/>
                  </a:gs>
                </a:gsLst>
                <a:lin ang="5400000" scaled="0"/>
              </a:gradFill>
              <a:latin typeface="Segoe UI Light"/>
              <a:ea typeface="MS PGothic" panose="020B0600070205080204" pitchFamily="34" charset="-128"/>
            </a:endParaRPr>
          </a:p>
        </p:txBody>
      </p:sp>
      <p:grpSp>
        <p:nvGrpSpPr>
          <p:cNvPr id="72" name="Group 71"/>
          <p:cNvGrpSpPr/>
          <p:nvPr/>
        </p:nvGrpSpPr>
        <p:grpSpPr>
          <a:xfrm>
            <a:off x="498820" y="4916621"/>
            <a:ext cx="1872968" cy="479745"/>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a:t>
              </a:r>
              <a:r>
                <a:rPr lang="en-US" sz="1372" cap="all" dirty="0">
                  <a:solidFill>
                    <a:srgbClr val="FFFFFF">
                      <a:lumMod val="85000"/>
                    </a:srgbClr>
                  </a:solidFill>
                  <a:latin typeface="Segoe UI Semibold" panose="020B0702040204020203" pitchFamily="34" charset="0"/>
                  <a:cs typeface="Segoe UI Semibold" panose="020B0702040204020203" pitchFamily="34" charset="0"/>
                </a:rPr>
                <a:t>regions</a:t>
              </a:r>
            </a:p>
          </p:txBody>
        </p:sp>
      </p:grpSp>
      <p:grpSp>
        <p:nvGrpSpPr>
          <p:cNvPr id="39" name="Group 38"/>
          <p:cNvGrpSpPr/>
          <p:nvPr/>
        </p:nvGrpSpPr>
        <p:grpSpPr>
          <a:xfrm>
            <a:off x="157009" y="2039180"/>
            <a:ext cx="3359726" cy="2750603"/>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11273" dirty="0">
                  <a:gradFill>
                    <a:gsLst>
                      <a:gs pos="0">
                        <a:srgbClr val="FFFFFF"/>
                      </a:gs>
                      <a:gs pos="100000">
                        <a:srgbClr val="FFFFFF"/>
                      </a:gs>
                    </a:gsLst>
                    <a:lin ang="5400000" scaled="0"/>
                  </a:gradFill>
                  <a:latin typeface="Segoe UI Light"/>
                  <a:ea typeface="MS PGothic" panose="020B0600070205080204" pitchFamily="34" charset="-128"/>
                </a:rPr>
                <a:t>24</a:t>
              </a:r>
              <a:endParaRPr lang="en-US" sz="11273" dirty="0">
                <a:gradFill>
                  <a:gsLst>
                    <a:gs pos="0">
                      <a:srgbClr val="FFFFFF"/>
                    </a:gs>
                    <a:gs pos="100000">
                      <a:srgbClr val="FFFFFF"/>
                    </a:gs>
                  </a:gsLst>
                  <a:lin ang="5400000" scaled="0"/>
                </a:gradFill>
                <a:latin typeface="Segoe UI Light"/>
                <a:ea typeface="MS PGothic" panose="020B0600070205080204" pitchFamily="34" charset="-128"/>
              </a:endParaRPr>
            </a:p>
          </p:txBody>
        </p:sp>
        <p:sp>
          <p:nvSpPr>
            <p:cNvPr id="43" name="TextBox 42"/>
            <p:cNvSpPr txBox="1"/>
            <p:nvPr/>
          </p:nvSpPr>
          <p:spPr>
            <a:xfrm>
              <a:off x="-2006254" y="4543813"/>
              <a:ext cx="4027553" cy="1348061"/>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2745"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r>
                <a:rPr lang="en-US" sz="2745"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gions around the world</a:t>
              </a:r>
            </a:p>
          </p:txBody>
        </p:sp>
      </p:grpSp>
      <p:cxnSp>
        <p:nvCxnSpPr>
          <p:cNvPr id="44" name="Straight Connector 43"/>
          <p:cNvCxnSpPr/>
          <p:nvPr/>
        </p:nvCxnSpPr>
        <p:spPr>
          <a:xfrm>
            <a:off x="512338" y="4647929"/>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338" y="5531281"/>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982" y="4567747"/>
            <a:ext cx="3293647" cy="1294405"/>
          </a:xfrm>
          <a:prstGeom prst="rect">
            <a:avLst/>
          </a:prstGeom>
          <a:noFill/>
          <a:ln>
            <a:noFill/>
          </a:ln>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t>
            </a:r>
            <a:r>
              <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re than AWS and Google Cloud combined</a:t>
            </a:r>
            <a:br>
              <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7690" y="418189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7163" y="27977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7530" y="226254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6449" y="314383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9230" y="330361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5404" y="206531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8667" y="204030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900767" y="459997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3038" y="252731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6474" y="255795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9071" y="221992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9024" y="21418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9520" y="219169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5256" y="283765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4303" y="254737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4024" y="234307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41400" y="2724432"/>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3549" y="5163178"/>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22162" y="544637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5773" y="312047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1755" y="245142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5103" y="364189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3592" y="266173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1363" y="248211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5120745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798" dirty="0" err="1"/>
              <a:t>AutoScale</a:t>
            </a:r>
            <a:endParaRPr lang="en-US" sz="8798" dirty="0"/>
          </a:p>
        </p:txBody>
      </p:sp>
    </p:spTree>
    <p:extLst>
      <p:ext uri="{BB962C8B-B14F-4D97-AF65-F5344CB8AC3E}">
        <p14:creationId xmlns:p14="http://schemas.microsoft.com/office/powerpoint/2010/main" val="309702020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2"/>
          <a:stretch>
            <a:fillRect/>
          </a:stretch>
        </p:blipFill>
        <p:spPr>
          <a:xfrm>
            <a:off x="2845824" y="4756694"/>
            <a:ext cx="2172488" cy="1399878"/>
          </a:xfrm>
          <a:prstGeom prst="rect">
            <a:avLst/>
          </a:prstGeom>
        </p:spPr>
      </p:pic>
      <p:pic>
        <p:nvPicPr>
          <p:cNvPr id="30" name="Picture 29"/>
          <p:cNvPicPr>
            <a:picLocks noChangeAspect="1"/>
          </p:cNvPicPr>
          <p:nvPr/>
        </p:nvPicPr>
        <p:blipFill>
          <a:blip r:embed="rId3"/>
          <a:stretch>
            <a:fillRect/>
          </a:stretch>
        </p:blipFill>
        <p:spPr>
          <a:xfrm>
            <a:off x="6609431" y="487"/>
            <a:ext cx="5581706" cy="3613545"/>
          </a:xfrm>
          <a:prstGeom prst="rect">
            <a:avLst/>
          </a:prstGeom>
        </p:spPr>
      </p:pic>
      <p:pic>
        <p:nvPicPr>
          <p:cNvPr id="38" name="Picture 37"/>
          <p:cNvPicPr>
            <a:picLocks noChangeAspect="1"/>
          </p:cNvPicPr>
          <p:nvPr/>
        </p:nvPicPr>
        <p:blipFill>
          <a:blip r:embed="rId4"/>
          <a:stretch>
            <a:fillRect/>
          </a:stretch>
        </p:blipFill>
        <p:spPr>
          <a:xfrm>
            <a:off x="8314000" y="268006"/>
            <a:ext cx="3327078" cy="2147676"/>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pic>
        <p:nvPicPr>
          <p:cNvPr id="37" name="Picture 36"/>
          <p:cNvPicPr>
            <a:picLocks noChangeAspect="1"/>
          </p:cNvPicPr>
          <p:nvPr/>
        </p:nvPicPr>
        <p:blipFill>
          <a:blip r:embed="rId6"/>
          <a:stretch>
            <a:fillRect/>
          </a:stretch>
        </p:blipFill>
        <p:spPr>
          <a:xfrm>
            <a:off x="5276829" y="-372994"/>
            <a:ext cx="7263040" cy="4705631"/>
          </a:xfrm>
          <a:prstGeom prst="rect">
            <a:avLst/>
          </a:prstGeom>
        </p:spPr>
      </p:pic>
      <p:grpSp>
        <p:nvGrpSpPr>
          <p:cNvPr id="39" name="Group 38"/>
          <p:cNvGrpSpPr/>
          <p:nvPr/>
        </p:nvGrpSpPr>
        <p:grpSpPr>
          <a:xfrm>
            <a:off x="5208555" y="713748"/>
            <a:ext cx="2711923" cy="4039552"/>
            <a:chOff x="768089" y="-1605208"/>
            <a:chExt cx="3768750" cy="5613751"/>
          </a:xfrm>
        </p:grpSpPr>
        <p:pic>
          <p:nvPicPr>
            <p:cNvPr id="8" name="Picture 7"/>
            <p:cNvPicPr>
              <a:picLocks noChangeAspect="1"/>
            </p:cNvPicPr>
            <p:nvPr/>
          </p:nvPicPr>
          <p:blipFill>
            <a:blip r:embed="rId7"/>
            <a:stretch>
              <a:fillRect/>
            </a:stretch>
          </p:blipFill>
          <p:spPr>
            <a:xfrm>
              <a:off x="768089" y="-1605208"/>
              <a:ext cx="3768750" cy="5613751"/>
            </a:xfrm>
            <a:prstGeom prst="rect">
              <a:avLst/>
            </a:prstGeom>
          </p:spPr>
        </p:pic>
        <p:pic>
          <p:nvPicPr>
            <p:cNvPr id="14" name="Picture 13"/>
            <p:cNvPicPr>
              <a:picLocks noChangeAspect="1"/>
            </p:cNvPicPr>
            <p:nvPr/>
          </p:nvPicPr>
          <p:blipFill>
            <a:blip r:embed="rId8"/>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9"/>
          <a:stretch>
            <a:fillRect/>
          </a:stretch>
        </p:blipFill>
        <p:spPr>
          <a:xfrm>
            <a:off x="10155562" y="2524083"/>
            <a:ext cx="1468279" cy="948454"/>
          </a:xfrm>
          <a:prstGeom prst="rect">
            <a:avLst/>
          </a:prstGeom>
        </p:spPr>
      </p:pic>
      <p:pic>
        <p:nvPicPr>
          <p:cNvPr id="21" name="Picture 20"/>
          <p:cNvPicPr>
            <a:picLocks noChangeAspect="1"/>
          </p:cNvPicPr>
          <p:nvPr/>
        </p:nvPicPr>
        <p:blipFill>
          <a:blip r:embed="rId10"/>
          <a:stretch>
            <a:fillRect/>
          </a:stretch>
        </p:blipFill>
        <p:spPr>
          <a:xfrm>
            <a:off x="866" y="3742966"/>
            <a:ext cx="4821685" cy="3124218"/>
          </a:xfrm>
          <a:prstGeom prst="rect">
            <a:avLst/>
          </a:prstGeom>
        </p:spPr>
      </p:pic>
      <p:pic>
        <p:nvPicPr>
          <p:cNvPr id="22" name="Picture 21"/>
          <p:cNvPicPr>
            <a:picLocks noChangeAspect="1"/>
          </p:cNvPicPr>
          <p:nvPr/>
        </p:nvPicPr>
        <p:blipFill>
          <a:blip r:embed="rId11"/>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6174" y="3302234"/>
            <a:ext cx="2092203" cy="2339668"/>
          </a:xfrm>
          <a:prstGeom prst="rect">
            <a:avLst/>
          </a:prstGeom>
        </p:spPr>
      </p:pic>
      <p:pic>
        <p:nvPicPr>
          <p:cNvPr id="28" name="Picture 27"/>
          <p:cNvPicPr>
            <a:picLocks noChangeAspect="1"/>
          </p:cNvPicPr>
          <p:nvPr/>
        </p:nvPicPr>
        <p:blipFill>
          <a:blip r:embed="rId12"/>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5"/>
          <a:stretch>
            <a:fillRect/>
          </a:stretch>
        </p:blipFill>
        <p:spPr>
          <a:xfrm>
            <a:off x="2789279" y="4960695"/>
            <a:ext cx="447810" cy="1224016"/>
          </a:xfrm>
          <a:prstGeom prst="rect">
            <a:avLst/>
          </a:prstGeom>
        </p:spPr>
      </p:pic>
      <p:grpSp>
        <p:nvGrpSpPr>
          <p:cNvPr id="24" name="Group 23"/>
          <p:cNvGrpSpPr/>
          <p:nvPr/>
        </p:nvGrpSpPr>
        <p:grpSpPr>
          <a:xfrm>
            <a:off x="9787045" y="-79296"/>
            <a:ext cx="934656" cy="1104595"/>
            <a:chOff x="9827324" y="-40038"/>
            <a:chExt cx="934789" cy="1104751"/>
          </a:xfrm>
        </p:grpSpPr>
        <p:pic>
          <p:nvPicPr>
            <p:cNvPr id="25" name="Picture 24"/>
            <p:cNvPicPr>
              <a:picLocks noChangeAspect="1"/>
            </p:cNvPicPr>
            <p:nvPr/>
          </p:nvPicPr>
          <p:blipFill>
            <a:blip r:embed="rId12"/>
            <a:stretch>
              <a:fillRect/>
            </a:stretch>
          </p:blipFill>
          <p:spPr>
            <a:xfrm>
              <a:off x="9827324" y="-40038"/>
              <a:ext cx="934789" cy="1104751"/>
            </a:xfrm>
            <a:prstGeom prst="rect">
              <a:avLst/>
            </a:prstGeom>
          </p:spPr>
        </p:pic>
        <p:pic>
          <p:nvPicPr>
            <p:cNvPr id="40" name="Picture 39"/>
            <p:cNvPicPr>
              <a:picLocks noChangeAspect="1"/>
            </p:cNvPicPr>
            <p:nvPr/>
          </p:nvPicPr>
          <p:blipFill>
            <a:blip r:embed="rId16"/>
            <a:stretch>
              <a:fillRect/>
            </a:stretch>
          </p:blipFill>
          <p:spPr>
            <a:xfrm>
              <a:off x="10368710" y="254515"/>
              <a:ext cx="147937" cy="295874"/>
            </a:xfrm>
            <a:prstGeom prst="rect">
              <a:avLst/>
            </a:prstGeom>
          </p:spPr>
        </p:pic>
      </p:grpSp>
      <p:sp>
        <p:nvSpPr>
          <p:cNvPr id="52" name="TextBox 51"/>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163778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2"/>
          <a:stretch>
            <a:fillRect/>
          </a:stretch>
        </p:blipFill>
        <p:spPr>
          <a:xfrm>
            <a:off x="1908974" y="4146658"/>
            <a:ext cx="2172488" cy="1399878"/>
          </a:xfrm>
          <a:prstGeom prst="rect">
            <a:avLst/>
          </a:prstGeom>
        </p:spPr>
      </p:pic>
      <p:pic>
        <p:nvPicPr>
          <p:cNvPr id="26" name="Picture 25"/>
          <p:cNvPicPr>
            <a:picLocks noChangeAspect="1"/>
          </p:cNvPicPr>
          <p:nvPr/>
        </p:nvPicPr>
        <p:blipFill>
          <a:blip r:embed="rId2"/>
          <a:stretch>
            <a:fillRect/>
          </a:stretch>
        </p:blipFill>
        <p:spPr>
          <a:xfrm>
            <a:off x="2845824" y="4756694"/>
            <a:ext cx="2172488" cy="1399878"/>
          </a:xfrm>
          <a:prstGeom prst="rect">
            <a:avLst/>
          </a:prstGeom>
        </p:spPr>
      </p:pic>
      <p:pic>
        <p:nvPicPr>
          <p:cNvPr id="30" name="Picture 29"/>
          <p:cNvPicPr>
            <a:picLocks noChangeAspect="1"/>
          </p:cNvPicPr>
          <p:nvPr/>
        </p:nvPicPr>
        <p:blipFill>
          <a:blip r:embed="rId3"/>
          <a:stretch>
            <a:fillRect/>
          </a:stretch>
        </p:blipFill>
        <p:spPr>
          <a:xfrm>
            <a:off x="6609431" y="487"/>
            <a:ext cx="5581706" cy="3613545"/>
          </a:xfrm>
          <a:prstGeom prst="rect">
            <a:avLst/>
          </a:prstGeom>
        </p:spPr>
      </p:pic>
      <p:pic>
        <p:nvPicPr>
          <p:cNvPr id="38" name="Picture 37"/>
          <p:cNvPicPr>
            <a:picLocks noChangeAspect="1"/>
          </p:cNvPicPr>
          <p:nvPr/>
        </p:nvPicPr>
        <p:blipFill>
          <a:blip r:embed="rId4"/>
          <a:stretch>
            <a:fillRect/>
          </a:stretch>
        </p:blipFill>
        <p:spPr>
          <a:xfrm>
            <a:off x="8314000" y="268006"/>
            <a:ext cx="3327078" cy="2147676"/>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pic>
        <p:nvPicPr>
          <p:cNvPr id="37" name="Picture 36"/>
          <p:cNvPicPr>
            <a:picLocks noChangeAspect="1"/>
          </p:cNvPicPr>
          <p:nvPr/>
        </p:nvPicPr>
        <p:blipFill>
          <a:blip r:embed="rId6"/>
          <a:stretch>
            <a:fillRect/>
          </a:stretch>
        </p:blipFill>
        <p:spPr>
          <a:xfrm>
            <a:off x="5276829" y="-372994"/>
            <a:ext cx="7263040" cy="4705631"/>
          </a:xfrm>
          <a:prstGeom prst="rect">
            <a:avLst/>
          </a:prstGeom>
        </p:spPr>
      </p:pic>
      <p:pic>
        <p:nvPicPr>
          <p:cNvPr id="16" name="Picture 15"/>
          <p:cNvPicPr>
            <a:picLocks noChangeAspect="1"/>
          </p:cNvPicPr>
          <p:nvPr/>
        </p:nvPicPr>
        <p:blipFill>
          <a:blip r:embed="rId7"/>
          <a:stretch>
            <a:fillRect/>
          </a:stretch>
        </p:blipFill>
        <p:spPr>
          <a:xfrm>
            <a:off x="10155562" y="2524083"/>
            <a:ext cx="1468279" cy="948454"/>
          </a:xfrm>
          <a:prstGeom prst="rect">
            <a:avLst/>
          </a:prstGeom>
        </p:spPr>
      </p:pic>
      <p:pic>
        <p:nvPicPr>
          <p:cNvPr id="21" name="Picture 20"/>
          <p:cNvPicPr>
            <a:picLocks noChangeAspect="1"/>
          </p:cNvPicPr>
          <p:nvPr/>
        </p:nvPicPr>
        <p:blipFill>
          <a:blip r:embed="rId8"/>
          <a:stretch>
            <a:fillRect/>
          </a:stretch>
        </p:blipFill>
        <p:spPr>
          <a:xfrm>
            <a:off x="866" y="3742966"/>
            <a:ext cx="4821685" cy="3124218"/>
          </a:xfrm>
          <a:prstGeom prst="rect">
            <a:avLst/>
          </a:prstGeom>
        </p:spPr>
      </p:pic>
      <p:pic>
        <p:nvPicPr>
          <p:cNvPr id="22" name="Picture 21"/>
          <p:cNvPicPr>
            <a:picLocks noChangeAspect="1"/>
          </p:cNvPicPr>
          <p:nvPr/>
        </p:nvPicPr>
        <p:blipFill>
          <a:blip r:embed="rId9"/>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27" name="Picture 26"/>
          <p:cNvPicPr>
            <a:picLocks noChangeAspect="1"/>
          </p:cNvPicPr>
          <p:nvPr/>
        </p:nvPicPr>
        <p:blipFill>
          <a:blip r:embed="rId12"/>
          <a:stretch>
            <a:fillRect/>
          </a:stretch>
        </p:blipFill>
        <p:spPr>
          <a:xfrm>
            <a:off x="216174" y="3302234"/>
            <a:ext cx="2092203" cy="2339668"/>
          </a:xfrm>
          <a:prstGeom prst="rect">
            <a:avLst/>
          </a:prstGeom>
        </p:spPr>
      </p:pic>
      <p:pic>
        <p:nvPicPr>
          <p:cNvPr id="28" name="Picture 27"/>
          <p:cNvPicPr>
            <a:picLocks noChangeAspect="1"/>
          </p:cNvPicPr>
          <p:nvPr/>
        </p:nvPicPr>
        <p:blipFill>
          <a:blip r:embed="rId10"/>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3"/>
          <a:stretch>
            <a:fillRect/>
          </a:stretch>
        </p:blipFill>
        <p:spPr>
          <a:xfrm>
            <a:off x="2789279" y="4960695"/>
            <a:ext cx="447810" cy="1224016"/>
          </a:xfrm>
          <a:prstGeom prst="rect">
            <a:avLst/>
          </a:prstGeom>
        </p:spPr>
      </p:pic>
      <p:grpSp>
        <p:nvGrpSpPr>
          <p:cNvPr id="41" name="Group 40"/>
          <p:cNvGrpSpPr/>
          <p:nvPr/>
        </p:nvGrpSpPr>
        <p:grpSpPr>
          <a:xfrm>
            <a:off x="2607238" y="-984182"/>
            <a:ext cx="2711923" cy="4039552"/>
            <a:chOff x="768089" y="-1605208"/>
            <a:chExt cx="3768750" cy="5613751"/>
          </a:xfrm>
        </p:grpSpPr>
        <p:pic>
          <p:nvPicPr>
            <p:cNvPr id="42" name="Picture 41"/>
            <p:cNvPicPr>
              <a:picLocks noChangeAspect="1"/>
            </p:cNvPicPr>
            <p:nvPr/>
          </p:nvPicPr>
          <p:blipFill>
            <a:blip r:embed="rId14"/>
            <a:stretch>
              <a:fillRect/>
            </a:stretch>
          </p:blipFill>
          <p:spPr>
            <a:xfrm>
              <a:off x="768089" y="-1605208"/>
              <a:ext cx="3768750" cy="5613751"/>
            </a:xfrm>
            <a:prstGeom prst="rect">
              <a:avLst/>
            </a:prstGeom>
          </p:spPr>
        </p:pic>
        <p:pic>
          <p:nvPicPr>
            <p:cNvPr id="43" name="Picture 42"/>
            <p:cNvPicPr>
              <a:picLocks noChangeAspect="1"/>
            </p:cNvPicPr>
            <p:nvPr/>
          </p:nvPicPr>
          <p:blipFill>
            <a:blip r:embed="rId15"/>
            <a:stretch>
              <a:fillRect/>
            </a:stretch>
          </p:blipFill>
          <p:spPr>
            <a:xfrm>
              <a:off x="1755198" y="534480"/>
              <a:ext cx="1361250" cy="1800000"/>
            </a:xfrm>
            <a:prstGeom prst="rect">
              <a:avLst/>
            </a:prstGeom>
          </p:spPr>
        </p:pic>
      </p:grpSp>
      <p:grpSp>
        <p:nvGrpSpPr>
          <p:cNvPr id="47" name="Group 46"/>
          <p:cNvGrpSpPr/>
          <p:nvPr/>
        </p:nvGrpSpPr>
        <p:grpSpPr>
          <a:xfrm>
            <a:off x="5208555" y="713748"/>
            <a:ext cx="2711923" cy="4039552"/>
            <a:chOff x="768089" y="-1605208"/>
            <a:chExt cx="3768750" cy="5613751"/>
          </a:xfrm>
        </p:grpSpPr>
        <p:pic>
          <p:nvPicPr>
            <p:cNvPr id="48" name="Picture 47"/>
            <p:cNvPicPr>
              <a:picLocks noChangeAspect="1"/>
            </p:cNvPicPr>
            <p:nvPr/>
          </p:nvPicPr>
          <p:blipFill>
            <a:blip r:embed="rId14"/>
            <a:stretch>
              <a:fillRect/>
            </a:stretch>
          </p:blipFill>
          <p:spPr>
            <a:xfrm>
              <a:off x="768089" y="-1605208"/>
              <a:ext cx="3768750" cy="5613751"/>
            </a:xfrm>
            <a:prstGeom prst="rect">
              <a:avLst/>
            </a:prstGeom>
          </p:spPr>
        </p:pic>
        <p:pic>
          <p:nvPicPr>
            <p:cNvPr id="49" name="Picture 48"/>
            <p:cNvPicPr>
              <a:picLocks noChangeAspect="1"/>
            </p:cNvPicPr>
            <p:nvPr/>
          </p:nvPicPr>
          <p:blipFill>
            <a:blip r:embed="rId15"/>
            <a:stretch>
              <a:fillRect/>
            </a:stretch>
          </p:blipFill>
          <p:spPr>
            <a:xfrm>
              <a:off x="1755198" y="534480"/>
              <a:ext cx="1361250" cy="1800000"/>
            </a:xfrm>
            <a:prstGeom prst="rect">
              <a:avLst/>
            </a:prstGeom>
          </p:spPr>
        </p:pic>
      </p:grpSp>
      <p:grpSp>
        <p:nvGrpSpPr>
          <p:cNvPr id="50" name="Group 49"/>
          <p:cNvGrpSpPr/>
          <p:nvPr/>
        </p:nvGrpSpPr>
        <p:grpSpPr>
          <a:xfrm>
            <a:off x="7777218" y="2422563"/>
            <a:ext cx="2711923" cy="4039552"/>
            <a:chOff x="768089" y="-1605208"/>
            <a:chExt cx="3768750" cy="5613751"/>
          </a:xfrm>
        </p:grpSpPr>
        <p:pic>
          <p:nvPicPr>
            <p:cNvPr id="51" name="Picture 50"/>
            <p:cNvPicPr>
              <a:picLocks noChangeAspect="1"/>
            </p:cNvPicPr>
            <p:nvPr/>
          </p:nvPicPr>
          <p:blipFill>
            <a:blip r:embed="rId14"/>
            <a:stretch>
              <a:fillRect/>
            </a:stretch>
          </p:blipFill>
          <p:spPr>
            <a:xfrm>
              <a:off x="768089" y="-1605208"/>
              <a:ext cx="3768750" cy="5613751"/>
            </a:xfrm>
            <a:prstGeom prst="rect">
              <a:avLst/>
            </a:prstGeom>
          </p:spPr>
        </p:pic>
        <p:pic>
          <p:nvPicPr>
            <p:cNvPr id="52" name="Picture 51"/>
            <p:cNvPicPr>
              <a:picLocks noChangeAspect="1"/>
            </p:cNvPicPr>
            <p:nvPr/>
          </p:nvPicPr>
          <p:blipFill>
            <a:blip r:embed="rId15"/>
            <a:stretch>
              <a:fillRect/>
            </a:stretch>
          </p:blipFill>
          <p:spPr>
            <a:xfrm>
              <a:off x="1755198" y="534480"/>
              <a:ext cx="1361250" cy="1800000"/>
            </a:xfrm>
            <a:prstGeom prst="rect">
              <a:avLst/>
            </a:prstGeom>
          </p:spPr>
        </p:pic>
      </p:grpSp>
      <p:sp>
        <p:nvSpPr>
          <p:cNvPr id="39" name="TextBox 38"/>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grpSp>
        <p:nvGrpSpPr>
          <p:cNvPr id="31" name="Group 30"/>
          <p:cNvGrpSpPr/>
          <p:nvPr/>
        </p:nvGrpSpPr>
        <p:grpSpPr>
          <a:xfrm>
            <a:off x="9787045" y="-79296"/>
            <a:ext cx="934656" cy="1104595"/>
            <a:chOff x="9827324" y="-40038"/>
            <a:chExt cx="934789" cy="1104751"/>
          </a:xfrm>
        </p:grpSpPr>
        <p:pic>
          <p:nvPicPr>
            <p:cNvPr id="40" name="Picture 39"/>
            <p:cNvPicPr>
              <a:picLocks noChangeAspect="1"/>
            </p:cNvPicPr>
            <p:nvPr/>
          </p:nvPicPr>
          <p:blipFill>
            <a:blip r:embed="rId10"/>
            <a:stretch>
              <a:fillRect/>
            </a:stretch>
          </p:blipFill>
          <p:spPr>
            <a:xfrm>
              <a:off x="9827324" y="-40038"/>
              <a:ext cx="934789" cy="1104751"/>
            </a:xfrm>
            <a:prstGeom prst="rect">
              <a:avLst/>
            </a:prstGeom>
          </p:spPr>
        </p:pic>
        <p:pic>
          <p:nvPicPr>
            <p:cNvPr id="44" name="Picture 43"/>
            <p:cNvPicPr>
              <a:picLocks noChangeAspect="1"/>
            </p:cNvPicPr>
            <p:nvPr/>
          </p:nvPicPr>
          <p:blipFill>
            <a:blip r:embed="rId16"/>
            <a:stretch>
              <a:fillRect/>
            </a:stretch>
          </p:blipFill>
          <p:spPr>
            <a:xfrm>
              <a:off x="10368710" y="254515"/>
              <a:ext cx="147937" cy="295874"/>
            </a:xfrm>
            <a:prstGeom prst="rect">
              <a:avLst/>
            </a:prstGeom>
          </p:spPr>
        </p:pic>
      </p:grpSp>
      <p:sp>
        <p:nvSpPr>
          <p:cNvPr id="34" name="TextBox 33"/>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342119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par>
                                <p:cTn id="12" presetID="10" presetClass="entr" presetSubtype="0" fill="hold" nodeType="withEffect">
                                  <p:stCondLst>
                                    <p:cond delay="25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2"/>
          <a:stretch>
            <a:fillRect/>
          </a:stretch>
        </p:blipFill>
        <p:spPr>
          <a:xfrm>
            <a:off x="5276829" y="-372994"/>
            <a:ext cx="7263040" cy="4705631"/>
          </a:xfrm>
          <a:prstGeom prst="rect">
            <a:avLst/>
          </a:prstGeom>
        </p:spPr>
      </p:pic>
      <p:grpSp>
        <p:nvGrpSpPr>
          <p:cNvPr id="39" name="Group 38"/>
          <p:cNvGrpSpPr/>
          <p:nvPr/>
        </p:nvGrpSpPr>
        <p:grpSpPr>
          <a:xfrm>
            <a:off x="27690" y="-2671227"/>
            <a:ext cx="2711923" cy="4039552"/>
            <a:chOff x="768089" y="-1605208"/>
            <a:chExt cx="3768750" cy="5613751"/>
          </a:xfrm>
        </p:grpSpPr>
        <p:pic>
          <p:nvPicPr>
            <p:cNvPr id="44" name="Picture 43"/>
            <p:cNvPicPr>
              <a:picLocks noChangeAspect="1"/>
            </p:cNvPicPr>
            <p:nvPr/>
          </p:nvPicPr>
          <p:blipFill>
            <a:blip r:embed="rId3"/>
            <a:stretch>
              <a:fillRect/>
            </a:stretch>
          </p:blipFill>
          <p:spPr>
            <a:xfrm>
              <a:off x="768089" y="-1605208"/>
              <a:ext cx="3768750" cy="5613751"/>
            </a:xfrm>
            <a:prstGeom prst="rect">
              <a:avLst/>
            </a:prstGeom>
          </p:spPr>
        </p:pic>
        <p:pic>
          <p:nvPicPr>
            <p:cNvPr id="45" name="Picture 44"/>
            <p:cNvPicPr>
              <a:picLocks noChangeAspect="1"/>
            </p:cNvPicPr>
            <p:nvPr/>
          </p:nvPicPr>
          <p:blipFill>
            <a:blip r:embed="rId4"/>
            <a:stretch>
              <a:fillRect/>
            </a:stretch>
          </p:blipFill>
          <p:spPr>
            <a:xfrm>
              <a:off x="1755198" y="534480"/>
              <a:ext cx="1361250" cy="1800000"/>
            </a:xfrm>
            <a:prstGeom prst="rect">
              <a:avLst/>
            </a:prstGeom>
          </p:spPr>
        </p:pic>
      </p:grpSp>
      <p:pic>
        <p:nvPicPr>
          <p:cNvPr id="26" name="Picture 25"/>
          <p:cNvPicPr>
            <a:picLocks noChangeAspect="1"/>
          </p:cNvPicPr>
          <p:nvPr/>
        </p:nvPicPr>
        <p:blipFill>
          <a:blip r:embed="rId5"/>
          <a:stretch>
            <a:fillRect/>
          </a:stretch>
        </p:blipFill>
        <p:spPr>
          <a:xfrm>
            <a:off x="2845824" y="4756694"/>
            <a:ext cx="2172488" cy="1399878"/>
          </a:xfrm>
          <a:prstGeom prst="rect">
            <a:avLst/>
          </a:prstGeom>
        </p:spPr>
      </p:pic>
      <p:pic>
        <p:nvPicPr>
          <p:cNvPr id="30" name="Picture 29"/>
          <p:cNvPicPr>
            <a:picLocks noChangeAspect="1"/>
          </p:cNvPicPr>
          <p:nvPr/>
        </p:nvPicPr>
        <p:blipFill>
          <a:blip r:embed="rId6"/>
          <a:stretch>
            <a:fillRect/>
          </a:stretch>
        </p:blipFill>
        <p:spPr>
          <a:xfrm>
            <a:off x="6609431" y="487"/>
            <a:ext cx="5581706" cy="3613545"/>
          </a:xfrm>
          <a:prstGeom prst="rect">
            <a:avLst/>
          </a:prstGeom>
        </p:spPr>
      </p:pic>
      <p:pic>
        <p:nvPicPr>
          <p:cNvPr id="38" name="Picture 37"/>
          <p:cNvPicPr>
            <a:picLocks noChangeAspect="1"/>
          </p:cNvPicPr>
          <p:nvPr/>
        </p:nvPicPr>
        <p:blipFill>
          <a:blip r:embed="rId7"/>
          <a:stretch>
            <a:fillRect/>
          </a:stretch>
        </p:blipFill>
        <p:spPr>
          <a:xfrm>
            <a:off x="8314000" y="268006"/>
            <a:ext cx="3327078" cy="2147676"/>
          </a:xfrm>
          <a:prstGeom prst="rect">
            <a:avLst/>
          </a:prstGeom>
        </p:spPr>
      </p:pic>
      <p:pic>
        <p:nvPicPr>
          <p:cNvPr id="18" name="Picture 17"/>
          <p:cNvPicPr>
            <a:picLocks noChangeAspect="1"/>
          </p:cNvPicPr>
          <p:nvPr/>
        </p:nvPicPr>
        <p:blipFill>
          <a:blip r:embed="rId8"/>
          <a:stretch>
            <a:fillRect/>
          </a:stretch>
        </p:blipFill>
        <p:spPr>
          <a:xfrm>
            <a:off x="3412383" y="1563001"/>
            <a:ext cx="6670141" cy="4309938"/>
          </a:xfrm>
          <a:prstGeom prst="rect">
            <a:avLst/>
          </a:prstGeom>
        </p:spPr>
      </p:pic>
      <p:pic>
        <p:nvPicPr>
          <p:cNvPr id="16" name="Picture 15"/>
          <p:cNvPicPr>
            <a:picLocks noChangeAspect="1"/>
          </p:cNvPicPr>
          <p:nvPr/>
        </p:nvPicPr>
        <p:blipFill>
          <a:blip r:embed="rId9"/>
          <a:stretch>
            <a:fillRect/>
          </a:stretch>
        </p:blipFill>
        <p:spPr>
          <a:xfrm>
            <a:off x="10155562" y="2524083"/>
            <a:ext cx="1468279" cy="948454"/>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1" name="Group 40"/>
          <p:cNvGrpSpPr/>
          <p:nvPr/>
        </p:nvGrpSpPr>
        <p:grpSpPr>
          <a:xfrm>
            <a:off x="2607238" y="-984182"/>
            <a:ext cx="2711923" cy="4039552"/>
            <a:chOff x="768089" y="-1605208"/>
            <a:chExt cx="3768750" cy="5613751"/>
          </a:xfrm>
        </p:grpSpPr>
        <p:pic>
          <p:nvPicPr>
            <p:cNvPr id="42" name="Picture 41"/>
            <p:cNvPicPr>
              <a:picLocks noChangeAspect="1"/>
            </p:cNvPicPr>
            <p:nvPr/>
          </p:nvPicPr>
          <p:blipFill>
            <a:blip r:embed="rId3"/>
            <a:stretch>
              <a:fillRect/>
            </a:stretch>
          </p:blipFill>
          <p:spPr>
            <a:xfrm>
              <a:off x="768089" y="-1605208"/>
              <a:ext cx="3768750" cy="5613751"/>
            </a:xfrm>
            <a:prstGeom prst="rect">
              <a:avLst/>
            </a:prstGeom>
          </p:spPr>
        </p:pic>
        <p:pic>
          <p:nvPicPr>
            <p:cNvPr id="43" name="Picture 42"/>
            <p:cNvPicPr>
              <a:picLocks noChangeAspect="1"/>
            </p:cNvPicPr>
            <p:nvPr/>
          </p:nvPicPr>
          <p:blipFill>
            <a:blip r:embed="rId4"/>
            <a:stretch>
              <a:fillRect/>
            </a:stretch>
          </p:blipFill>
          <p:spPr>
            <a:xfrm>
              <a:off x="1755198" y="534480"/>
              <a:ext cx="1361250" cy="1800000"/>
            </a:xfrm>
            <a:prstGeom prst="rect">
              <a:avLst/>
            </a:prstGeom>
          </p:spPr>
        </p:pic>
      </p:grpSp>
      <p:grpSp>
        <p:nvGrpSpPr>
          <p:cNvPr id="47" name="Group 46"/>
          <p:cNvGrpSpPr/>
          <p:nvPr/>
        </p:nvGrpSpPr>
        <p:grpSpPr>
          <a:xfrm>
            <a:off x="5208555" y="713748"/>
            <a:ext cx="2711923" cy="4039552"/>
            <a:chOff x="768089" y="-1605208"/>
            <a:chExt cx="3768750" cy="5613751"/>
          </a:xfrm>
        </p:grpSpPr>
        <p:pic>
          <p:nvPicPr>
            <p:cNvPr id="48" name="Picture 47"/>
            <p:cNvPicPr>
              <a:picLocks noChangeAspect="1"/>
            </p:cNvPicPr>
            <p:nvPr/>
          </p:nvPicPr>
          <p:blipFill>
            <a:blip r:embed="rId3"/>
            <a:stretch>
              <a:fillRect/>
            </a:stretch>
          </p:blipFill>
          <p:spPr>
            <a:xfrm>
              <a:off x="768089" y="-1605208"/>
              <a:ext cx="3768750" cy="5613751"/>
            </a:xfrm>
            <a:prstGeom prst="rect">
              <a:avLst/>
            </a:prstGeom>
          </p:spPr>
        </p:pic>
        <p:pic>
          <p:nvPicPr>
            <p:cNvPr id="49" name="Picture 48"/>
            <p:cNvPicPr>
              <a:picLocks noChangeAspect="1"/>
            </p:cNvPicPr>
            <p:nvPr/>
          </p:nvPicPr>
          <p:blipFill>
            <a:blip r:embed="rId4"/>
            <a:stretch>
              <a:fillRect/>
            </a:stretch>
          </p:blipFill>
          <p:spPr>
            <a:xfrm>
              <a:off x="1755198" y="534480"/>
              <a:ext cx="1361250" cy="1800000"/>
            </a:xfrm>
            <a:prstGeom prst="rect">
              <a:avLst/>
            </a:prstGeom>
          </p:spPr>
        </p:pic>
      </p:grpSp>
      <p:grpSp>
        <p:nvGrpSpPr>
          <p:cNvPr id="50" name="Group 49"/>
          <p:cNvGrpSpPr/>
          <p:nvPr/>
        </p:nvGrpSpPr>
        <p:grpSpPr>
          <a:xfrm>
            <a:off x="7777218" y="2422563"/>
            <a:ext cx="2711923" cy="4039552"/>
            <a:chOff x="768089" y="-1605208"/>
            <a:chExt cx="3768750" cy="5613751"/>
          </a:xfrm>
        </p:grpSpPr>
        <p:pic>
          <p:nvPicPr>
            <p:cNvPr id="51" name="Picture 50"/>
            <p:cNvPicPr>
              <a:picLocks noChangeAspect="1"/>
            </p:cNvPicPr>
            <p:nvPr/>
          </p:nvPicPr>
          <p:blipFill>
            <a:blip r:embed="rId3"/>
            <a:stretch>
              <a:fillRect/>
            </a:stretch>
          </p:blipFill>
          <p:spPr>
            <a:xfrm>
              <a:off x="768089" y="-1605208"/>
              <a:ext cx="3768750" cy="5613751"/>
            </a:xfrm>
            <a:prstGeom prst="rect">
              <a:avLst/>
            </a:prstGeom>
          </p:spPr>
        </p:pic>
        <p:pic>
          <p:nvPicPr>
            <p:cNvPr id="52" name="Picture 51"/>
            <p:cNvPicPr>
              <a:picLocks noChangeAspect="1"/>
            </p:cNvPicPr>
            <p:nvPr/>
          </p:nvPicPr>
          <p:blipFill>
            <a:blip r:embed="rId4"/>
            <a:stretch>
              <a:fillRect/>
            </a:stretch>
          </p:blipFill>
          <p:spPr>
            <a:xfrm>
              <a:off x="1755198" y="534480"/>
              <a:ext cx="1361250" cy="1800000"/>
            </a:xfrm>
            <a:prstGeom prst="rect">
              <a:avLst/>
            </a:prstGeom>
          </p:spPr>
        </p:pic>
      </p:grpSp>
      <p:grpSp>
        <p:nvGrpSpPr>
          <p:cNvPr id="46" name="Group 45"/>
          <p:cNvGrpSpPr/>
          <p:nvPr/>
        </p:nvGrpSpPr>
        <p:grpSpPr>
          <a:xfrm>
            <a:off x="10356766" y="4131379"/>
            <a:ext cx="2711923" cy="4039552"/>
            <a:chOff x="768089" y="-1605208"/>
            <a:chExt cx="3768750" cy="5613751"/>
          </a:xfrm>
        </p:grpSpPr>
        <p:pic>
          <p:nvPicPr>
            <p:cNvPr id="54" name="Picture 53"/>
            <p:cNvPicPr>
              <a:picLocks noChangeAspect="1"/>
            </p:cNvPicPr>
            <p:nvPr/>
          </p:nvPicPr>
          <p:blipFill>
            <a:blip r:embed="rId3"/>
            <a:stretch>
              <a:fillRect/>
            </a:stretch>
          </p:blipFill>
          <p:spPr>
            <a:xfrm>
              <a:off x="768089" y="-1605208"/>
              <a:ext cx="3768750" cy="5613751"/>
            </a:xfrm>
            <a:prstGeom prst="rect">
              <a:avLst/>
            </a:prstGeom>
          </p:spPr>
        </p:pic>
        <p:pic>
          <p:nvPicPr>
            <p:cNvPr id="55" name="Picture 54"/>
            <p:cNvPicPr>
              <a:picLocks noChangeAspect="1"/>
            </p:cNvPicPr>
            <p:nvPr/>
          </p:nvPicPr>
          <p:blipFill>
            <a:blip r:embed="rId4"/>
            <a:stretch>
              <a:fillRect/>
            </a:stretch>
          </p:blipFill>
          <p:spPr>
            <a:xfrm>
              <a:off x="1755198" y="534480"/>
              <a:ext cx="1361250" cy="1800000"/>
            </a:xfrm>
            <a:prstGeom prst="rect">
              <a:avLst/>
            </a:prstGeom>
          </p:spPr>
        </p:pic>
      </p:grpSp>
      <p:grpSp>
        <p:nvGrpSpPr>
          <p:cNvPr id="56" name="Group 55"/>
          <p:cNvGrpSpPr/>
          <p:nvPr/>
        </p:nvGrpSpPr>
        <p:grpSpPr>
          <a:xfrm>
            <a:off x="2607238" y="-3411351"/>
            <a:ext cx="2711923" cy="4039552"/>
            <a:chOff x="768089" y="-1605208"/>
            <a:chExt cx="3768750" cy="5613751"/>
          </a:xfrm>
        </p:grpSpPr>
        <p:pic>
          <p:nvPicPr>
            <p:cNvPr id="57" name="Picture 56"/>
            <p:cNvPicPr>
              <a:picLocks noChangeAspect="1"/>
            </p:cNvPicPr>
            <p:nvPr/>
          </p:nvPicPr>
          <p:blipFill>
            <a:blip r:embed="rId3"/>
            <a:stretch>
              <a:fillRect/>
            </a:stretch>
          </p:blipFill>
          <p:spPr>
            <a:xfrm>
              <a:off x="768089" y="-1605208"/>
              <a:ext cx="3768750" cy="5613751"/>
            </a:xfrm>
            <a:prstGeom prst="rect">
              <a:avLst/>
            </a:prstGeom>
          </p:spPr>
        </p:pic>
        <p:pic>
          <p:nvPicPr>
            <p:cNvPr id="58" name="Picture 57"/>
            <p:cNvPicPr>
              <a:picLocks noChangeAspect="1"/>
            </p:cNvPicPr>
            <p:nvPr/>
          </p:nvPicPr>
          <p:blipFill>
            <a:blip r:embed="rId4"/>
            <a:stretch>
              <a:fillRect/>
            </a:stretch>
          </p:blipFill>
          <p:spPr>
            <a:xfrm>
              <a:off x="1755198" y="534480"/>
              <a:ext cx="1361250" cy="1800000"/>
            </a:xfrm>
            <a:prstGeom prst="rect">
              <a:avLst/>
            </a:prstGeom>
          </p:spPr>
        </p:pic>
      </p:grpSp>
      <p:grpSp>
        <p:nvGrpSpPr>
          <p:cNvPr id="59" name="Group 58"/>
          <p:cNvGrpSpPr/>
          <p:nvPr/>
        </p:nvGrpSpPr>
        <p:grpSpPr>
          <a:xfrm>
            <a:off x="5208555" y="-1713421"/>
            <a:ext cx="2711923" cy="4039552"/>
            <a:chOff x="768089" y="-1605208"/>
            <a:chExt cx="3768750" cy="5613751"/>
          </a:xfrm>
        </p:grpSpPr>
        <p:pic>
          <p:nvPicPr>
            <p:cNvPr id="60" name="Picture 59"/>
            <p:cNvPicPr>
              <a:picLocks noChangeAspect="1"/>
            </p:cNvPicPr>
            <p:nvPr/>
          </p:nvPicPr>
          <p:blipFill>
            <a:blip r:embed="rId3"/>
            <a:stretch>
              <a:fillRect/>
            </a:stretch>
          </p:blipFill>
          <p:spPr>
            <a:xfrm>
              <a:off x="768089" y="-1605208"/>
              <a:ext cx="3768750" cy="5613751"/>
            </a:xfrm>
            <a:prstGeom prst="rect">
              <a:avLst/>
            </a:prstGeom>
          </p:spPr>
        </p:pic>
        <p:pic>
          <p:nvPicPr>
            <p:cNvPr id="61" name="Picture 60"/>
            <p:cNvPicPr>
              <a:picLocks noChangeAspect="1"/>
            </p:cNvPicPr>
            <p:nvPr/>
          </p:nvPicPr>
          <p:blipFill>
            <a:blip r:embed="rId4"/>
            <a:stretch>
              <a:fillRect/>
            </a:stretch>
          </p:blipFill>
          <p:spPr>
            <a:xfrm>
              <a:off x="1755198" y="534480"/>
              <a:ext cx="1361250" cy="1800000"/>
            </a:xfrm>
            <a:prstGeom prst="rect">
              <a:avLst/>
            </a:prstGeom>
          </p:spPr>
        </p:pic>
      </p:grpSp>
      <p:grpSp>
        <p:nvGrpSpPr>
          <p:cNvPr id="62" name="Group 61"/>
          <p:cNvGrpSpPr/>
          <p:nvPr/>
        </p:nvGrpSpPr>
        <p:grpSpPr>
          <a:xfrm>
            <a:off x="7777218" y="-4606"/>
            <a:ext cx="2711923" cy="4039552"/>
            <a:chOff x="768089" y="-1605208"/>
            <a:chExt cx="3768750" cy="5613751"/>
          </a:xfrm>
        </p:grpSpPr>
        <p:pic>
          <p:nvPicPr>
            <p:cNvPr id="63" name="Picture 62"/>
            <p:cNvPicPr>
              <a:picLocks noChangeAspect="1"/>
            </p:cNvPicPr>
            <p:nvPr/>
          </p:nvPicPr>
          <p:blipFill>
            <a:blip r:embed="rId3"/>
            <a:stretch>
              <a:fillRect/>
            </a:stretch>
          </p:blipFill>
          <p:spPr>
            <a:xfrm>
              <a:off x="768089" y="-1605208"/>
              <a:ext cx="3768750" cy="5613751"/>
            </a:xfrm>
            <a:prstGeom prst="rect">
              <a:avLst/>
            </a:prstGeom>
          </p:spPr>
        </p:pic>
        <p:pic>
          <p:nvPicPr>
            <p:cNvPr id="64" name="Picture 63"/>
            <p:cNvPicPr>
              <a:picLocks noChangeAspect="1"/>
            </p:cNvPicPr>
            <p:nvPr/>
          </p:nvPicPr>
          <p:blipFill>
            <a:blip r:embed="rId4"/>
            <a:stretch>
              <a:fillRect/>
            </a:stretch>
          </p:blipFill>
          <p:spPr>
            <a:xfrm>
              <a:off x="1755198" y="534480"/>
              <a:ext cx="1361250" cy="1800000"/>
            </a:xfrm>
            <a:prstGeom prst="rect">
              <a:avLst/>
            </a:prstGeom>
          </p:spPr>
        </p:pic>
      </p:grpSp>
      <p:grpSp>
        <p:nvGrpSpPr>
          <p:cNvPr id="65" name="Group 64"/>
          <p:cNvGrpSpPr/>
          <p:nvPr/>
        </p:nvGrpSpPr>
        <p:grpSpPr>
          <a:xfrm>
            <a:off x="10356766" y="1704210"/>
            <a:ext cx="2711923" cy="4039552"/>
            <a:chOff x="768089" y="-1605208"/>
            <a:chExt cx="3768750" cy="5613751"/>
          </a:xfrm>
        </p:grpSpPr>
        <p:pic>
          <p:nvPicPr>
            <p:cNvPr id="66" name="Picture 65"/>
            <p:cNvPicPr>
              <a:picLocks noChangeAspect="1"/>
            </p:cNvPicPr>
            <p:nvPr/>
          </p:nvPicPr>
          <p:blipFill>
            <a:blip r:embed="rId3"/>
            <a:stretch>
              <a:fillRect/>
            </a:stretch>
          </p:blipFill>
          <p:spPr>
            <a:xfrm>
              <a:off x="768089" y="-1605208"/>
              <a:ext cx="3768750" cy="5613751"/>
            </a:xfrm>
            <a:prstGeom prst="rect">
              <a:avLst/>
            </a:prstGeom>
          </p:spPr>
        </p:pic>
        <p:pic>
          <p:nvPicPr>
            <p:cNvPr id="67" name="Picture 66"/>
            <p:cNvPicPr>
              <a:picLocks noChangeAspect="1"/>
            </p:cNvPicPr>
            <p:nvPr/>
          </p:nvPicPr>
          <p:blipFill>
            <a:blip r:embed="rId4"/>
            <a:stretch>
              <a:fillRect/>
            </a:stretch>
          </p:blipFill>
          <p:spPr>
            <a:xfrm>
              <a:off x="1755198" y="534480"/>
              <a:ext cx="1361250" cy="1800000"/>
            </a:xfrm>
            <a:prstGeom prst="rect">
              <a:avLst/>
            </a:prstGeom>
          </p:spPr>
        </p:pic>
      </p:grpSp>
      <p:pic>
        <p:nvPicPr>
          <p:cNvPr id="77" name="Picture 76"/>
          <p:cNvPicPr>
            <a:picLocks noChangeAspect="1"/>
          </p:cNvPicPr>
          <p:nvPr/>
        </p:nvPicPr>
        <p:blipFill>
          <a:blip r:embed="rId5"/>
          <a:stretch>
            <a:fillRect/>
          </a:stretch>
        </p:blipFill>
        <p:spPr>
          <a:xfrm>
            <a:off x="3759631" y="5344029"/>
            <a:ext cx="2172488" cy="1399878"/>
          </a:xfrm>
          <a:prstGeom prst="rect">
            <a:avLst/>
          </a:prstGeom>
        </p:spPr>
      </p:pic>
      <p:pic>
        <p:nvPicPr>
          <p:cNvPr id="78" name="Picture 77"/>
          <p:cNvPicPr>
            <a:picLocks noChangeAspect="1"/>
          </p:cNvPicPr>
          <p:nvPr/>
        </p:nvPicPr>
        <p:blipFill>
          <a:blip r:embed="rId5"/>
          <a:stretch>
            <a:fillRect/>
          </a:stretch>
        </p:blipFill>
        <p:spPr>
          <a:xfrm>
            <a:off x="1908974" y="4146658"/>
            <a:ext cx="2172488" cy="1399878"/>
          </a:xfrm>
          <a:prstGeom prst="rect">
            <a:avLst/>
          </a:prstGeom>
        </p:spPr>
      </p:pic>
      <p:pic>
        <p:nvPicPr>
          <p:cNvPr id="79" name="Picture 78"/>
          <p:cNvPicPr>
            <a:picLocks noChangeAspect="1"/>
          </p:cNvPicPr>
          <p:nvPr/>
        </p:nvPicPr>
        <p:blipFill>
          <a:blip r:embed="rId12"/>
          <a:stretch>
            <a:fillRect/>
          </a:stretch>
        </p:blipFill>
        <p:spPr>
          <a:xfrm>
            <a:off x="866" y="3742966"/>
            <a:ext cx="4821685" cy="3124218"/>
          </a:xfrm>
          <a:prstGeom prst="rect">
            <a:avLst/>
          </a:prstGeom>
        </p:spPr>
      </p:pic>
      <p:pic>
        <p:nvPicPr>
          <p:cNvPr id="80" name="Picture 79"/>
          <p:cNvPicPr>
            <a:picLocks noChangeAspect="1"/>
          </p:cNvPicPr>
          <p:nvPr/>
        </p:nvPicPr>
        <p:blipFill>
          <a:blip r:embed="rId13"/>
          <a:stretch>
            <a:fillRect/>
          </a:stretch>
        </p:blipFill>
        <p:spPr>
          <a:xfrm>
            <a:off x="258805" y="5707447"/>
            <a:ext cx="1481018" cy="956491"/>
          </a:xfrm>
          <a:prstGeom prst="rect">
            <a:avLst/>
          </a:prstGeom>
        </p:spPr>
      </p:pic>
      <p:pic>
        <p:nvPicPr>
          <p:cNvPr id="81" name="Picture 80"/>
          <p:cNvPicPr>
            <a:picLocks noChangeAspect="1"/>
          </p:cNvPicPr>
          <p:nvPr/>
        </p:nvPicPr>
        <p:blipFill>
          <a:blip r:embed="rId14"/>
          <a:stretch>
            <a:fillRect/>
          </a:stretch>
        </p:blipFill>
        <p:spPr>
          <a:xfrm>
            <a:off x="216174" y="3302234"/>
            <a:ext cx="2092203" cy="2339668"/>
          </a:xfrm>
          <a:prstGeom prst="rect">
            <a:avLst/>
          </a:prstGeom>
        </p:spPr>
      </p:pic>
      <p:pic>
        <p:nvPicPr>
          <p:cNvPr id="82" name="Picture 81"/>
          <p:cNvPicPr>
            <a:picLocks noChangeAspect="1"/>
          </p:cNvPicPr>
          <p:nvPr/>
        </p:nvPicPr>
        <p:blipFill>
          <a:blip r:embed="rId10"/>
          <a:stretch>
            <a:fillRect/>
          </a:stretch>
        </p:blipFill>
        <p:spPr>
          <a:xfrm>
            <a:off x="1448271" y="5043532"/>
            <a:ext cx="1237324" cy="1462293"/>
          </a:xfrm>
          <a:prstGeom prst="rect">
            <a:avLst/>
          </a:prstGeom>
        </p:spPr>
      </p:pic>
      <p:pic>
        <p:nvPicPr>
          <p:cNvPr id="83" name="Picture 82"/>
          <p:cNvPicPr>
            <a:picLocks noChangeAspect="1"/>
          </p:cNvPicPr>
          <p:nvPr/>
        </p:nvPicPr>
        <p:blipFill>
          <a:blip r:embed="rId15"/>
          <a:stretch>
            <a:fillRect/>
          </a:stretch>
        </p:blipFill>
        <p:spPr>
          <a:xfrm>
            <a:off x="2789279" y="4960695"/>
            <a:ext cx="447810" cy="1224016"/>
          </a:xfrm>
          <a:prstGeom prst="rect">
            <a:avLst/>
          </a:prstGeom>
        </p:spPr>
      </p:pic>
      <p:sp>
        <p:nvSpPr>
          <p:cNvPr id="85" name="TextBox 84"/>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9787045" y="-79296"/>
            <a:ext cx="934656" cy="1104595"/>
            <a:chOff x="9827324" y="-40038"/>
            <a:chExt cx="934789" cy="1104751"/>
          </a:xfrm>
        </p:grpSpPr>
        <p:pic>
          <p:nvPicPr>
            <p:cNvPr id="90" name="Picture 89"/>
            <p:cNvPicPr>
              <a:picLocks noChangeAspect="1"/>
            </p:cNvPicPr>
            <p:nvPr/>
          </p:nvPicPr>
          <p:blipFill>
            <a:blip r:embed="rId10"/>
            <a:stretch>
              <a:fillRect/>
            </a:stretch>
          </p:blipFill>
          <p:spPr>
            <a:xfrm>
              <a:off x="9827324" y="-40038"/>
              <a:ext cx="934789" cy="1104751"/>
            </a:xfrm>
            <a:prstGeom prst="rect">
              <a:avLst/>
            </a:prstGeom>
          </p:spPr>
        </p:pic>
        <p:pic>
          <p:nvPicPr>
            <p:cNvPr id="91" name="Picture 90"/>
            <p:cNvPicPr>
              <a:picLocks noChangeAspect="1"/>
            </p:cNvPicPr>
            <p:nvPr/>
          </p:nvPicPr>
          <p:blipFill>
            <a:blip r:embed="rId16"/>
            <a:stretch>
              <a:fillRect/>
            </a:stretch>
          </p:blipFill>
          <p:spPr>
            <a:xfrm>
              <a:off x="10368710" y="254515"/>
              <a:ext cx="147937" cy="295874"/>
            </a:xfrm>
            <a:prstGeom prst="rect">
              <a:avLst/>
            </a:prstGeom>
          </p:spPr>
        </p:pic>
      </p:grpSp>
      <p:grpSp>
        <p:nvGrpSpPr>
          <p:cNvPr id="68" name="Group 67"/>
          <p:cNvGrpSpPr/>
          <p:nvPr/>
        </p:nvGrpSpPr>
        <p:grpSpPr>
          <a:xfrm>
            <a:off x="7777218" y="-2430979"/>
            <a:ext cx="2711923" cy="4039552"/>
            <a:chOff x="768089" y="-1605208"/>
            <a:chExt cx="3768750" cy="5613751"/>
          </a:xfrm>
        </p:grpSpPr>
        <p:pic>
          <p:nvPicPr>
            <p:cNvPr id="69" name="Picture 68"/>
            <p:cNvPicPr>
              <a:picLocks noChangeAspect="1"/>
            </p:cNvPicPr>
            <p:nvPr/>
          </p:nvPicPr>
          <p:blipFill>
            <a:blip r:embed="rId3"/>
            <a:stretch>
              <a:fillRect/>
            </a:stretch>
          </p:blipFill>
          <p:spPr>
            <a:xfrm>
              <a:off x="768089" y="-1605208"/>
              <a:ext cx="3768750" cy="5613751"/>
            </a:xfrm>
            <a:prstGeom prst="rect">
              <a:avLst/>
            </a:prstGeom>
          </p:spPr>
        </p:pic>
        <p:pic>
          <p:nvPicPr>
            <p:cNvPr id="70" name="Picture 69"/>
            <p:cNvPicPr>
              <a:picLocks noChangeAspect="1"/>
            </p:cNvPicPr>
            <p:nvPr/>
          </p:nvPicPr>
          <p:blipFill>
            <a:blip r:embed="rId4"/>
            <a:stretch>
              <a:fillRect/>
            </a:stretch>
          </p:blipFill>
          <p:spPr>
            <a:xfrm>
              <a:off x="1755198" y="534480"/>
              <a:ext cx="1361250" cy="1800000"/>
            </a:xfrm>
            <a:prstGeom prst="rect">
              <a:avLst/>
            </a:prstGeom>
          </p:spPr>
        </p:pic>
      </p:grpSp>
      <p:grpSp>
        <p:nvGrpSpPr>
          <p:cNvPr id="71" name="Group 70"/>
          <p:cNvGrpSpPr/>
          <p:nvPr/>
        </p:nvGrpSpPr>
        <p:grpSpPr>
          <a:xfrm>
            <a:off x="10356766" y="-722163"/>
            <a:ext cx="2711923" cy="4039552"/>
            <a:chOff x="768089" y="-1605208"/>
            <a:chExt cx="3768750" cy="5613751"/>
          </a:xfrm>
        </p:grpSpPr>
        <p:pic>
          <p:nvPicPr>
            <p:cNvPr id="72" name="Picture 71"/>
            <p:cNvPicPr>
              <a:picLocks noChangeAspect="1"/>
            </p:cNvPicPr>
            <p:nvPr/>
          </p:nvPicPr>
          <p:blipFill>
            <a:blip r:embed="rId3"/>
            <a:stretch>
              <a:fillRect/>
            </a:stretch>
          </p:blipFill>
          <p:spPr>
            <a:xfrm>
              <a:off x="768089" y="-1605208"/>
              <a:ext cx="3768750" cy="5613751"/>
            </a:xfrm>
            <a:prstGeom prst="rect">
              <a:avLst/>
            </a:prstGeom>
          </p:spPr>
        </p:pic>
        <p:pic>
          <p:nvPicPr>
            <p:cNvPr id="73" name="Picture 72"/>
            <p:cNvPicPr>
              <a:picLocks noChangeAspect="1"/>
            </p:cNvPicPr>
            <p:nvPr/>
          </p:nvPicPr>
          <p:blipFill>
            <a:blip r:embed="rId4"/>
            <a:stretch>
              <a:fillRect/>
            </a:stretch>
          </p:blipFill>
          <p:spPr>
            <a:xfrm>
              <a:off x="1755198" y="534480"/>
              <a:ext cx="1361250" cy="1800000"/>
            </a:xfrm>
            <a:prstGeom prst="rect">
              <a:avLst/>
            </a:prstGeom>
          </p:spPr>
        </p:pic>
      </p:grpSp>
      <p:grpSp>
        <p:nvGrpSpPr>
          <p:cNvPr id="74" name="Group 73"/>
          <p:cNvGrpSpPr/>
          <p:nvPr/>
        </p:nvGrpSpPr>
        <p:grpSpPr>
          <a:xfrm>
            <a:off x="10356766" y="-3127564"/>
            <a:ext cx="2711923" cy="4039552"/>
            <a:chOff x="768089" y="-1605208"/>
            <a:chExt cx="3768750" cy="5613751"/>
          </a:xfrm>
        </p:grpSpPr>
        <p:pic>
          <p:nvPicPr>
            <p:cNvPr id="75" name="Picture 74"/>
            <p:cNvPicPr>
              <a:picLocks noChangeAspect="1"/>
            </p:cNvPicPr>
            <p:nvPr/>
          </p:nvPicPr>
          <p:blipFill>
            <a:blip r:embed="rId3"/>
            <a:stretch>
              <a:fillRect/>
            </a:stretch>
          </p:blipFill>
          <p:spPr>
            <a:xfrm>
              <a:off x="768089" y="-1605208"/>
              <a:ext cx="3768750" cy="5613751"/>
            </a:xfrm>
            <a:prstGeom prst="rect">
              <a:avLst/>
            </a:prstGeom>
          </p:spPr>
        </p:pic>
        <p:pic>
          <p:nvPicPr>
            <p:cNvPr id="76" name="Picture 75"/>
            <p:cNvPicPr>
              <a:picLocks noChangeAspect="1"/>
            </p:cNvPicPr>
            <p:nvPr/>
          </p:nvPicPr>
          <p:blipFill>
            <a:blip r:embed="rId4"/>
            <a:stretch>
              <a:fillRect/>
            </a:stretch>
          </p:blipFill>
          <p:spPr>
            <a:xfrm>
              <a:off x="1755198" y="534480"/>
              <a:ext cx="1361250" cy="1800000"/>
            </a:xfrm>
            <a:prstGeom prst="rect">
              <a:avLst/>
            </a:prstGeom>
          </p:spPr>
        </p:pic>
      </p:grpSp>
      <p:sp>
        <p:nvSpPr>
          <p:cNvPr id="86" name="TextBox 85"/>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384155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500"/>
                                        <p:tgtEl>
                                          <p:spTgt spid="77"/>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250"/>
                                        <p:tgtEl>
                                          <p:spTgt spid="4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250"/>
                                        <p:tgtEl>
                                          <p:spTgt spid="39"/>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250"/>
                                        <p:tgtEl>
                                          <p:spTgt spid="59"/>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250"/>
                                        <p:tgtEl>
                                          <p:spTgt spid="62"/>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250"/>
                                        <p:tgtEl>
                                          <p:spTgt spid="56"/>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250"/>
                                        <p:tgtEl>
                                          <p:spTgt spid="68"/>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250"/>
                                        <p:tgtEl>
                                          <p:spTgt spid="71"/>
                                        </p:tgtEl>
                                      </p:cBhvr>
                                    </p:animEffect>
                                  </p:childTnLst>
                                </p:cTn>
                              </p:par>
                            </p:childTnLst>
                          </p:cTn>
                        </p:par>
                        <p:par>
                          <p:cTn id="40" fill="hold">
                            <p:stCondLst>
                              <p:cond delay="2750"/>
                            </p:stCondLst>
                            <p:childTnLst>
                              <p:par>
                                <p:cTn id="41" presetID="10" presetClass="entr" presetSubtype="0" fill="hold"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250"/>
                                        <p:tgtEl>
                                          <p:spTgt spid="7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77"/>
                                        </p:tgtEl>
                                      </p:cBhvr>
                                    </p:animEffect>
                                    <p:set>
                                      <p:cBhvr>
                                        <p:cTn id="48" dur="1" fill="hold">
                                          <p:stCondLst>
                                            <p:cond delay="499"/>
                                          </p:stCondLst>
                                        </p:cTn>
                                        <p:tgtEl>
                                          <p:spTgt spid="77"/>
                                        </p:tgtEl>
                                        <p:attrNameLst>
                                          <p:attrName>style.visibility</p:attrName>
                                        </p:attrNameLst>
                                      </p:cBhvr>
                                      <p:to>
                                        <p:strVal val="hidden"/>
                                      </p:to>
                                    </p:set>
                                  </p:childTnLst>
                                </p:cTn>
                              </p:par>
                            </p:childTnLst>
                          </p:cTn>
                        </p:par>
                        <p:par>
                          <p:cTn id="49" fill="hold">
                            <p:stCondLst>
                              <p:cond delay="500"/>
                            </p:stCondLst>
                            <p:childTnLst>
                              <p:par>
                                <p:cTn id="50" presetID="10" presetClass="exit" presetSubtype="0" fill="hold" nodeType="afterEffect">
                                  <p:stCondLst>
                                    <p:cond delay="250"/>
                                  </p:stCondLst>
                                  <p:childTnLst>
                                    <p:animEffect transition="out" filter="fade">
                                      <p:cBhvr>
                                        <p:cTn id="51" dur="250"/>
                                        <p:tgtEl>
                                          <p:spTgt spid="46"/>
                                        </p:tgtEl>
                                      </p:cBhvr>
                                    </p:animEffect>
                                    <p:set>
                                      <p:cBhvr>
                                        <p:cTn id="52" dur="1" fill="hold">
                                          <p:stCondLst>
                                            <p:cond delay="249"/>
                                          </p:stCondLst>
                                        </p:cTn>
                                        <p:tgtEl>
                                          <p:spTgt spid="46"/>
                                        </p:tgtEl>
                                        <p:attrNameLst>
                                          <p:attrName>style.visibility</p:attrName>
                                        </p:attrNameLst>
                                      </p:cBhvr>
                                      <p:to>
                                        <p:strVal val="hidden"/>
                                      </p:to>
                                    </p:set>
                                  </p:childTnLst>
                                </p:cTn>
                              </p:par>
                            </p:childTnLst>
                          </p:cTn>
                        </p:par>
                        <p:par>
                          <p:cTn id="53" fill="hold">
                            <p:stCondLst>
                              <p:cond delay="1000"/>
                            </p:stCondLst>
                            <p:childTnLst>
                              <p:par>
                                <p:cTn id="54" presetID="10" presetClass="exit" presetSubtype="0" fill="hold" nodeType="afterEffect">
                                  <p:stCondLst>
                                    <p:cond delay="0"/>
                                  </p:stCondLst>
                                  <p:childTnLst>
                                    <p:animEffect transition="out" filter="fade">
                                      <p:cBhvr>
                                        <p:cTn id="55" dur="250"/>
                                        <p:tgtEl>
                                          <p:spTgt spid="39"/>
                                        </p:tgtEl>
                                      </p:cBhvr>
                                    </p:animEffect>
                                    <p:set>
                                      <p:cBhvr>
                                        <p:cTn id="56" dur="1" fill="hold">
                                          <p:stCondLst>
                                            <p:cond delay="249"/>
                                          </p:stCondLst>
                                        </p:cTn>
                                        <p:tgtEl>
                                          <p:spTgt spid="39"/>
                                        </p:tgtEl>
                                        <p:attrNameLst>
                                          <p:attrName>style.visibility</p:attrName>
                                        </p:attrNameLst>
                                      </p:cBhvr>
                                      <p:to>
                                        <p:strVal val="hidden"/>
                                      </p:to>
                                    </p:set>
                                  </p:childTnLst>
                                </p:cTn>
                              </p:par>
                            </p:childTnLst>
                          </p:cTn>
                        </p:par>
                        <p:par>
                          <p:cTn id="57" fill="hold">
                            <p:stCondLst>
                              <p:cond delay="1250"/>
                            </p:stCondLst>
                            <p:childTnLst>
                              <p:par>
                                <p:cTn id="58" presetID="10" presetClass="exit" presetSubtype="0" fill="hold" nodeType="afterEffect">
                                  <p:stCondLst>
                                    <p:cond delay="0"/>
                                  </p:stCondLst>
                                  <p:childTnLst>
                                    <p:animEffect transition="out" filter="fade">
                                      <p:cBhvr>
                                        <p:cTn id="59" dur="250"/>
                                        <p:tgtEl>
                                          <p:spTgt spid="59"/>
                                        </p:tgtEl>
                                      </p:cBhvr>
                                    </p:animEffect>
                                    <p:set>
                                      <p:cBhvr>
                                        <p:cTn id="60" dur="1" fill="hold">
                                          <p:stCondLst>
                                            <p:cond delay="249"/>
                                          </p:stCondLst>
                                        </p:cTn>
                                        <p:tgtEl>
                                          <p:spTgt spid="59"/>
                                        </p:tgtEl>
                                        <p:attrNameLst>
                                          <p:attrName>style.visibility</p:attrName>
                                        </p:attrNameLst>
                                      </p:cBhvr>
                                      <p:to>
                                        <p:strVal val="hidden"/>
                                      </p:to>
                                    </p:set>
                                  </p:childTnLst>
                                </p:cTn>
                              </p:par>
                            </p:childTnLst>
                          </p:cTn>
                        </p:par>
                        <p:par>
                          <p:cTn id="61" fill="hold">
                            <p:stCondLst>
                              <p:cond delay="1500"/>
                            </p:stCondLst>
                            <p:childTnLst>
                              <p:par>
                                <p:cTn id="62" presetID="10" presetClass="exit" presetSubtype="0" fill="hold" nodeType="afterEffect">
                                  <p:stCondLst>
                                    <p:cond delay="0"/>
                                  </p:stCondLst>
                                  <p:childTnLst>
                                    <p:animEffect transition="out" filter="fade">
                                      <p:cBhvr>
                                        <p:cTn id="63" dur="250"/>
                                        <p:tgtEl>
                                          <p:spTgt spid="65"/>
                                        </p:tgtEl>
                                      </p:cBhvr>
                                    </p:animEffect>
                                    <p:set>
                                      <p:cBhvr>
                                        <p:cTn id="64" dur="1" fill="hold">
                                          <p:stCondLst>
                                            <p:cond delay="249"/>
                                          </p:stCondLst>
                                        </p:cTn>
                                        <p:tgtEl>
                                          <p:spTgt spid="65"/>
                                        </p:tgtEl>
                                        <p:attrNameLst>
                                          <p:attrName>style.visibility</p:attrName>
                                        </p:attrNameLst>
                                      </p:cBhvr>
                                      <p:to>
                                        <p:strVal val="hidden"/>
                                      </p:to>
                                    </p:set>
                                  </p:childTnLst>
                                </p:cTn>
                              </p:par>
                            </p:childTnLst>
                          </p:cTn>
                        </p:par>
                        <p:par>
                          <p:cTn id="65" fill="hold">
                            <p:stCondLst>
                              <p:cond delay="1750"/>
                            </p:stCondLst>
                            <p:childTnLst>
                              <p:par>
                                <p:cTn id="66" presetID="10" presetClass="exit" presetSubtype="0" fill="hold" nodeType="afterEffect">
                                  <p:stCondLst>
                                    <p:cond delay="0"/>
                                  </p:stCondLst>
                                  <p:childTnLst>
                                    <p:animEffect transition="out" filter="fade">
                                      <p:cBhvr>
                                        <p:cTn id="67" dur="250"/>
                                        <p:tgtEl>
                                          <p:spTgt spid="56"/>
                                        </p:tgtEl>
                                      </p:cBhvr>
                                    </p:animEffect>
                                    <p:set>
                                      <p:cBhvr>
                                        <p:cTn id="68" dur="1" fill="hold">
                                          <p:stCondLst>
                                            <p:cond delay="249"/>
                                          </p:stCondLst>
                                        </p:cTn>
                                        <p:tgtEl>
                                          <p:spTgt spid="56"/>
                                        </p:tgtEl>
                                        <p:attrNameLst>
                                          <p:attrName>style.visibility</p:attrName>
                                        </p:attrNameLst>
                                      </p:cBhvr>
                                      <p:to>
                                        <p:strVal val="hidden"/>
                                      </p:to>
                                    </p:set>
                                  </p:childTnLst>
                                </p:cTn>
                              </p:par>
                            </p:childTnLst>
                          </p:cTn>
                        </p:par>
                        <p:par>
                          <p:cTn id="69" fill="hold">
                            <p:stCondLst>
                              <p:cond delay="2000"/>
                            </p:stCondLst>
                            <p:childTnLst>
                              <p:par>
                                <p:cTn id="70" presetID="10" presetClass="exit" presetSubtype="0" fill="hold" nodeType="afterEffect">
                                  <p:stCondLst>
                                    <p:cond delay="0"/>
                                  </p:stCondLst>
                                  <p:childTnLst>
                                    <p:animEffect transition="out" filter="fade">
                                      <p:cBhvr>
                                        <p:cTn id="71" dur="250"/>
                                        <p:tgtEl>
                                          <p:spTgt spid="68"/>
                                        </p:tgtEl>
                                      </p:cBhvr>
                                    </p:animEffect>
                                    <p:set>
                                      <p:cBhvr>
                                        <p:cTn id="72" dur="1" fill="hold">
                                          <p:stCondLst>
                                            <p:cond delay="249"/>
                                          </p:stCondLst>
                                        </p:cTn>
                                        <p:tgtEl>
                                          <p:spTgt spid="68"/>
                                        </p:tgtEl>
                                        <p:attrNameLst>
                                          <p:attrName>style.visibility</p:attrName>
                                        </p:attrNameLst>
                                      </p:cBhvr>
                                      <p:to>
                                        <p:strVal val="hidden"/>
                                      </p:to>
                                    </p:set>
                                  </p:childTnLst>
                                </p:cTn>
                              </p:par>
                            </p:childTnLst>
                          </p:cTn>
                        </p:par>
                        <p:par>
                          <p:cTn id="73" fill="hold">
                            <p:stCondLst>
                              <p:cond delay="2250"/>
                            </p:stCondLst>
                            <p:childTnLst>
                              <p:par>
                                <p:cTn id="74" presetID="10" presetClass="exit" presetSubtype="0" fill="hold" nodeType="afterEffect">
                                  <p:stCondLst>
                                    <p:cond delay="0"/>
                                  </p:stCondLst>
                                  <p:childTnLst>
                                    <p:animEffect transition="out" filter="fade">
                                      <p:cBhvr>
                                        <p:cTn id="75" dur="250"/>
                                        <p:tgtEl>
                                          <p:spTgt spid="71"/>
                                        </p:tgtEl>
                                      </p:cBhvr>
                                    </p:animEffect>
                                    <p:set>
                                      <p:cBhvr>
                                        <p:cTn id="76" dur="1" fill="hold">
                                          <p:stCondLst>
                                            <p:cond delay="249"/>
                                          </p:stCondLst>
                                        </p:cTn>
                                        <p:tgtEl>
                                          <p:spTgt spid="71"/>
                                        </p:tgtEl>
                                        <p:attrNameLst>
                                          <p:attrName>style.visibility</p:attrName>
                                        </p:attrNameLst>
                                      </p:cBhvr>
                                      <p:to>
                                        <p:strVal val="hidden"/>
                                      </p:to>
                                    </p:set>
                                  </p:childTnLst>
                                </p:cTn>
                              </p:par>
                            </p:childTnLst>
                          </p:cTn>
                        </p:par>
                        <p:par>
                          <p:cTn id="77" fill="hold">
                            <p:stCondLst>
                              <p:cond delay="2500"/>
                            </p:stCondLst>
                            <p:childTnLst>
                              <p:par>
                                <p:cTn id="78" presetID="10" presetClass="exit" presetSubtype="0" fill="hold" nodeType="afterEffect">
                                  <p:stCondLst>
                                    <p:cond delay="0"/>
                                  </p:stCondLst>
                                  <p:childTnLst>
                                    <p:animEffect transition="out" filter="fade">
                                      <p:cBhvr>
                                        <p:cTn id="79" dur="250"/>
                                        <p:tgtEl>
                                          <p:spTgt spid="74"/>
                                        </p:tgtEl>
                                      </p:cBhvr>
                                    </p:animEffect>
                                    <p:set>
                                      <p:cBhvr>
                                        <p:cTn id="80" dur="1" fill="hold">
                                          <p:stCondLst>
                                            <p:cond delay="249"/>
                                          </p:stCondLst>
                                        </p:cTn>
                                        <p:tgtEl>
                                          <p:spTgt spid="74"/>
                                        </p:tgtEl>
                                        <p:attrNameLst>
                                          <p:attrName>style.visibility</p:attrName>
                                        </p:attrNameLst>
                                      </p:cBhvr>
                                      <p:to>
                                        <p:strVal val="hidden"/>
                                      </p:to>
                                    </p:set>
                                  </p:childTnLst>
                                </p:cTn>
                              </p:par>
                            </p:childTnLst>
                          </p:cTn>
                        </p:par>
                        <p:par>
                          <p:cTn id="81" fill="hold">
                            <p:stCondLst>
                              <p:cond delay="2750"/>
                            </p:stCondLst>
                            <p:childTnLst>
                              <p:par>
                                <p:cTn id="82" presetID="10" presetClass="exit" presetSubtype="0" fill="hold" nodeType="afterEffect">
                                  <p:stCondLst>
                                    <p:cond delay="0"/>
                                  </p:stCondLst>
                                  <p:childTnLst>
                                    <p:animEffect transition="out" filter="fade">
                                      <p:cBhvr>
                                        <p:cTn id="83" dur="250"/>
                                        <p:tgtEl>
                                          <p:spTgt spid="62"/>
                                        </p:tgtEl>
                                      </p:cBhvr>
                                    </p:animEffect>
                                    <p:set>
                                      <p:cBhvr>
                                        <p:cTn id="84" dur="1" fill="hold">
                                          <p:stCondLst>
                                            <p:cond delay="249"/>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2"/>
          <a:stretch>
            <a:fillRect/>
          </a:stretch>
        </p:blipFill>
        <p:spPr>
          <a:xfrm>
            <a:off x="1140506" y="5174165"/>
            <a:ext cx="2747809" cy="1772592"/>
          </a:xfrm>
          <a:prstGeom prst="rect">
            <a:avLst/>
          </a:prstGeom>
        </p:spPr>
      </p:pic>
      <p:sp>
        <p:nvSpPr>
          <p:cNvPr id="2" name="Title 1"/>
          <p:cNvSpPr>
            <a:spLocks noGrp="1"/>
          </p:cNvSpPr>
          <p:nvPr>
            <p:ph type="title"/>
          </p:nvPr>
        </p:nvSpPr>
        <p:spPr>
          <a:xfrm>
            <a:off x="269240" y="443407"/>
            <a:ext cx="11655078" cy="640995"/>
          </a:xfrm>
        </p:spPr>
        <p:txBody>
          <a:bodyPr/>
          <a:lstStyle/>
          <a:p>
            <a:pPr algn="ctr"/>
            <a:r>
              <a:rPr lang="en-US" dirty="0" smtClean="0">
                <a:solidFill>
                  <a:srgbClr val="00B0F0"/>
                </a:solidFill>
              </a:rPr>
              <a:t>Visual Studio </a:t>
            </a:r>
            <a:r>
              <a:rPr lang="en-US" dirty="0" smtClean="0">
                <a:solidFill>
                  <a:srgbClr val="00B0F0"/>
                </a:solidFill>
              </a:rPr>
              <a:t>Team Services: </a:t>
            </a:r>
            <a:r>
              <a:rPr lang="en-US" dirty="0" smtClean="0">
                <a:solidFill>
                  <a:schemeClr val="tx1"/>
                </a:solidFill>
              </a:rPr>
              <a:t>DevOps</a:t>
            </a:r>
            <a:endParaRPr lang="en-US" dirty="0">
              <a:solidFill>
                <a:schemeClr val="tx1"/>
              </a:solidFill>
            </a:endParaRPr>
          </a:p>
        </p:txBody>
      </p:sp>
      <p:sp>
        <p:nvSpPr>
          <p:cNvPr id="52" name="Right Arrow 51"/>
          <p:cNvSpPr/>
          <p:nvPr/>
        </p:nvSpPr>
        <p:spPr>
          <a:xfrm>
            <a:off x="3234598" y="2300660"/>
            <a:ext cx="1611812"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3" name="Right Arrow 52"/>
          <p:cNvSpPr/>
          <p:nvPr/>
        </p:nvSpPr>
        <p:spPr>
          <a:xfrm>
            <a:off x="5582405" y="2300660"/>
            <a:ext cx="1646654"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4" name="Right Arrow 53"/>
          <p:cNvSpPr/>
          <p:nvPr/>
        </p:nvSpPr>
        <p:spPr>
          <a:xfrm>
            <a:off x="7965054" y="2300660"/>
            <a:ext cx="1025835"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6" name="TextBox 55"/>
          <p:cNvSpPr txBox="1"/>
          <p:nvPr/>
        </p:nvSpPr>
        <p:spPr>
          <a:xfrm>
            <a:off x="1606387" y="1666921"/>
            <a:ext cx="1837219" cy="352077"/>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 Repository</a:t>
            </a:r>
          </a:p>
        </p:txBody>
      </p:sp>
      <p:sp>
        <p:nvSpPr>
          <p:cNvPr id="57" name="TextBox 56"/>
          <p:cNvSpPr txBox="1"/>
          <p:nvPr/>
        </p:nvSpPr>
        <p:spPr>
          <a:xfrm>
            <a:off x="3672882" y="1666922"/>
            <a:ext cx="2467200" cy="310436"/>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uild + Deploy</a:t>
            </a:r>
          </a:p>
        </p:txBody>
      </p:sp>
      <p:sp>
        <p:nvSpPr>
          <p:cNvPr id="58" name="TextBox 57"/>
          <p:cNvSpPr txBox="1"/>
          <p:nvPr/>
        </p:nvSpPr>
        <p:spPr>
          <a:xfrm>
            <a:off x="6302665" y="1666921"/>
            <a:ext cx="1837219" cy="352077"/>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oad Testing</a:t>
            </a:r>
          </a:p>
        </p:txBody>
      </p:sp>
      <p:sp>
        <p:nvSpPr>
          <p:cNvPr id="59" name="TextBox 58"/>
          <p:cNvSpPr txBox="1"/>
          <p:nvPr/>
        </p:nvSpPr>
        <p:spPr>
          <a:xfrm>
            <a:off x="8824886" y="1666922"/>
            <a:ext cx="2048438" cy="379301"/>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lease Management</a:t>
            </a:r>
          </a:p>
        </p:txBody>
      </p:sp>
      <p:sp>
        <p:nvSpPr>
          <p:cNvPr id="62" name="Rounded Rectangle 61"/>
          <p:cNvSpPr/>
          <p:nvPr/>
        </p:nvSpPr>
        <p:spPr>
          <a:xfrm>
            <a:off x="1789162"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64" name="Rounded Rectangle 63"/>
          <p:cNvSpPr/>
          <p:nvPr/>
        </p:nvSpPr>
        <p:spPr>
          <a:xfrm>
            <a:off x="4155527"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65" name="Rounded Rectangle 64"/>
          <p:cNvSpPr/>
          <p:nvPr/>
        </p:nvSpPr>
        <p:spPr>
          <a:xfrm>
            <a:off x="6521892"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896386">
              <a:defRPr/>
            </a:pPr>
            <a:endParaRPr lang="en-US" sz="1100" kern="0" dirty="0">
              <a:solidFill>
                <a:srgbClr val="FFFFFF"/>
              </a:solidFill>
              <a:latin typeface="Segoe UI"/>
            </a:endParaRPr>
          </a:p>
        </p:txBody>
      </p:sp>
      <p:sp>
        <p:nvSpPr>
          <p:cNvPr id="68" name="Bent Arrow 67"/>
          <p:cNvSpPr/>
          <p:nvPr/>
        </p:nvSpPr>
        <p:spPr>
          <a:xfrm rot="10800000">
            <a:off x="4095376" y="4000353"/>
            <a:ext cx="6120573" cy="176690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pic>
        <p:nvPicPr>
          <p:cNvPr id="69" name="Picture 68"/>
          <p:cNvPicPr>
            <a:picLocks noChangeAspect="1"/>
          </p:cNvPicPr>
          <p:nvPr/>
        </p:nvPicPr>
        <p:blipFill>
          <a:blip r:embed="rId3"/>
          <a:stretch>
            <a:fillRect/>
          </a:stretch>
        </p:blipFill>
        <p:spPr>
          <a:xfrm>
            <a:off x="6120805" y="4630227"/>
            <a:ext cx="2069714" cy="1506375"/>
          </a:xfrm>
          <a:prstGeom prst="rect">
            <a:avLst/>
          </a:prstGeom>
        </p:spPr>
      </p:pic>
      <p:pic>
        <p:nvPicPr>
          <p:cNvPr id="70" name="Picture 69"/>
          <p:cNvPicPr>
            <a:picLocks noChangeAspect="1"/>
          </p:cNvPicPr>
          <p:nvPr/>
        </p:nvPicPr>
        <p:blipFill>
          <a:blip r:embed="rId4"/>
          <a:stretch>
            <a:fillRect/>
          </a:stretch>
        </p:blipFill>
        <p:spPr>
          <a:xfrm>
            <a:off x="4331905" y="2351610"/>
            <a:ext cx="1130597" cy="944265"/>
          </a:xfrm>
          <a:prstGeom prst="rect">
            <a:avLst/>
          </a:prstGeom>
        </p:spPr>
      </p:pic>
      <p:grpSp>
        <p:nvGrpSpPr>
          <p:cNvPr id="72" name="Group 71"/>
          <p:cNvGrpSpPr/>
          <p:nvPr/>
        </p:nvGrpSpPr>
        <p:grpSpPr>
          <a:xfrm>
            <a:off x="1860125" y="2405162"/>
            <a:ext cx="1026269" cy="1115512"/>
            <a:chOff x="1523922" y="2094289"/>
            <a:chExt cx="1106696" cy="1207151"/>
          </a:xfrm>
        </p:grpSpPr>
        <p:pic>
          <p:nvPicPr>
            <p:cNvPr id="81" name="Picture 80"/>
            <p:cNvPicPr>
              <a:picLocks noChangeAspect="1"/>
            </p:cNvPicPr>
            <p:nvPr/>
          </p:nvPicPr>
          <p:blipFill>
            <a:blip r:embed="rId5"/>
            <a:stretch>
              <a:fillRect/>
            </a:stretch>
          </p:blipFill>
          <p:spPr>
            <a:xfrm>
              <a:off x="1523922" y="2666999"/>
              <a:ext cx="455690" cy="634441"/>
            </a:xfrm>
            <a:prstGeom prst="rect">
              <a:avLst/>
            </a:prstGeom>
          </p:spPr>
        </p:pic>
        <p:pic>
          <p:nvPicPr>
            <p:cNvPr id="82" name="Picture 81"/>
            <p:cNvPicPr>
              <a:picLocks noChangeAspect="1"/>
            </p:cNvPicPr>
            <p:nvPr/>
          </p:nvPicPr>
          <p:blipFill>
            <a:blip r:embed="rId6"/>
            <a:stretch>
              <a:fillRect/>
            </a:stretch>
          </p:blipFill>
          <p:spPr>
            <a:xfrm>
              <a:off x="1903412" y="2094289"/>
              <a:ext cx="727206" cy="725111"/>
            </a:xfrm>
            <a:prstGeom prst="rect">
              <a:avLst/>
            </a:prstGeom>
          </p:spPr>
        </p:pic>
      </p:grpSp>
      <p:sp>
        <p:nvSpPr>
          <p:cNvPr id="75" name="TextBox 74"/>
          <p:cNvSpPr txBox="1"/>
          <p:nvPr/>
        </p:nvSpPr>
        <p:spPr>
          <a:xfrm>
            <a:off x="5619379" y="6136603"/>
            <a:ext cx="3288931" cy="661271"/>
          </a:xfrm>
          <a:prstGeom prst="rect">
            <a:avLst/>
          </a:prstGeom>
        </p:spPr>
        <p:txBody>
          <a:bodyPr vert="horz" wrap="square" lIns="91403" tIns="91403" rIns="91403" bIns="91403" rtlCol="0" anchor="t">
            <a:noAutofit/>
          </a:bodyPr>
          <a:lstStyle/>
          <a:p>
            <a:pPr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 Insights and Hockey App</a:t>
            </a:r>
          </a:p>
        </p:txBody>
      </p:sp>
      <p:sp>
        <p:nvSpPr>
          <p:cNvPr id="78" name="TextBox 77"/>
          <p:cNvSpPr txBox="1"/>
          <p:nvPr/>
        </p:nvSpPr>
        <p:spPr>
          <a:xfrm>
            <a:off x="978568" y="4723361"/>
            <a:ext cx="1249801" cy="320892"/>
          </a:xfrm>
          <a:prstGeom prst="rect">
            <a:avLst/>
          </a:prstGeom>
        </p:spPr>
        <p:txBody>
          <a:bodyPr vert="horz" wrap="square" lIns="91403" tIns="91403" rIns="91403" bIns="91403" rtlCol="0" anchor="t">
            <a:noAutofit/>
          </a:bodyPr>
          <a:lstStyle/>
          <a:p>
            <a:pP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isual Studio</a:t>
            </a:r>
          </a:p>
        </p:txBody>
      </p:sp>
      <p:pic>
        <p:nvPicPr>
          <p:cNvPr id="66" name="Picture 65"/>
          <p:cNvPicPr>
            <a:picLocks noChangeAspect="1"/>
          </p:cNvPicPr>
          <p:nvPr/>
        </p:nvPicPr>
        <p:blipFill>
          <a:blip r:embed="rId7"/>
          <a:stretch>
            <a:fillRect/>
          </a:stretch>
        </p:blipFill>
        <p:spPr>
          <a:xfrm>
            <a:off x="9125713" y="3879197"/>
            <a:ext cx="1914585" cy="1183761"/>
          </a:xfrm>
          <a:prstGeom prst="rect">
            <a:avLst/>
          </a:prstGeom>
        </p:spPr>
      </p:pic>
      <p:sp>
        <p:nvSpPr>
          <p:cNvPr id="95" name="Rounded Rectangle 94"/>
          <p:cNvSpPr/>
          <p:nvPr/>
        </p:nvSpPr>
        <p:spPr>
          <a:xfrm>
            <a:off x="9120389"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94" name="TextBox 93"/>
          <p:cNvSpPr txBox="1"/>
          <p:nvPr/>
        </p:nvSpPr>
        <p:spPr>
          <a:xfrm>
            <a:off x="9560117" y="4280096"/>
            <a:ext cx="1123428"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solidFill>
                  <a:srgbClr val="00B0F0"/>
                </a:solidFill>
              </a:rPr>
              <a:t>Azure</a:t>
            </a:r>
          </a:p>
        </p:txBody>
      </p:sp>
      <p:pic>
        <p:nvPicPr>
          <p:cNvPr id="96" name="Picture 95"/>
          <p:cNvPicPr>
            <a:picLocks noChangeAspect="1"/>
          </p:cNvPicPr>
          <p:nvPr/>
        </p:nvPicPr>
        <p:blipFill>
          <a:blip r:embed="rId8"/>
          <a:stretch>
            <a:fillRect/>
          </a:stretch>
        </p:blipFill>
        <p:spPr>
          <a:xfrm>
            <a:off x="9470129" y="2490953"/>
            <a:ext cx="784424" cy="610355"/>
          </a:xfrm>
          <a:prstGeom prst="rect">
            <a:avLst/>
          </a:prstGeom>
        </p:spPr>
      </p:pic>
      <p:cxnSp>
        <p:nvCxnSpPr>
          <p:cNvPr id="7" name="Straight Arrow Connector 6"/>
          <p:cNvCxnSpPr/>
          <p:nvPr/>
        </p:nvCxnSpPr>
        <p:spPr>
          <a:xfrm flipV="1">
            <a:off x="2522830" y="3768273"/>
            <a:ext cx="0" cy="148234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9"/>
          <a:stretch>
            <a:fillRect/>
          </a:stretch>
        </p:blipFill>
        <p:spPr>
          <a:xfrm>
            <a:off x="2231798" y="4170681"/>
            <a:ext cx="599975" cy="625686"/>
          </a:xfrm>
          <a:prstGeom prst="rect">
            <a:avLst/>
          </a:prstGeom>
        </p:spPr>
      </p:pic>
      <p:sp>
        <p:nvSpPr>
          <p:cNvPr id="44" name="TextBox 43"/>
          <p:cNvSpPr txBox="1"/>
          <p:nvPr/>
        </p:nvSpPr>
        <p:spPr>
          <a:xfrm>
            <a:off x="2842467" y="4729070"/>
            <a:ext cx="1613074" cy="380139"/>
          </a:xfrm>
          <a:prstGeom prst="rect">
            <a:avLst/>
          </a:prstGeom>
        </p:spPr>
        <p:txBody>
          <a:bodyPr vert="horz" wrap="square" lIns="91403" tIns="91403" rIns="91403" bIns="91403" rtlCol="0" anchor="t">
            <a:noAutofit/>
          </a:bodyPr>
          <a:lstStyle/>
          <a:p>
            <a:pP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clipse / </a:t>
            </a:r>
            <a:r>
              <a:rPr lang="en-US" sz="1400" kern="0"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XCode</a:t>
            </a:r>
            <a:endPar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6" name="Picture 45"/>
          <p:cNvPicPr>
            <a:picLocks noChangeAspect="1"/>
          </p:cNvPicPr>
          <p:nvPr/>
        </p:nvPicPr>
        <p:blipFill>
          <a:blip r:embed="rId10"/>
          <a:stretch>
            <a:fillRect/>
          </a:stretch>
        </p:blipFill>
        <p:spPr>
          <a:xfrm>
            <a:off x="6754727" y="2332236"/>
            <a:ext cx="984954" cy="983013"/>
          </a:xfrm>
          <a:prstGeom prst="rect">
            <a:avLst/>
          </a:prstGeom>
        </p:spPr>
      </p:pic>
    </p:spTree>
    <p:extLst>
      <p:ext uri="{BB962C8B-B14F-4D97-AF65-F5344CB8AC3E}">
        <p14:creationId xmlns:p14="http://schemas.microsoft.com/office/powerpoint/2010/main" val="12250660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rot="18900000">
            <a:off x="9565859" y="3363068"/>
            <a:ext cx="403033" cy="403033"/>
          </a:xfrm>
          <a:prstGeom prst="rect">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itle 1"/>
          <p:cNvSpPr txBox="1">
            <a:spLocks/>
          </p:cNvSpPr>
          <p:nvPr/>
        </p:nvSpPr>
        <p:spPr>
          <a:xfrm>
            <a:off x="8028518" y="1651406"/>
            <a:ext cx="3705823" cy="2016957"/>
          </a:xfrm>
          <a:prstGeom prst="rect">
            <a:avLst/>
          </a:prstGeom>
          <a:solidFill>
            <a:srgbClr val="292929"/>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914367">
              <a:lnSpc>
                <a:spcPct val="100000"/>
              </a:lnSpc>
              <a:spcBef>
                <a:spcPts val="0"/>
              </a:spcBef>
            </a:pPr>
            <a:r>
              <a:rPr lang="en-US" sz="2353" dirty="0">
                <a:solidFill>
                  <a:srgbClr val="DFDFDE"/>
                </a:solidFill>
                <a:latin typeface="Segoe UI Semilight" panose="020B0402040204020203" pitchFamily="34" charset="0"/>
                <a:ea typeface="Segoe UI" pitchFamily="34" charset="0"/>
                <a:cs typeface="Segoe UI Semilight" panose="020B0402040204020203" pitchFamily="34" charset="0"/>
              </a:rPr>
              <a:t>Other tools</a:t>
            </a:r>
            <a:endParaRPr lang="en-US" sz="1961" dirty="0">
              <a:solidFill>
                <a:srgbClr val="DFDFDE"/>
              </a:solidFill>
              <a:latin typeface="Segoe UI Semilight" panose="020B0402040204020203" pitchFamily="34" charset="0"/>
              <a:ea typeface="Segoe UI" pitchFamily="34" charset="0"/>
              <a:cs typeface="Segoe UI Semilight" panose="020B0402040204020203" pitchFamily="34" charset="0"/>
            </a:endParaRPr>
          </a:p>
          <a:p>
            <a:pPr algn="ctr" defTabSz="914367">
              <a:lnSpc>
                <a:spcPct val="100000"/>
              </a:lnSpc>
              <a:spcBef>
                <a:spcPts val="0"/>
              </a:spcBef>
            </a:pPr>
            <a:r>
              <a:rPr lang="en-US" sz="1568" dirty="0">
                <a:solidFill>
                  <a:srgbClr val="DFDFDE"/>
                </a:solidFill>
                <a:latin typeface="Segoe UI Semilight" panose="020B0402040204020203" pitchFamily="34" charset="0"/>
                <a:ea typeface="+mn-ea"/>
                <a:cs typeface="Segoe UI Semilight" panose="020B0402040204020203" pitchFamily="34" charset="0"/>
              </a:rPr>
              <a:t>(Eclipse, </a:t>
            </a:r>
            <a:r>
              <a:rPr lang="en-US" sz="1568" dirty="0" err="1">
                <a:solidFill>
                  <a:srgbClr val="DFDFDE"/>
                </a:solidFill>
                <a:latin typeface="Segoe UI Semilight" panose="020B0402040204020203" pitchFamily="34" charset="0"/>
                <a:ea typeface="+mn-ea"/>
                <a:cs typeface="Segoe UI Semilight" panose="020B0402040204020203" pitchFamily="34" charset="0"/>
              </a:rPr>
              <a:t>Xcode</a:t>
            </a:r>
            <a:r>
              <a:rPr lang="en-US" sz="1568" dirty="0">
                <a:solidFill>
                  <a:srgbClr val="DFDFDE"/>
                </a:solidFill>
                <a:latin typeface="Segoe UI Semilight" panose="020B0402040204020203" pitchFamily="34" charset="0"/>
                <a:ea typeface="+mn-ea"/>
                <a:cs typeface="Segoe UI Semilight" panose="020B0402040204020203" pitchFamily="34" charset="0"/>
              </a:rPr>
              <a:t>, Sublime, IntelliJ, </a:t>
            </a:r>
            <a:r>
              <a:rPr lang="en-US" sz="1568" dirty="0" err="1">
                <a:solidFill>
                  <a:srgbClr val="DFDFDE"/>
                </a:solidFill>
                <a:latin typeface="Segoe UI Semilight" panose="020B0402040204020203" pitchFamily="34" charset="0"/>
                <a:ea typeface="+mn-ea"/>
                <a:cs typeface="Segoe UI Semilight" panose="020B0402040204020203" pitchFamily="34" charset="0"/>
              </a:rPr>
              <a:t>etc</a:t>
            </a:r>
            <a:r>
              <a:rPr lang="en-US" sz="1568" dirty="0">
                <a:solidFill>
                  <a:srgbClr val="DFDFDE"/>
                </a:solidFill>
                <a:latin typeface="Segoe UI Semilight" panose="020B0402040204020203" pitchFamily="34" charset="0"/>
                <a:ea typeface="+mn-ea"/>
                <a:cs typeface="Segoe UI Semilight" panose="020B0402040204020203" pitchFamily="34" charset="0"/>
              </a:rPr>
              <a:t>)</a:t>
            </a:r>
            <a:endParaRPr lang="en-US" sz="1372" dirty="0">
              <a:solidFill>
                <a:srgbClr val="DFDFDE"/>
              </a:solidFill>
              <a:latin typeface="Segoe UI Semilight" panose="020B0402040204020203" pitchFamily="34" charset="0"/>
              <a:ea typeface="+mn-ea"/>
              <a:cs typeface="Segoe UI Semilight" panose="020B0402040204020203" pitchFamily="34" charset="0"/>
            </a:endParaRPr>
          </a:p>
        </p:txBody>
      </p:sp>
      <p:sp>
        <p:nvSpPr>
          <p:cNvPr id="36" name="Title 1"/>
          <p:cNvSpPr txBox="1">
            <a:spLocks/>
          </p:cNvSpPr>
          <p:nvPr/>
        </p:nvSpPr>
        <p:spPr>
          <a:xfrm>
            <a:off x="606954" y="438847"/>
            <a:ext cx="11032880" cy="698903"/>
          </a:xfrm>
          <a:prstGeom prst="rect">
            <a:avLst/>
          </a:prstGeom>
        </p:spPr>
        <p:txBody>
          <a:bodyPr vert="horz" lIns="91427" tIns="45713" rIns="91427" bIns="45713" rtlCol="0" anchor="t">
            <a:no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5882" dirty="0">
                <a:solidFill>
                  <a:schemeClr val="tx1"/>
                </a:solidFill>
              </a:rPr>
              <a:t>Visual Studio </a:t>
            </a:r>
            <a:r>
              <a:rPr lang="en-US" sz="5882" dirty="0">
                <a:solidFill>
                  <a:schemeClr val="tx1"/>
                </a:solidFill>
              </a:rPr>
              <a:t>Family</a:t>
            </a:r>
            <a:endParaRPr lang="en-US" sz="3921" dirty="0">
              <a:solidFill>
                <a:schemeClr val="tx1"/>
              </a:solidFill>
            </a:endParaRPr>
          </a:p>
        </p:txBody>
      </p:sp>
      <p:sp>
        <p:nvSpPr>
          <p:cNvPr id="40" name="Title 1"/>
          <p:cNvSpPr txBox="1">
            <a:spLocks/>
          </p:cNvSpPr>
          <p:nvPr/>
        </p:nvSpPr>
        <p:spPr>
          <a:xfrm>
            <a:off x="606954" y="5841790"/>
            <a:ext cx="11032880" cy="698903"/>
          </a:xfrm>
          <a:prstGeom prst="rect">
            <a:avLst/>
          </a:prstGeom>
        </p:spPr>
        <p:txBody>
          <a:bodyPr vert="horz" lIns="91427" tIns="45713" rIns="91427" bIns="45713" rtlCol="0" anchor="t">
            <a:no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3921" dirty="0">
                <a:solidFill>
                  <a:schemeClr val="tx1"/>
                </a:solidFill>
              </a:rPr>
              <a:t>Best-in-class tools for </a:t>
            </a:r>
            <a:r>
              <a:rPr lang="en-US" sz="3921" u="sng" dirty="0">
                <a:solidFill>
                  <a:schemeClr val="tx1"/>
                </a:solidFill>
              </a:rPr>
              <a:t>every</a:t>
            </a:r>
            <a:r>
              <a:rPr lang="en-US" sz="3921" dirty="0">
                <a:solidFill>
                  <a:schemeClr val="tx1"/>
                </a:solidFill>
              </a:rPr>
              <a:t> developer</a:t>
            </a:r>
            <a:endParaRPr lang="en-US" sz="3921" dirty="0">
              <a:solidFill>
                <a:schemeClr val="tx1"/>
              </a:solidFill>
            </a:endParaRPr>
          </a:p>
        </p:txBody>
      </p:sp>
      <p:grpSp>
        <p:nvGrpSpPr>
          <p:cNvPr id="69" name="Group 68"/>
          <p:cNvGrpSpPr/>
          <p:nvPr/>
        </p:nvGrpSpPr>
        <p:grpSpPr>
          <a:xfrm>
            <a:off x="419869" y="3904378"/>
            <a:ext cx="11314471" cy="1915088"/>
            <a:chOff x="428288" y="3982172"/>
            <a:chExt cx="11541350" cy="1953489"/>
          </a:xfrm>
        </p:grpSpPr>
        <p:sp>
          <p:nvSpPr>
            <p:cNvPr id="70" name="Title 1"/>
            <p:cNvSpPr txBox="1">
              <a:spLocks/>
            </p:cNvSpPr>
            <p:nvPr/>
          </p:nvSpPr>
          <p:spPr>
            <a:xfrm>
              <a:off x="428288" y="4779750"/>
              <a:ext cx="11541350" cy="1155911"/>
            </a:xfrm>
            <a:prstGeom prst="rect">
              <a:avLst/>
            </a:prstGeom>
            <a:solidFill>
              <a:srgbClr val="878787"/>
            </a:solidFill>
          </p:spPr>
          <p:txBody>
            <a:bodyPr vert="horz" lIns="268927" tIns="182854" rIns="182854" bIns="182854" numCol="3" spcCol="182880" rtlCol="0" anchor="t">
              <a:noAutofit/>
            </a:bodyPr>
            <a:lstStyle>
              <a:defPPr>
                <a:defRPr lang="en-US"/>
              </a:defPPr>
              <a:lvl1pPr defTabSz="914400">
                <a:lnSpc>
                  <a:spcPct val="100000"/>
                </a:lnSpc>
                <a:spcBef>
                  <a:spcPct val="0"/>
                </a:spcBef>
                <a:buNone/>
                <a:defRPr sz="1600">
                  <a:latin typeface="Segoe UI Semilight" panose="020B0402040204020203" pitchFamily="34" charset="0"/>
                  <a:ea typeface="+mj-ea"/>
                  <a:cs typeface="Segoe UI Semilight" panose="020B0402040204020203" pitchFamily="34" charset="0"/>
                </a:defRPr>
              </a:lvl1pPr>
            </a:lstStyle>
            <a:p>
              <a:pPr defTabSz="896386"/>
              <a:r>
                <a:rPr lang="en-US" sz="1568" kern="0" dirty="0">
                  <a:solidFill>
                    <a:sysClr val="windowText" lastClr="000000"/>
                  </a:solidFill>
                  <a:sym typeface="Wingdings" panose="05000000000000000000" pitchFamily="2" charset="2"/>
                </a:rPr>
                <a:t>Agile </a:t>
              </a:r>
              <a:r>
                <a:rPr lang="en-US" sz="1568" kern="0" dirty="0">
                  <a:solidFill>
                    <a:sysClr val="windowText" lastClr="000000"/>
                  </a:solidFill>
                  <a:sym typeface="Wingdings" panose="05000000000000000000" pitchFamily="2" charset="2"/>
                </a:rPr>
                <a:t>planning + collaboration tools</a:t>
              </a:r>
            </a:p>
            <a:p>
              <a:pPr defTabSz="896386"/>
              <a:r>
                <a:rPr lang="en-US" sz="1568" kern="0" dirty="0">
                  <a:solidFill>
                    <a:sysClr val="windowText" lastClr="000000"/>
                  </a:solidFill>
                  <a:sym typeface="Wingdings" panose="05000000000000000000" pitchFamily="2" charset="2"/>
                </a:rPr>
                <a:t>Source Control repositories</a:t>
              </a:r>
            </a:p>
            <a:p>
              <a:pPr defTabSz="896386"/>
              <a:r>
                <a:rPr lang="en-US" sz="1568" kern="0" dirty="0">
                  <a:solidFill>
                    <a:sysClr val="windowText" lastClr="000000"/>
                  </a:solidFill>
                  <a:sym typeface="Wingdings" panose="05000000000000000000" pitchFamily="2" charset="2"/>
                </a:rPr>
                <a:t>Bug and work item tracking</a:t>
              </a:r>
            </a:p>
            <a:p>
              <a:pPr defTabSz="896386"/>
              <a:endParaRPr lang="en-US" sz="1568" kern="0" dirty="0">
                <a:solidFill>
                  <a:sysClr val="windowText" lastClr="000000"/>
                </a:solidFill>
                <a:sym typeface="Wingdings" panose="05000000000000000000" pitchFamily="2" charset="2"/>
              </a:endParaRPr>
            </a:p>
            <a:p>
              <a:pPr defTabSz="896386"/>
              <a:r>
                <a:rPr lang="en-US" sz="1568" kern="0" dirty="0">
                  <a:solidFill>
                    <a:sysClr val="windowText" lastClr="000000"/>
                  </a:solidFill>
                  <a:sym typeface="Wingdings" panose="05000000000000000000" pitchFamily="2" charset="2"/>
                </a:rPr>
                <a:t>Continuous </a:t>
              </a:r>
              <a:r>
                <a:rPr lang="en-US" sz="1568" kern="0" dirty="0">
                  <a:solidFill>
                    <a:sysClr val="windowText" lastClr="000000"/>
                  </a:solidFill>
                  <a:sym typeface="Wingdings" panose="05000000000000000000" pitchFamily="2" charset="2"/>
                </a:rPr>
                <a:t>integration builds</a:t>
              </a:r>
            </a:p>
            <a:p>
              <a:pPr defTabSz="896386"/>
              <a:r>
                <a:rPr lang="en-US" sz="1568" kern="0" dirty="0">
                  <a:solidFill>
                    <a:sysClr val="windowText" lastClr="000000"/>
                  </a:solidFill>
                  <a:sym typeface="Wingdings" panose="05000000000000000000" pitchFamily="2" charset="2"/>
                </a:rPr>
                <a:t>Load testing</a:t>
              </a:r>
            </a:p>
            <a:p>
              <a:pPr defTabSz="896386"/>
              <a:r>
                <a:rPr lang="en-US" sz="1568" kern="0" dirty="0">
                  <a:solidFill>
                    <a:sysClr val="windowText" lastClr="000000"/>
                  </a:solidFill>
                  <a:sym typeface="Wingdings" panose="05000000000000000000" pitchFamily="2" charset="2"/>
                </a:rPr>
                <a:t>Application performance monitoring</a:t>
              </a:r>
            </a:p>
            <a:p>
              <a:pPr defTabSz="896386"/>
              <a:endParaRPr lang="en-US" sz="1568" kern="0" dirty="0">
                <a:solidFill>
                  <a:sysClr val="windowText" lastClr="000000"/>
                </a:solidFill>
                <a:sym typeface="Wingdings" panose="05000000000000000000" pitchFamily="2" charset="2"/>
              </a:endParaRPr>
            </a:p>
            <a:p>
              <a:pPr defTabSz="896386"/>
              <a:r>
                <a:rPr lang="en-US" sz="1568" kern="0" dirty="0">
                  <a:solidFill>
                    <a:sysClr val="windowText" lastClr="000000"/>
                  </a:solidFill>
                  <a:sym typeface="Wingdings" panose="05000000000000000000" pitchFamily="2" charset="2"/>
                </a:rPr>
                <a:t>Available on-premises with </a:t>
              </a:r>
              <a:r>
                <a:rPr lang="en-US" sz="1568" kern="0" dirty="0">
                  <a:solidFill>
                    <a:sysClr val="windowText" lastClr="000000"/>
                  </a:solidFill>
                  <a:sym typeface="Wingdings" panose="05000000000000000000" pitchFamily="2" charset="2"/>
                </a:rPr>
                <a:t>TFS</a:t>
              </a:r>
            </a:p>
            <a:p>
              <a:pPr defTabSz="896386"/>
              <a:r>
                <a:rPr lang="en-US" sz="1568" kern="0" dirty="0">
                  <a:solidFill>
                    <a:sysClr val="windowText" lastClr="000000"/>
                  </a:solidFill>
                  <a:sym typeface="Wingdings" panose="05000000000000000000" pitchFamily="2" charset="2"/>
                </a:rPr>
                <a:t>Crash </a:t>
              </a:r>
              <a:r>
                <a:rPr lang="en-US" sz="1568" kern="0" dirty="0">
                  <a:solidFill>
                    <a:sysClr val="windowText" lastClr="000000"/>
                  </a:solidFill>
                  <a:sym typeface="Wingdings" panose="05000000000000000000" pitchFamily="2" charset="2"/>
                </a:rPr>
                <a:t>analytics</a:t>
              </a:r>
            </a:p>
            <a:p>
              <a:pPr defTabSz="896386"/>
              <a:r>
                <a:rPr lang="en-US" sz="1568" kern="0" dirty="0">
                  <a:solidFill>
                    <a:sysClr val="windowText" lastClr="000000"/>
                  </a:solidFill>
                  <a:sym typeface="Wingdings" panose="05000000000000000000" pitchFamily="2" charset="2"/>
                </a:rPr>
                <a:t>Free for up to 5 users</a:t>
              </a:r>
            </a:p>
          </p:txBody>
        </p:sp>
        <p:sp>
          <p:nvSpPr>
            <p:cNvPr id="71" name="Title 1"/>
            <p:cNvSpPr txBox="1">
              <a:spLocks/>
            </p:cNvSpPr>
            <p:nvPr/>
          </p:nvSpPr>
          <p:spPr>
            <a:xfrm>
              <a:off x="428288" y="3982172"/>
              <a:ext cx="11541350" cy="797579"/>
            </a:xfrm>
            <a:prstGeom prst="rect">
              <a:avLst/>
            </a:prstGeom>
            <a:solidFill>
              <a:srgbClr val="51515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800">
                  <a:gradFill>
                    <a:gsLst>
                      <a:gs pos="0">
                        <a:srgbClr val="FFFFFF"/>
                      </a:gs>
                      <a:gs pos="100000">
                        <a:srgbClr val="FFFFFF"/>
                      </a:gs>
                    </a:gsLst>
                    <a:lin ang="5400000" scaled="0"/>
                  </a:gra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102"/>
              <a:r>
                <a:rPr lang="en-US" sz="2745" kern="0" dirty="0"/>
                <a:t>     </a:t>
              </a:r>
              <a:r>
                <a:rPr lang="en-US" sz="2353" kern="0" dirty="0">
                  <a:latin typeface="Segoe UI Semilight" panose="020B0402040204020203" pitchFamily="34" charset="0"/>
                  <a:cs typeface="Segoe UI Semilight" panose="020B0402040204020203" pitchFamily="34" charset="0"/>
                </a:rPr>
                <a:t>Visual </a:t>
              </a:r>
              <a:r>
                <a:rPr lang="en-US" sz="2353" kern="0" dirty="0">
                  <a:latin typeface="Segoe UI Semilight" panose="020B0402040204020203" pitchFamily="34" charset="0"/>
                  <a:cs typeface="Segoe UI Semilight" panose="020B0402040204020203" pitchFamily="34" charset="0"/>
                </a:rPr>
                <a:t>Studio </a:t>
              </a:r>
              <a:r>
                <a:rPr lang="en-US" sz="2353" kern="0" dirty="0" smtClean="0">
                  <a:latin typeface="Segoe UI Semilight" panose="020B0402040204020203" pitchFamily="34" charset="0"/>
                  <a:cs typeface="Segoe UI Semilight" panose="020B0402040204020203" pitchFamily="34" charset="0"/>
                </a:rPr>
                <a:t>Team Services</a:t>
              </a:r>
              <a:endParaRPr lang="en-US" sz="2745" kern="0" dirty="0">
                <a:latin typeface="Segoe UI Semilight" panose="020B0402040204020203" pitchFamily="34" charset="0"/>
                <a:cs typeface="Segoe UI Semilight" panose="020B0402040204020203" pitchFamily="34" charset="0"/>
              </a:endParaRPr>
            </a:p>
          </p:txBody>
        </p:sp>
        <p:pic>
          <p:nvPicPr>
            <p:cNvPr id="72" name="Picture 71"/>
            <p:cNvPicPr>
              <a:picLocks noChangeAspect="1"/>
            </p:cNvPicPr>
            <p:nvPr/>
          </p:nvPicPr>
          <p:blipFill>
            <a:blip r:embed="rId3"/>
            <a:stretch>
              <a:fillRect/>
            </a:stretch>
          </p:blipFill>
          <p:spPr>
            <a:xfrm>
              <a:off x="4071673" y="4139163"/>
              <a:ext cx="430345" cy="429498"/>
            </a:xfrm>
            <a:prstGeom prst="rect">
              <a:avLst/>
            </a:prstGeom>
          </p:spPr>
        </p:pic>
      </p:grpSp>
      <p:grpSp>
        <p:nvGrpSpPr>
          <p:cNvPr id="3" name="Group 2"/>
          <p:cNvGrpSpPr/>
          <p:nvPr/>
        </p:nvGrpSpPr>
        <p:grpSpPr>
          <a:xfrm>
            <a:off x="419869" y="1636648"/>
            <a:ext cx="3705823" cy="2153253"/>
            <a:chOff x="6257236" y="1668970"/>
            <a:chExt cx="3780132" cy="2196430"/>
          </a:xfrm>
        </p:grpSpPr>
        <p:sp>
          <p:nvSpPr>
            <p:cNvPr id="23" name="Title 1"/>
            <p:cNvSpPr txBox="1">
              <a:spLocks/>
            </p:cNvSpPr>
            <p:nvPr/>
          </p:nvSpPr>
          <p:spPr>
            <a:xfrm>
              <a:off x="6257236" y="2500175"/>
              <a:ext cx="3780131" cy="1253539"/>
            </a:xfrm>
            <a:prstGeom prst="rect">
              <a:avLst/>
            </a:prstGeom>
            <a:solidFill>
              <a:srgbClr val="5C2E91"/>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1765" dirty="0">
                  <a:solidFill>
                    <a:schemeClr val="tx1"/>
                  </a:solidFill>
                  <a:latin typeface="Segoe UI Semilight" panose="020B0402040204020203" pitchFamily="34" charset="0"/>
                  <a:cs typeface="Segoe UI Semilight" panose="020B0402040204020203" pitchFamily="34" charset="0"/>
                </a:rPr>
                <a:t>Most complete developer IDE</a:t>
              </a:r>
            </a:p>
          </p:txBody>
        </p:sp>
        <p:sp>
          <p:nvSpPr>
            <p:cNvPr id="24" name="Rectangle 23"/>
            <p:cNvSpPr/>
            <p:nvPr/>
          </p:nvSpPr>
          <p:spPr bwMode="auto">
            <a:xfrm>
              <a:off x="6257237" y="1668970"/>
              <a:ext cx="3780131" cy="831206"/>
            </a:xfrm>
            <a:prstGeom prst="rect">
              <a:avLst/>
            </a:prstGeom>
            <a:solidFill>
              <a:srgbClr val="371B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745" kern="0" dirty="0">
                  <a:gradFill>
                    <a:gsLst>
                      <a:gs pos="0">
                        <a:srgbClr val="FFFFFF"/>
                      </a:gs>
                      <a:gs pos="100000">
                        <a:srgbClr val="FFFFFF"/>
                      </a:gs>
                    </a:gsLst>
                    <a:lin ang="5400000" scaled="0"/>
                  </a:gradFill>
                  <a:latin typeface="+mj-lt"/>
                  <a:ea typeface="Segoe UI" pitchFamily="34" charset="0"/>
                  <a:cs typeface="Segoe UI" pitchFamily="34" charset="0"/>
                </a:rPr>
                <a:t>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Visual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Studio 2015</a:t>
              </a:r>
            </a:p>
          </p:txBody>
        </p:sp>
        <p:pic>
          <p:nvPicPr>
            <p:cNvPr id="26" name="Picture 25"/>
            <p:cNvPicPr>
              <a:picLocks noChangeAspect="1"/>
            </p:cNvPicPr>
            <p:nvPr/>
          </p:nvPicPr>
          <p:blipFill>
            <a:blip r:embed="rId3"/>
            <a:stretch>
              <a:fillRect/>
            </a:stretch>
          </p:blipFill>
          <p:spPr>
            <a:xfrm>
              <a:off x="6455729" y="1853162"/>
              <a:ext cx="430345" cy="429498"/>
            </a:xfrm>
            <a:prstGeom prst="rect">
              <a:avLst/>
            </a:prstGeom>
          </p:spPr>
        </p:pic>
        <p:sp>
          <p:nvSpPr>
            <p:cNvPr id="27" name="Rectangle 26"/>
            <p:cNvSpPr/>
            <p:nvPr/>
          </p:nvSpPr>
          <p:spPr bwMode="auto">
            <a:xfrm rot="18900000">
              <a:off x="7944058" y="3571511"/>
              <a:ext cx="293889" cy="293889"/>
            </a:xfrm>
            <a:prstGeom prst="rect">
              <a:avLst/>
            </a:prstGeom>
            <a:solidFill>
              <a:srgbClr val="5C2E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p:cNvGrpSpPr/>
          <p:nvPr/>
        </p:nvGrpSpPr>
        <p:grpSpPr>
          <a:xfrm>
            <a:off x="4224193" y="1636648"/>
            <a:ext cx="3705823" cy="2153316"/>
            <a:chOff x="2390630" y="1668970"/>
            <a:chExt cx="3780132" cy="2196494"/>
          </a:xfrm>
        </p:grpSpPr>
        <p:grpSp>
          <p:nvGrpSpPr>
            <p:cNvPr id="29" name="Group 28"/>
            <p:cNvGrpSpPr/>
            <p:nvPr/>
          </p:nvGrpSpPr>
          <p:grpSpPr>
            <a:xfrm>
              <a:off x="2390630" y="1668970"/>
              <a:ext cx="3780132" cy="2084745"/>
              <a:chOff x="461566" y="1668970"/>
              <a:chExt cx="3780132" cy="2084745"/>
            </a:xfrm>
          </p:grpSpPr>
          <p:grpSp>
            <p:nvGrpSpPr>
              <p:cNvPr id="31" name="Group 30"/>
              <p:cNvGrpSpPr/>
              <p:nvPr/>
            </p:nvGrpSpPr>
            <p:grpSpPr>
              <a:xfrm>
                <a:off x="461566" y="1668970"/>
                <a:ext cx="3780132" cy="2084745"/>
                <a:chOff x="461566" y="1668970"/>
                <a:chExt cx="3780132" cy="2084745"/>
              </a:xfrm>
            </p:grpSpPr>
            <p:sp>
              <p:nvSpPr>
                <p:cNvPr id="33" name="Title 1"/>
                <p:cNvSpPr txBox="1">
                  <a:spLocks/>
                </p:cNvSpPr>
                <p:nvPr/>
              </p:nvSpPr>
              <p:spPr>
                <a:xfrm>
                  <a:off x="461566" y="2500176"/>
                  <a:ext cx="3776084" cy="1253539"/>
                </a:xfrm>
                <a:prstGeom prst="rect">
                  <a:avLst/>
                </a:prstGeom>
                <a:solidFill>
                  <a:srgbClr val="028FD6"/>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1765" dirty="0">
                      <a:solidFill>
                        <a:schemeClr val="tx1"/>
                      </a:solidFill>
                      <a:latin typeface="Segoe UI Semilight" panose="020B0402040204020203" pitchFamily="34" charset="0"/>
                      <a:cs typeface="Segoe UI Semilight" panose="020B0402040204020203" pitchFamily="34" charset="0"/>
                    </a:rPr>
                    <a:t>Code optimized editor</a:t>
                  </a:r>
                  <a:endParaRPr lang="en-US" sz="1765" dirty="0">
                    <a:solidFill>
                      <a:schemeClr val="tx1"/>
                    </a:solidFill>
                    <a:latin typeface="Segoe UI Semilight" panose="020B0402040204020203" pitchFamily="34" charset="0"/>
                    <a:cs typeface="Segoe UI Semilight" panose="020B0402040204020203" pitchFamily="34" charset="0"/>
                  </a:endParaRPr>
                </a:p>
              </p:txBody>
            </p:sp>
            <p:sp>
              <p:nvSpPr>
                <p:cNvPr id="34" name="Rectangle 33"/>
                <p:cNvSpPr/>
                <p:nvPr/>
              </p:nvSpPr>
              <p:spPr bwMode="auto">
                <a:xfrm>
                  <a:off x="461567" y="1668970"/>
                  <a:ext cx="3780131" cy="831206"/>
                </a:xfrm>
                <a:prstGeom prst="rect">
                  <a:avLst/>
                </a:prstGeom>
                <a:solidFill>
                  <a:srgbClr val="0356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745" kern="0" dirty="0">
                      <a:gradFill>
                        <a:gsLst>
                          <a:gs pos="0">
                            <a:srgbClr val="FFFFFF"/>
                          </a:gs>
                          <a:gs pos="100000">
                            <a:srgbClr val="FFFFFF"/>
                          </a:gs>
                        </a:gsLst>
                        <a:lin ang="5400000" scaled="0"/>
                      </a:gradFill>
                      <a:latin typeface="+mj-lt"/>
                      <a:ea typeface="Segoe UI" pitchFamily="34" charset="0"/>
                      <a:cs typeface="Segoe UI" pitchFamily="34" charset="0"/>
                    </a:rPr>
                    <a:t>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Visual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Studio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Code</a:t>
                  </a:r>
                  <a:endPar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pic>
            <p:nvPicPr>
              <p:cNvPr id="32" name="Picture 31"/>
              <p:cNvPicPr>
                <a:picLocks noChangeAspect="1"/>
              </p:cNvPicPr>
              <p:nvPr/>
            </p:nvPicPr>
            <p:blipFill>
              <a:blip r:embed="rId3"/>
              <a:stretch>
                <a:fillRect/>
              </a:stretch>
            </p:blipFill>
            <p:spPr>
              <a:xfrm>
                <a:off x="695525" y="1853162"/>
                <a:ext cx="430345" cy="429498"/>
              </a:xfrm>
              <a:prstGeom prst="rect">
                <a:avLst/>
              </a:prstGeom>
            </p:spPr>
          </p:pic>
        </p:grpSp>
        <p:sp>
          <p:nvSpPr>
            <p:cNvPr id="30" name="Rectangle 29"/>
            <p:cNvSpPr/>
            <p:nvPr/>
          </p:nvSpPr>
          <p:spPr bwMode="auto">
            <a:xfrm rot="18900000">
              <a:off x="4129856" y="3571881"/>
              <a:ext cx="293583" cy="293583"/>
            </a:xfrm>
            <a:prstGeom prst="rect">
              <a:avLst/>
            </a:prstGeom>
            <a:solidFill>
              <a:srgbClr val="028F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834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6ABD9"/>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64957" y="1790847"/>
            <a:ext cx="11701928" cy="3987861"/>
          </a:xfrm>
          <a:prstGeom prst="rect">
            <a:avLst/>
          </a:prstGeom>
        </p:spPr>
      </p:pic>
      <p:grpSp>
        <p:nvGrpSpPr>
          <p:cNvPr id="2" name="Group 1"/>
          <p:cNvGrpSpPr/>
          <p:nvPr/>
        </p:nvGrpSpPr>
        <p:grpSpPr>
          <a:xfrm>
            <a:off x="4442476" y="2633311"/>
            <a:ext cx="2589537" cy="2620860"/>
            <a:chOff x="8805791" y="3825484"/>
            <a:chExt cx="2641463" cy="2673414"/>
          </a:xfrm>
        </p:grpSpPr>
        <p:sp>
          <p:nvSpPr>
            <p:cNvPr id="12" name="Oval 11"/>
            <p:cNvSpPr/>
            <p:nvPr/>
          </p:nvSpPr>
          <p:spPr bwMode="auto">
            <a:xfrm>
              <a:off x="8883198" y="3934842"/>
              <a:ext cx="2564056" cy="2564056"/>
            </a:xfrm>
            <a:prstGeom prst="ellipse">
              <a:avLst/>
            </a:prstGeom>
            <a:solidFill>
              <a:srgbClr val="FFFFFF">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805791" y="3825484"/>
              <a:ext cx="2345154" cy="264796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12332992" y="1984599"/>
            <a:ext cx="4202655" cy="1900875"/>
          </a:xfrm>
          <a:prstGeom prst="rect">
            <a:avLst/>
          </a:prstGeom>
        </p:spPr>
        <p:txBody>
          <a:bodyPr wrap="square">
            <a:spAutoFit/>
          </a:bodyPr>
          <a:lstStyle/>
          <a:p>
            <a:pPr defTabSz="896386"/>
            <a:r>
              <a:rPr lang="en-US" sz="3921" kern="0" spc="-186" dirty="0">
                <a:solidFill>
                  <a:srgbClr val="FFFFFF"/>
                </a:solidFill>
                <a:latin typeface="Segoe UI"/>
              </a:rPr>
              <a:t>Visual Studio Online</a:t>
            </a:r>
            <a:endParaRPr lang="en-US" sz="1176" kern="0" dirty="0">
              <a:solidFill>
                <a:srgbClr val="FFFFFF"/>
              </a:solidFill>
            </a:endParaRPr>
          </a:p>
          <a:p>
            <a:pPr defTabSz="896386">
              <a:defRPr/>
            </a:pPr>
            <a:r>
              <a:rPr lang="en-US" sz="3921" kern="0" spc="-186" dirty="0">
                <a:solidFill>
                  <a:srgbClr val="FFFFFF"/>
                </a:solidFill>
                <a:latin typeface="Segoe UI"/>
              </a:rPr>
              <a:t>Visual Studio</a:t>
            </a:r>
          </a:p>
          <a:p>
            <a:pPr defTabSz="896386">
              <a:defRPr/>
            </a:pPr>
            <a:r>
              <a:rPr lang="en-US" sz="3921" kern="0" spc="-186" dirty="0">
                <a:solidFill>
                  <a:srgbClr val="FFFFFF"/>
                </a:solidFill>
                <a:latin typeface="Segoe UI"/>
              </a:rPr>
              <a:t>.NET</a:t>
            </a:r>
          </a:p>
        </p:txBody>
      </p:sp>
      <p:pic>
        <p:nvPicPr>
          <p:cNvPr id="18" name="Picture 17"/>
          <p:cNvPicPr>
            <a:picLocks noChangeAspect="1"/>
          </p:cNvPicPr>
          <p:nvPr/>
        </p:nvPicPr>
        <p:blipFill rotWithShape="1">
          <a:blip r:embed="rId5"/>
          <a:srcRect l="6325" t="38851" r="36934" b="43873"/>
          <a:stretch/>
        </p:blipFill>
        <p:spPr>
          <a:xfrm>
            <a:off x="4228451" y="5849256"/>
            <a:ext cx="1968837" cy="296975"/>
          </a:xfrm>
          <a:prstGeom prst="rect">
            <a:avLst/>
          </a:prstGeom>
        </p:spPr>
      </p:pic>
      <p:pic>
        <p:nvPicPr>
          <p:cNvPr id="9" name="Picture 8"/>
          <p:cNvPicPr>
            <a:picLocks noChangeAspect="1"/>
          </p:cNvPicPr>
          <p:nvPr/>
        </p:nvPicPr>
        <p:blipFill rotWithShape="1">
          <a:blip r:embed="rId5"/>
          <a:srcRect l="6721" t="65529" r="72991" b="17195"/>
          <a:stretch/>
        </p:blipFill>
        <p:spPr>
          <a:xfrm>
            <a:off x="4228451" y="6309546"/>
            <a:ext cx="703942" cy="296974"/>
          </a:xfrm>
          <a:prstGeom prst="rect">
            <a:avLst/>
          </a:prstGeom>
        </p:spPr>
      </p:pic>
      <p:pic>
        <p:nvPicPr>
          <p:cNvPr id="10" name="Picture 9"/>
          <p:cNvPicPr>
            <a:picLocks noChangeAspect="1"/>
          </p:cNvPicPr>
          <p:nvPr/>
        </p:nvPicPr>
        <p:blipFill rotWithShape="1">
          <a:blip r:embed="rId5"/>
          <a:srcRect l="6369" t="11089" r="5984" b="70996"/>
          <a:stretch/>
        </p:blipFill>
        <p:spPr>
          <a:xfrm>
            <a:off x="4228452" y="5377968"/>
            <a:ext cx="3041240" cy="307975"/>
          </a:xfrm>
          <a:prstGeom prst="rect">
            <a:avLst/>
          </a:prstGeom>
        </p:spPr>
      </p:pic>
      <p:sp>
        <p:nvSpPr>
          <p:cNvPr id="4" name="Title 3"/>
          <p:cNvSpPr>
            <a:spLocks noGrp="1"/>
          </p:cNvSpPr>
          <p:nvPr>
            <p:ph type="title"/>
          </p:nvPr>
        </p:nvSpPr>
        <p:spPr/>
        <p:txBody>
          <a:bodyPr/>
          <a:lstStyle/>
          <a:p>
            <a:r>
              <a:rPr lang="en-US" sz="4705" dirty="0">
                <a:gradFill>
                  <a:gsLst>
                    <a:gs pos="20354">
                      <a:schemeClr val="bg1"/>
                    </a:gs>
                    <a:gs pos="45000">
                      <a:schemeClr val="bg1"/>
                    </a:gs>
                  </a:gsLst>
                  <a:lin ang="5400000" scaled="0"/>
                </a:gradFill>
              </a:rPr>
              <a:t>Every app</a:t>
            </a:r>
            <a:endParaRPr lang="en-US" sz="4705" dirty="0">
              <a:gradFill>
                <a:gsLst>
                  <a:gs pos="20354">
                    <a:schemeClr val="bg1"/>
                  </a:gs>
                  <a:gs pos="45000">
                    <a:schemeClr val="bg1"/>
                  </a:gs>
                </a:gsLst>
                <a:lin ang="5400000" scaled="0"/>
              </a:gradFill>
            </a:endParaRPr>
          </a:p>
        </p:txBody>
      </p:sp>
    </p:spTree>
    <p:extLst>
      <p:ext uri="{BB962C8B-B14F-4D97-AF65-F5344CB8AC3E}">
        <p14:creationId xmlns:p14="http://schemas.microsoft.com/office/powerpoint/2010/main" val="315603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2"/>
                                        </p:tgtEl>
                                      </p:cBhvr>
                                      <p:by x="0" y="0"/>
                                    </p:animScale>
                                  </p:childTnLst>
                                </p:cTn>
                              </p:par>
                              <p:par>
                                <p:cTn id="9" presetID="6" presetClass="emph" presetSubtype="0" accel="100000" autoRev="1" fill="hold" nodeType="withEffect">
                                  <p:stCondLst>
                                    <p:cond delay="800"/>
                                  </p:stCondLst>
                                  <p:childTnLst>
                                    <p:animScale>
                                      <p:cBhvr>
                                        <p:cTn id="10" dur="200" fill="hold"/>
                                        <p:tgtEl>
                                          <p:spTgt spid="2"/>
                                        </p:tgtEl>
                                      </p:cBhvr>
                                      <p:by x="103000" y="103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600"/>
                                        <p:tgtEl>
                                          <p:spTgt spid="10"/>
                                        </p:tgtEl>
                                      </p:cBhvr>
                                    </p:animEffect>
                                  </p:childTnLst>
                                </p:cTn>
                              </p:par>
                              <p:par>
                                <p:cTn id="14" presetID="35" presetClass="path" presetSubtype="0" decel="100000" fill="hold" nodeType="withEffect">
                                  <p:stCondLst>
                                    <p:cond delay="700"/>
                                  </p:stCondLst>
                                  <p:childTnLst>
                                    <p:animMotion origin="layout" path="M -0.05553 0.00022 L -1.73347E-6 0.00022 " pathEditMode="relative" rAng="0" ptsTypes="AA">
                                      <p:cBhvr>
                                        <p:cTn id="15" dur="800" fill="hold"/>
                                        <p:tgtEl>
                                          <p:spTgt spid="10"/>
                                        </p:tgtEl>
                                        <p:attrNameLst>
                                          <p:attrName>ppt_x</p:attrName>
                                          <p:attrName>ppt_y</p:attrName>
                                        </p:attrNameLst>
                                      </p:cBhvr>
                                      <p:rCtr x="2770" y="0"/>
                                    </p:animMotion>
                                  </p:childTnLst>
                                </p:cTn>
                              </p:par>
                              <p:par>
                                <p:cTn id="16" presetID="10" presetClass="entr" presetSubtype="0" fill="hold" nodeType="withEffect">
                                  <p:stCondLst>
                                    <p:cond delay="110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600"/>
                                        <p:tgtEl>
                                          <p:spTgt spid="18"/>
                                        </p:tgtEl>
                                      </p:cBhvr>
                                    </p:animEffect>
                                  </p:childTnLst>
                                </p:cTn>
                              </p:par>
                              <p:par>
                                <p:cTn id="19" presetID="35" presetClass="path" presetSubtype="0" decel="100000" fill="hold" nodeType="withEffect">
                                  <p:stCondLst>
                                    <p:cond delay="900"/>
                                  </p:stCondLst>
                                  <p:childTnLst>
                                    <p:animMotion origin="layout" path="M -0.05553 0.00022 L -1.73347E-6 0.00022 " pathEditMode="relative" rAng="0" ptsTypes="AA">
                                      <p:cBhvr>
                                        <p:cTn id="20" dur="800" fill="hold"/>
                                        <p:tgtEl>
                                          <p:spTgt spid="18"/>
                                        </p:tgtEl>
                                        <p:attrNameLst>
                                          <p:attrName>ppt_x</p:attrName>
                                          <p:attrName>ppt_y</p:attrName>
                                        </p:attrNameLst>
                                      </p:cBhvr>
                                      <p:rCtr x="2770" y="0"/>
                                    </p:animMotion>
                                  </p:childTnLst>
                                </p:cTn>
                              </p:par>
                              <p:par>
                                <p:cTn id="21" presetID="10" presetClass="entr" presetSubtype="0" fill="hold" nodeType="withEffect">
                                  <p:stCondLst>
                                    <p:cond delay="13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600"/>
                                        <p:tgtEl>
                                          <p:spTgt spid="9"/>
                                        </p:tgtEl>
                                      </p:cBhvr>
                                    </p:animEffect>
                                  </p:childTnLst>
                                </p:cTn>
                              </p:par>
                              <p:par>
                                <p:cTn id="24" presetID="35" presetClass="path" presetSubtype="0" decel="100000" fill="hold" nodeType="withEffect">
                                  <p:stCondLst>
                                    <p:cond delay="1100"/>
                                  </p:stCondLst>
                                  <p:childTnLst>
                                    <p:animMotion origin="layout" path="M -0.05553 0.00022 L -1.73347E-6 0.00022 " pathEditMode="relative" rAng="0" ptsTypes="AA">
                                      <p:cBhvr>
                                        <p:cTn id="25" dur="800" fill="hold"/>
                                        <p:tgtEl>
                                          <p:spTgt spid="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9" name="Content Placeholder 2"/>
          <p:cNvSpPr txBox="1">
            <a:spLocks/>
          </p:cNvSpPr>
          <p:nvPr/>
        </p:nvSpPr>
        <p:spPr>
          <a:xfrm>
            <a:off x="282821" y="1202553"/>
            <a:ext cx="6031994" cy="5316418"/>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a:t>
            </a:r>
            <a:r>
              <a:rPr lang="en-US" sz="2745" dirty="0">
                <a:gradFill>
                  <a:gsLst>
                    <a:gs pos="1250">
                      <a:srgbClr val="FFFFFF"/>
                    </a:gs>
                    <a:gs pos="100000">
                      <a:srgbClr val="FFFFFF"/>
                    </a:gs>
                  </a:gsLst>
                  <a:lin ang="5400000" scaled="0"/>
                </a:gradFill>
              </a:rPr>
              <a:t>Studio Cod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 lightweight code editor that runs on Mac OSX, Linux and </a:t>
            </a:r>
            <a:r>
              <a:rPr lang="en-US" sz="1568" dirty="0">
                <a:gradFill>
                  <a:gsLst>
                    <a:gs pos="0">
                      <a:srgbClr val="FFFFFF"/>
                    </a:gs>
                    <a:gs pos="86000">
                      <a:srgbClr val="FFFFFF"/>
                    </a:gs>
                  </a:gsLst>
                  <a:path path="circle">
                    <a:fillToRect r="100000" b="100000"/>
                  </a:path>
                </a:gradFill>
                <a:latin typeface="+mn-lt"/>
              </a:rPr>
              <a:t>Windows</a:t>
            </a:r>
          </a:p>
          <a:p>
            <a:pPr marL="337702" indent="0" defTabSz="914098">
              <a:spcBef>
                <a:spcPts val="1176"/>
              </a:spcBef>
              <a:buNone/>
            </a:pPr>
            <a:endParaRPr lang="en-US" sz="1568" dirty="0">
              <a:gradFill>
                <a:gsLst>
                  <a:gs pos="0">
                    <a:srgbClr val="FFFFFF"/>
                  </a:gs>
                  <a:gs pos="86000">
                    <a:srgbClr val="FFFFFF"/>
                  </a:gs>
                </a:gsLst>
                <a:path path="circle">
                  <a:fillToRect r="100000" b="100000"/>
                </a:path>
              </a:gradFill>
              <a:latin typeface="+mn-lt"/>
            </a:endParaRPr>
          </a:p>
          <a:p>
            <a:pPr marL="336145" indent="-336145" defTabSz="914367">
              <a:buClr>
                <a:srgbClr val="FFFFFF"/>
              </a:buClr>
              <a:defRPr/>
            </a:pPr>
            <a:r>
              <a:rPr lang="en-US" sz="2745" dirty="0">
                <a:gradFill>
                  <a:gsLst>
                    <a:gs pos="1250">
                      <a:srgbClr val="FFFFFF"/>
                    </a:gs>
                    <a:gs pos="100000">
                      <a:srgbClr val="FFFFFF"/>
                    </a:gs>
                  </a:gsLst>
                  <a:lin ang="5400000" scaled="0"/>
                </a:gradFill>
              </a:rPr>
              <a:t>Visual Studio Community</a:t>
            </a:r>
          </a:p>
          <a:p>
            <a:pPr marL="337702" indent="0" defTabSz="914098">
              <a:spcBef>
                <a:spcPts val="1176"/>
              </a:spcBef>
              <a:buNone/>
              <a:defRPr/>
            </a:pPr>
            <a:r>
              <a:rPr lang="en-US" sz="1568" dirty="0">
                <a:gradFill>
                  <a:gsLst>
                    <a:gs pos="0">
                      <a:srgbClr val="FFFFFF"/>
                    </a:gs>
                    <a:gs pos="86000">
                      <a:srgbClr val="FFFFFF"/>
                    </a:gs>
                  </a:gsLst>
                  <a:path path="circle">
                    <a:fillToRect r="100000" b="100000"/>
                  </a:path>
                </a:gradFill>
                <a:latin typeface="+mn-lt"/>
              </a:rPr>
              <a:t>Free, full-featured and extensible tool for developers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building non-enterprise applications</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Studio Professional</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Professional </a:t>
            </a:r>
            <a:r>
              <a:rPr lang="en-US" sz="1568" dirty="0">
                <a:gradFill>
                  <a:gsLst>
                    <a:gs pos="0">
                      <a:srgbClr val="FFFFFF"/>
                    </a:gs>
                    <a:gs pos="86000">
                      <a:srgbClr val="FFFFFF"/>
                    </a:gs>
                  </a:gsLst>
                  <a:path path="circle">
                    <a:fillToRect r="100000" b="100000"/>
                  </a:path>
                </a:gradFill>
                <a:latin typeface="+mn-lt"/>
              </a:rPr>
              <a:t>developer tools and services for individual developers or small </a:t>
            </a:r>
            <a:r>
              <a:rPr lang="en-US" sz="1568" dirty="0">
                <a:gradFill>
                  <a:gsLst>
                    <a:gs pos="0">
                      <a:srgbClr val="FFFFFF"/>
                    </a:gs>
                    <a:gs pos="86000">
                      <a:srgbClr val="FFFFFF"/>
                    </a:gs>
                  </a:gsLst>
                  <a:path path="circle">
                    <a:fillToRect r="100000" b="100000"/>
                  </a:path>
                </a:gradFill>
                <a:latin typeface="+mn-lt"/>
              </a:rPr>
              <a:t>teams</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Studio Enterpris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Enterprise grade solution with advanced capabilities </a:t>
            </a:r>
            <a:r>
              <a:rPr lang="en-US" sz="1568" dirty="0">
                <a:gradFill>
                  <a:gsLst>
                    <a:gs pos="0">
                      <a:srgbClr val="FFFFFF"/>
                    </a:gs>
                    <a:gs pos="86000">
                      <a:srgbClr val="FFFFFF"/>
                    </a:gs>
                  </a:gsLst>
                  <a:path path="circle">
                    <a:fillToRect r="100000" b="100000"/>
                  </a:path>
                </a:gradFill>
                <a:latin typeface="+mn-lt"/>
              </a:rPr>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for </a:t>
            </a:r>
            <a:r>
              <a:rPr lang="en-US" sz="1568" dirty="0">
                <a:gradFill>
                  <a:gsLst>
                    <a:gs pos="0">
                      <a:srgbClr val="FFFFFF"/>
                    </a:gs>
                    <a:gs pos="86000">
                      <a:srgbClr val="FFFFFF"/>
                    </a:gs>
                  </a:gsLst>
                  <a:path path="circle">
                    <a:fillToRect r="100000" b="100000"/>
                  </a:path>
                </a:gradFill>
                <a:latin typeface="+mn-lt"/>
              </a:rPr>
              <a:t>teams working on projects of any size complexity, including advanced testing and </a:t>
            </a:r>
            <a:r>
              <a:rPr lang="en-US" sz="1568" dirty="0">
                <a:gradFill>
                  <a:gsLst>
                    <a:gs pos="0">
                      <a:srgbClr val="FFFFFF"/>
                    </a:gs>
                    <a:gs pos="86000">
                      <a:srgbClr val="FFFFFF"/>
                    </a:gs>
                  </a:gsLst>
                  <a:path path="circle">
                    <a:fillToRect r="100000" b="100000"/>
                  </a:path>
                </a:gradFill>
                <a:latin typeface="+mn-lt"/>
              </a:rPr>
              <a:t>DevOps</a:t>
            </a:r>
          </a:p>
        </p:txBody>
      </p:sp>
      <p:sp>
        <p:nvSpPr>
          <p:cNvPr id="2" name="Title 1"/>
          <p:cNvSpPr>
            <a:spLocks noGrp="1"/>
          </p:cNvSpPr>
          <p:nvPr>
            <p:ph type="title"/>
          </p:nvPr>
        </p:nvSpPr>
        <p:spPr/>
        <p:txBody>
          <a:bodyPr/>
          <a:lstStyle/>
          <a:p>
            <a:r>
              <a:rPr lang="en-US" sz="4705" dirty="0">
                <a:gradFill>
                  <a:gsLst>
                    <a:gs pos="1250">
                      <a:schemeClr val="bg1"/>
                    </a:gs>
                    <a:gs pos="100000">
                      <a:schemeClr val="bg1"/>
                    </a:gs>
                  </a:gsLst>
                  <a:lin ang="5400000" scaled="0"/>
                </a:gradFill>
              </a:rPr>
              <a:t>Every developer</a:t>
            </a:r>
            <a:endParaRPr lang="en-US" sz="4705" dirty="0">
              <a:gradFill>
                <a:gsLst>
                  <a:gs pos="1250">
                    <a:schemeClr val="bg1"/>
                  </a:gs>
                  <a:gs pos="100000">
                    <a:schemeClr val="bg1"/>
                  </a:gs>
                </a:gsLst>
                <a:lin ang="5400000" scaled="0"/>
              </a:gradFill>
            </a:endParaRPr>
          </a:p>
        </p:txBody>
      </p:sp>
      <p:grpSp>
        <p:nvGrpSpPr>
          <p:cNvPr id="10" name="Group 4"/>
          <p:cNvGrpSpPr>
            <a:grpSpLocks noChangeAspect="1"/>
          </p:cNvGrpSpPr>
          <p:nvPr/>
        </p:nvGrpSpPr>
        <p:grpSpPr bwMode="auto">
          <a:xfrm>
            <a:off x="6801446" y="2152723"/>
            <a:ext cx="5120007" cy="2552554"/>
            <a:chOff x="3629" y="980"/>
            <a:chExt cx="4467" cy="2227"/>
          </a:xfrm>
        </p:grpSpPr>
        <p:sp>
          <p:nvSpPr>
            <p:cNvPr id="11" name="Freeform 5"/>
            <p:cNvSpPr>
              <a:spLocks/>
            </p:cNvSpPr>
            <p:nvPr/>
          </p:nvSpPr>
          <p:spPr bwMode="auto">
            <a:xfrm>
              <a:off x="3650" y="3032"/>
              <a:ext cx="1394" cy="175"/>
            </a:xfrm>
            <a:custGeom>
              <a:avLst/>
              <a:gdLst>
                <a:gd name="T0" fmla="*/ 552 w 589"/>
                <a:gd name="T1" fmla="*/ 0 h 74"/>
                <a:gd name="T2" fmla="*/ 37 w 589"/>
                <a:gd name="T3" fmla="*/ 0 h 74"/>
                <a:gd name="T4" fmla="*/ 0 w 589"/>
                <a:gd name="T5" fmla="*/ 37 h 74"/>
                <a:gd name="T6" fmla="*/ 37 w 589"/>
                <a:gd name="T7" fmla="*/ 74 h 74"/>
                <a:gd name="T8" fmla="*/ 552 w 589"/>
                <a:gd name="T9" fmla="*/ 74 h 74"/>
                <a:gd name="T10" fmla="*/ 589 w 589"/>
                <a:gd name="T11" fmla="*/ 37 h 74"/>
                <a:gd name="T12" fmla="*/ 552 w 58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89" h="74">
                  <a:moveTo>
                    <a:pt x="552" y="0"/>
                  </a:moveTo>
                  <a:cubicBezTo>
                    <a:pt x="37" y="0"/>
                    <a:pt x="37" y="0"/>
                    <a:pt x="37" y="0"/>
                  </a:cubicBezTo>
                  <a:cubicBezTo>
                    <a:pt x="17" y="0"/>
                    <a:pt x="0" y="16"/>
                    <a:pt x="0" y="37"/>
                  </a:cubicBezTo>
                  <a:cubicBezTo>
                    <a:pt x="0" y="57"/>
                    <a:pt x="17" y="74"/>
                    <a:pt x="37" y="74"/>
                  </a:cubicBezTo>
                  <a:cubicBezTo>
                    <a:pt x="552" y="74"/>
                    <a:pt x="552" y="74"/>
                    <a:pt x="552" y="74"/>
                  </a:cubicBezTo>
                  <a:cubicBezTo>
                    <a:pt x="573" y="74"/>
                    <a:pt x="589" y="57"/>
                    <a:pt x="589" y="37"/>
                  </a:cubicBezTo>
                  <a:cubicBezTo>
                    <a:pt x="589" y="16"/>
                    <a:pt x="573" y="0"/>
                    <a:pt x="55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 name="Freeform 6"/>
            <p:cNvSpPr>
              <a:spLocks/>
            </p:cNvSpPr>
            <p:nvPr/>
          </p:nvSpPr>
          <p:spPr bwMode="auto">
            <a:xfrm>
              <a:off x="6665" y="3032"/>
              <a:ext cx="660" cy="175"/>
            </a:xfrm>
            <a:custGeom>
              <a:avLst/>
              <a:gdLst>
                <a:gd name="T0" fmla="*/ 242 w 279"/>
                <a:gd name="T1" fmla="*/ 0 h 74"/>
                <a:gd name="T2" fmla="*/ 37 w 279"/>
                <a:gd name="T3" fmla="*/ 0 h 74"/>
                <a:gd name="T4" fmla="*/ 0 w 279"/>
                <a:gd name="T5" fmla="*/ 37 h 74"/>
                <a:gd name="T6" fmla="*/ 37 w 279"/>
                <a:gd name="T7" fmla="*/ 74 h 74"/>
                <a:gd name="T8" fmla="*/ 242 w 279"/>
                <a:gd name="T9" fmla="*/ 74 h 74"/>
                <a:gd name="T10" fmla="*/ 279 w 279"/>
                <a:gd name="T11" fmla="*/ 37 h 74"/>
                <a:gd name="T12" fmla="*/ 242 w 27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79" h="74">
                  <a:moveTo>
                    <a:pt x="242" y="0"/>
                  </a:moveTo>
                  <a:cubicBezTo>
                    <a:pt x="37" y="0"/>
                    <a:pt x="37" y="0"/>
                    <a:pt x="37" y="0"/>
                  </a:cubicBezTo>
                  <a:cubicBezTo>
                    <a:pt x="17" y="0"/>
                    <a:pt x="0" y="16"/>
                    <a:pt x="0" y="37"/>
                  </a:cubicBezTo>
                  <a:cubicBezTo>
                    <a:pt x="0" y="57"/>
                    <a:pt x="17" y="74"/>
                    <a:pt x="37" y="74"/>
                  </a:cubicBezTo>
                  <a:cubicBezTo>
                    <a:pt x="242" y="74"/>
                    <a:pt x="242" y="74"/>
                    <a:pt x="242" y="74"/>
                  </a:cubicBezTo>
                  <a:cubicBezTo>
                    <a:pt x="262" y="74"/>
                    <a:pt x="279" y="57"/>
                    <a:pt x="279" y="37"/>
                  </a:cubicBezTo>
                  <a:cubicBezTo>
                    <a:pt x="279" y="16"/>
                    <a:pt x="262" y="0"/>
                    <a:pt x="24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 name="Freeform 7"/>
            <p:cNvSpPr>
              <a:spLocks/>
            </p:cNvSpPr>
            <p:nvPr/>
          </p:nvSpPr>
          <p:spPr bwMode="auto">
            <a:xfrm>
              <a:off x="6019" y="1897"/>
              <a:ext cx="270" cy="353"/>
            </a:xfrm>
            <a:custGeom>
              <a:avLst/>
              <a:gdLst>
                <a:gd name="T0" fmla="*/ 0 w 114"/>
                <a:gd name="T1" fmla="*/ 11 h 149"/>
                <a:gd name="T2" fmla="*/ 0 w 114"/>
                <a:gd name="T3" fmla="*/ 138 h 149"/>
                <a:gd name="T4" fmla="*/ 11 w 114"/>
                <a:gd name="T5" fmla="*/ 149 h 149"/>
                <a:gd name="T6" fmla="*/ 103 w 114"/>
                <a:gd name="T7" fmla="*/ 149 h 149"/>
                <a:gd name="T8" fmla="*/ 114 w 114"/>
                <a:gd name="T9" fmla="*/ 138 h 149"/>
                <a:gd name="T10" fmla="*/ 114 w 114"/>
                <a:gd name="T11" fmla="*/ 11 h 149"/>
                <a:gd name="T12" fmla="*/ 103 w 114"/>
                <a:gd name="T13" fmla="*/ 0 h 149"/>
                <a:gd name="T14" fmla="*/ 11 w 114"/>
                <a:gd name="T15" fmla="*/ 0 h 149"/>
                <a:gd name="T16" fmla="*/ 0 w 114"/>
                <a:gd name="T17"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49">
                  <a:moveTo>
                    <a:pt x="0" y="11"/>
                  </a:moveTo>
                  <a:cubicBezTo>
                    <a:pt x="0" y="138"/>
                    <a:pt x="0" y="138"/>
                    <a:pt x="0" y="138"/>
                  </a:cubicBezTo>
                  <a:cubicBezTo>
                    <a:pt x="0" y="138"/>
                    <a:pt x="0" y="149"/>
                    <a:pt x="11" y="149"/>
                  </a:cubicBezTo>
                  <a:cubicBezTo>
                    <a:pt x="103" y="149"/>
                    <a:pt x="103" y="149"/>
                    <a:pt x="103" y="149"/>
                  </a:cubicBezTo>
                  <a:cubicBezTo>
                    <a:pt x="103" y="149"/>
                    <a:pt x="114" y="149"/>
                    <a:pt x="114" y="138"/>
                  </a:cubicBezTo>
                  <a:cubicBezTo>
                    <a:pt x="114" y="11"/>
                    <a:pt x="114" y="11"/>
                    <a:pt x="114" y="11"/>
                  </a:cubicBezTo>
                  <a:cubicBezTo>
                    <a:pt x="114" y="11"/>
                    <a:pt x="114" y="0"/>
                    <a:pt x="103" y="0"/>
                  </a:cubicBezTo>
                  <a:cubicBezTo>
                    <a:pt x="11" y="0"/>
                    <a:pt x="11" y="0"/>
                    <a:pt x="11" y="0"/>
                  </a:cubicBezTo>
                  <a:cubicBezTo>
                    <a:pt x="11" y="0"/>
                    <a:pt x="0" y="0"/>
                    <a:pt x="0" y="1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 name="Freeform 8"/>
            <p:cNvSpPr>
              <a:spLocks/>
            </p:cNvSpPr>
            <p:nvPr/>
          </p:nvSpPr>
          <p:spPr bwMode="auto">
            <a:xfrm>
              <a:off x="6047" y="1916"/>
              <a:ext cx="211" cy="54"/>
            </a:xfrm>
            <a:custGeom>
              <a:avLst/>
              <a:gdLst>
                <a:gd name="T0" fmla="*/ 0 w 89"/>
                <a:gd name="T1" fmla="*/ 11 h 23"/>
                <a:gd name="T2" fmla="*/ 0 w 89"/>
                <a:gd name="T3" fmla="*/ 12 h 23"/>
                <a:gd name="T4" fmla="*/ 11 w 89"/>
                <a:gd name="T5" fmla="*/ 23 h 23"/>
                <a:gd name="T6" fmla="*/ 78 w 89"/>
                <a:gd name="T7" fmla="*/ 23 h 23"/>
                <a:gd name="T8" fmla="*/ 89 w 89"/>
                <a:gd name="T9" fmla="*/ 12 h 23"/>
                <a:gd name="T10" fmla="*/ 89 w 89"/>
                <a:gd name="T11" fmla="*/ 11 h 23"/>
                <a:gd name="T12" fmla="*/ 78 w 89"/>
                <a:gd name="T13" fmla="*/ 0 h 23"/>
                <a:gd name="T14" fmla="*/ 11 w 89"/>
                <a:gd name="T15" fmla="*/ 0 h 23"/>
                <a:gd name="T16" fmla="*/ 0 w 89"/>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3">
                  <a:moveTo>
                    <a:pt x="0" y="11"/>
                  </a:moveTo>
                  <a:cubicBezTo>
                    <a:pt x="0" y="12"/>
                    <a:pt x="0" y="12"/>
                    <a:pt x="0" y="12"/>
                  </a:cubicBezTo>
                  <a:cubicBezTo>
                    <a:pt x="0" y="12"/>
                    <a:pt x="0" y="23"/>
                    <a:pt x="11" y="23"/>
                  </a:cubicBezTo>
                  <a:cubicBezTo>
                    <a:pt x="78" y="23"/>
                    <a:pt x="78" y="23"/>
                    <a:pt x="78" y="23"/>
                  </a:cubicBezTo>
                  <a:cubicBezTo>
                    <a:pt x="78" y="23"/>
                    <a:pt x="89" y="23"/>
                    <a:pt x="89" y="12"/>
                  </a:cubicBezTo>
                  <a:cubicBezTo>
                    <a:pt x="89" y="11"/>
                    <a:pt x="89" y="11"/>
                    <a:pt x="89" y="11"/>
                  </a:cubicBezTo>
                  <a:cubicBezTo>
                    <a:pt x="89" y="11"/>
                    <a:pt x="89" y="0"/>
                    <a:pt x="78" y="0"/>
                  </a:cubicBezTo>
                  <a:cubicBezTo>
                    <a:pt x="11" y="0"/>
                    <a:pt x="11" y="0"/>
                    <a:pt x="11" y="0"/>
                  </a:cubicBezTo>
                  <a:cubicBezTo>
                    <a:pt x="11" y="0"/>
                    <a:pt x="0" y="0"/>
                    <a:pt x="0" y="11"/>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 name="Freeform 9"/>
            <p:cNvSpPr>
              <a:spLocks/>
            </p:cNvSpPr>
            <p:nvPr/>
          </p:nvSpPr>
          <p:spPr bwMode="auto">
            <a:xfrm>
              <a:off x="6277" y="1961"/>
              <a:ext cx="113" cy="227"/>
            </a:xfrm>
            <a:custGeom>
              <a:avLst/>
              <a:gdLst>
                <a:gd name="T0" fmla="*/ 24 w 48"/>
                <a:gd name="T1" fmla="*/ 48 h 96"/>
                <a:gd name="T2" fmla="*/ 0 w 48"/>
                <a:gd name="T3" fmla="*/ 24 h 96"/>
                <a:gd name="T4" fmla="*/ 0 w 48"/>
                <a:gd name="T5" fmla="*/ 0 h 96"/>
                <a:gd name="T6" fmla="*/ 48 w 48"/>
                <a:gd name="T7" fmla="*/ 48 h 96"/>
                <a:gd name="T8" fmla="*/ 0 w 48"/>
                <a:gd name="T9" fmla="*/ 96 h 96"/>
                <a:gd name="T10" fmla="*/ 0 w 48"/>
                <a:gd name="T11" fmla="*/ 72 h 96"/>
                <a:gd name="T12" fmla="*/ 24 w 48"/>
                <a:gd name="T13" fmla="*/ 48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24" y="48"/>
                  </a:moveTo>
                  <a:cubicBezTo>
                    <a:pt x="24" y="35"/>
                    <a:pt x="13" y="24"/>
                    <a:pt x="0" y="24"/>
                  </a:cubicBezTo>
                  <a:cubicBezTo>
                    <a:pt x="0" y="0"/>
                    <a:pt x="0" y="0"/>
                    <a:pt x="0" y="0"/>
                  </a:cubicBezTo>
                  <a:cubicBezTo>
                    <a:pt x="27" y="0"/>
                    <a:pt x="48" y="21"/>
                    <a:pt x="48" y="48"/>
                  </a:cubicBezTo>
                  <a:cubicBezTo>
                    <a:pt x="48" y="75"/>
                    <a:pt x="27" y="96"/>
                    <a:pt x="0" y="96"/>
                  </a:cubicBezTo>
                  <a:cubicBezTo>
                    <a:pt x="0" y="72"/>
                    <a:pt x="0" y="72"/>
                    <a:pt x="0" y="72"/>
                  </a:cubicBezTo>
                  <a:cubicBezTo>
                    <a:pt x="13" y="72"/>
                    <a:pt x="24" y="61"/>
                    <a:pt x="24" y="4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6" name="Freeform 10"/>
            <p:cNvSpPr>
              <a:spLocks/>
            </p:cNvSpPr>
            <p:nvPr/>
          </p:nvSpPr>
          <p:spPr bwMode="auto">
            <a:xfrm>
              <a:off x="6019" y="1980"/>
              <a:ext cx="270" cy="270"/>
            </a:xfrm>
            <a:custGeom>
              <a:avLst/>
              <a:gdLst>
                <a:gd name="T0" fmla="*/ 109 w 114"/>
                <a:gd name="T1" fmla="*/ 0 h 114"/>
                <a:gd name="T2" fmla="*/ 0 w 114"/>
                <a:gd name="T3" fmla="*/ 75 h 114"/>
                <a:gd name="T4" fmla="*/ 0 w 114"/>
                <a:gd name="T5" fmla="*/ 103 h 114"/>
                <a:gd name="T6" fmla="*/ 11 w 114"/>
                <a:gd name="T7" fmla="*/ 114 h 114"/>
                <a:gd name="T8" fmla="*/ 103 w 114"/>
                <a:gd name="T9" fmla="*/ 114 h 114"/>
                <a:gd name="T10" fmla="*/ 114 w 114"/>
                <a:gd name="T11" fmla="*/ 103 h 114"/>
                <a:gd name="T12" fmla="*/ 114 w 114"/>
                <a:gd name="T13" fmla="*/ 88 h 114"/>
                <a:gd name="T14" fmla="*/ 109 w 114"/>
                <a:gd name="T15" fmla="*/ 88 h 114"/>
                <a:gd name="T16" fmla="*/ 109 w 114"/>
                <a:gd name="T17" fmla="*/ 64 h 114"/>
                <a:gd name="T18" fmla="*/ 114 w 114"/>
                <a:gd name="T19" fmla="*/ 64 h 114"/>
                <a:gd name="T20" fmla="*/ 114 w 114"/>
                <a:gd name="T21" fmla="*/ 17 h 114"/>
                <a:gd name="T22" fmla="*/ 109 w 114"/>
                <a:gd name="T23" fmla="*/ 16 h 114"/>
                <a:gd name="T24" fmla="*/ 109 w 114"/>
                <a:gd name="T2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14">
                  <a:moveTo>
                    <a:pt x="109" y="0"/>
                  </a:moveTo>
                  <a:cubicBezTo>
                    <a:pt x="0" y="75"/>
                    <a:pt x="0" y="75"/>
                    <a:pt x="0" y="75"/>
                  </a:cubicBezTo>
                  <a:cubicBezTo>
                    <a:pt x="0" y="103"/>
                    <a:pt x="0" y="103"/>
                    <a:pt x="0" y="103"/>
                  </a:cubicBezTo>
                  <a:cubicBezTo>
                    <a:pt x="0" y="103"/>
                    <a:pt x="0" y="114"/>
                    <a:pt x="11" y="114"/>
                  </a:cubicBezTo>
                  <a:cubicBezTo>
                    <a:pt x="103" y="114"/>
                    <a:pt x="103" y="114"/>
                    <a:pt x="103" y="114"/>
                  </a:cubicBezTo>
                  <a:cubicBezTo>
                    <a:pt x="103" y="114"/>
                    <a:pt x="114" y="114"/>
                    <a:pt x="114" y="103"/>
                  </a:cubicBezTo>
                  <a:cubicBezTo>
                    <a:pt x="114" y="88"/>
                    <a:pt x="114" y="88"/>
                    <a:pt x="114" y="88"/>
                  </a:cubicBezTo>
                  <a:cubicBezTo>
                    <a:pt x="113" y="88"/>
                    <a:pt x="111" y="88"/>
                    <a:pt x="109" y="88"/>
                  </a:cubicBezTo>
                  <a:cubicBezTo>
                    <a:pt x="109" y="64"/>
                    <a:pt x="109" y="64"/>
                    <a:pt x="109" y="64"/>
                  </a:cubicBezTo>
                  <a:cubicBezTo>
                    <a:pt x="111" y="64"/>
                    <a:pt x="113" y="64"/>
                    <a:pt x="114" y="64"/>
                  </a:cubicBezTo>
                  <a:cubicBezTo>
                    <a:pt x="114" y="17"/>
                    <a:pt x="114" y="17"/>
                    <a:pt x="114" y="17"/>
                  </a:cubicBezTo>
                  <a:cubicBezTo>
                    <a:pt x="113" y="16"/>
                    <a:pt x="111" y="16"/>
                    <a:pt x="109" y="16"/>
                  </a:cubicBezTo>
                  <a:cubicBezTo>
                    <a:pt x="109" y="0"/>
                    <a:pt x="109" y="0"/>
                    <a:pt x="109"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7" name="Freeform 11"/>
            <p:cNvSpPr>
              <a:spLocks noEditPoints="1"/>
            </p:cNvSpPr>
            <p:nvPr/>
          </p:nvSpPr>
          <p:spPr bwMode="auto">
            <a:xfrm>
              <a:off x="6277" y="1970"/>
              <a:ext cx="12" cy="218"/>
            </a:xfrm>
            <a:custGeom>
              <a:avLst/>
              <a:gdLst>
                <a:gd name="T0" fmla="*/ 5 w 5"/>
                <a:gd name="T1" fmla="*/ 68 h 92"/>
                <a:gd name="T2" fmla="*/ 5 w 5"/>
                <a:gd name="T3" fmla="*/ 68 h 92"/>
                <a:gd name="T4" fmla="*/ 0 w 5"/>
                <a:gd name="T5" fmla="*/ 68 h 92"/>
                <a:gd name="T6" fmla="*/ 0 w 5"/>
                <a:gd name="T7" fmla="*/ 92 h 92"/>
                <a:gd name="T8" fmla="*/ 5 w 5"/>
                <a:gd name="T9" fmla="*/ 92 h 92"/>
                <a:gd name="T10" fmla="*/ 5 w 5"/>
                <a:gd name="T11" fmla="*/ 92 h 92"/>
                <a:gd name="T12" fmla="*/ 5 w 5"/>
                <a:gd name="T13" fmla="*/ 68 h 92"/>
                <a:gd name="T14" fmla="*/ 5 w 5"/>
                <a:gd name="T15" fmla="*/ 0 h 92"/>
                <a:gd name="T16" fmla="*/ 0 w 5"/>
                <a:gd name="T17" fmla="*/ 4 h 92"/>
                <a:gd name="T18" fmla="*/ 0 w 5"/>
                <a:gd name="T19" fmla="*/ 20 h 92"/>
                <a:gd name="T20" fmla="*/ 5 w 5"/>
                <a:gd name="T21" fmla="*/ 21 h 92"/>
                <a:gd name="T22" fmla="*/ 5 w 5"/>
                <a:gd name="T23" fmla="*/ 21 h 92"/>
                <a:gd name="T24" fmla="*/ 5 w 5"/>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92">
                  <a:moveTo>
                    <a:pt x="5" y="68"/>
                  </a:moveTo>
                  <a:cubicBezTo>
                    <a:pt x="5" y="68"/>
                    <a:pt x="5" y="68"/>
                    <a:pt x="5" y="68"/>
                  </a:cubicBezTo>
                  <a:cubicBezTo>
                    <a:pt x="4" y="68"/>
                    <a:pt x="2" y="68"/>
                    <a:pt x="0" y="68"/>
                  </a:cubicBezTo>
                  <a:cubicBezTo>
                    <a:pt x="0" y="92"/>
                    <a:pt x="0" y="92"/>
                    <a:pt x="0" y="92"/>
                  </a:cubicBezTo>
                  <a:cubicBezTo>
                    <a:pt x="2" y="92"/>
                    <a:pt x="4" y="92"/>
                    <a:pt x="5" y="92"/>
                  </a:cubicBezTo>
                  <a:cubicBezTo>
                    <a:pt x="5" y="92"/>
                    <a:pt x="5" y="92"/>
                    <a:pt x="5" y="92"/>
                  </a:cubicBezTo>
                  <a:cubicBezTo>
                    <a:pt x="5" y="68"/>
                    <a:pt x="5" y="68"/>
                    <a:pt x="5" y="68"/>
                  </a:cubicBezTo>
                  <a:moveTo>
                    <a:pt x="5" y="0"/>
                  </a:moveTo>
                  <a:cubicBezTo>
                    <a:pt x="0" y="4"/>
                    <a:pt x="0" y="4"/>
                    <a:pt x="0" y="4"/>
                  </a:cubicBezTo>
                  <a:cubicBezTo>
                    <a:pt x="0" y="20"/>
                    <a:pt x="0" y="20"/>
                    <a:pt x="0" y="20"/>
                  </a:cubicBezTo>
                  <a:cubicBezTo>
                    <a:pt x="2" y="20"/>
                    <a:pt x="4" y="20"/>
                    <a:pt x="5" y="21"/>
                  </a:cubicBezTo>
                  <a:cubicBezTo>
                    <a:pt x="5" y="21"/>
                    <a:pt x="5" y="21"/>
                    <a:pt x="5" y="21"/>
                  </a:cubicBezTo>
                  <a:cubicBezTo>
                    <a:pt x="5" y="0"/>
                    <a:pt x="5" y="0"/>
                    <a:pt x="5"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8" name="Freeform 12"/>
            <p:cNvSpPr>
              <a:spLocks/>
            </p:cNvSpPr>
            <p:nvPr/>
          </p:nvSpPr>
          <p:spPr bwMode="auto">
            <a:xfrm>
              <a:off x="6376" y="2077"/>
              <a:ext cx="445" cy="213"/>
            </a:xfrm>
            <a:custGeom>
              <a:avLst/>
              <a:gdLst>
                <a:gd name="T0" fmla="*/ 107 w 188"/>
                <a:gd name="T1" fmla="*/ 90 h 90"/>
                <a:gd name="T2" fmla="*/ 0 w 188"/>
                <a:gd name="T3" fmla="*/ 34 h 90"/>
                <a:gd name="T4" fmla="*/ 34 w 188"/>
                <a:gd name="T5" fmla="*/ 0 h 90"/>
                <a:gd name="T6" fmla="*/ 113 w 188"/>
                <a:gd name="T7" fmla="*/ 41 h 90"/>
                <a:gd name="T8" fmla="*/ 144 w 188"/>
                <a:gd name="T9" fmla="*/ 17 h 90"/>
                <a:gd name="T10" fmla="*/ 188 w 188"/>
                <a:gd name="T11" fmla="*/ 38 h 90"/>
                <a:gd name="T12" fmla="*/ 122 w 188"/>
                <a:gd name="T13" fmla="*/ 89 h 90"/>
                <a:gd name="T14" fmla="*/ 107 w 188"/>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90">
                  <a:moveTo>
                    <a:pt x="107" y="90"/>
                  </a:moveTo>
                  <a:cubicBezTo>
                    <a:pt x="74" y="90"/>
                    <a:pt x="38" y="71"/>
                    <a:pt x="0" y="34"/>
                  </a:cubicBezTo>
                  <a:cubicBezTo>
                    <a:pt x="34" y="0"/>
                    <a:pt x="34" y="0"/>
                    <a:pt x="34" y="0"/>
                  </a:cubicBezTo>
                  <a:cubicBezTo>
                    <a:pt x="65" y="31"/>
                    <a:pt x="93" y="45"/>
                    <a:pt x="113" y="41"/>
                  </a:cubicBezTo>
                  <a:cubicBezTo>
                    <a:pt x="134" y="38"/>
                    <a:pt x="144" y="17"/>
                    <a:pt x="144" y="17"/>
                  </a:cubicBezTo>
                  <a:cubicBezTo>
                    <a:pt x="188" y="38"/>
                    <a:pt x="188" y="38"/>
                    <a:pt x="188" y="38"/>
                  </a:cubicBezTo>
                  <a:cubicBezTo>
                    <a:pt x="187" y="40"/>
                    <a:pt x="167" y="81"/>
                    <a:pt x="122" y="89"/>
                  </a:cubicBezTo>
                  <a:cubicBezTo>
                    <a:pt x="117" y="90"/>
                    <a:pt x="112" y="90"/>
                    <a:pt x="107" y="9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9" name="Freeform 13"/>
            <p:cNvSpPr>
              <a:spLocks/>
            </p:cNvSpPr>
            <p:nvPr/>
          </p:nvSpPr>
          <p:spPr bwMode="auto">
            <a:xfrm>
              <a:off x="6310" y="2008"/>
              <a:ext cx="151" cy="154"/>
            </a:xfrm>
            <a:custGeom>
              <a:avLst/>
              <a:gdLst>
                <a:gd name="T0" fmla="*/ 11 w 64"/>
                <a:gd name="T1" fmla="*/ 46 h 65"/>
                <a:gd name="T2" fmla="*/ 10 w 64"/>
                <a:gd name="T3" fmla="*/ 45 h 65"/>
                <a:gd name="T4" fmla="*/ 10 w 64"/>
                <a:gd name="T5" fmla="*/ 10 h 65"/>
                <a:gd name="T6" fmla="*/ 45 w 64"/>
                <a:gd name="T7" fmla="*/ 11 h 65"/>
                <a:gd name="T8" fmla="*/ 46 w 64"/>
                <a:gd name="T9" fmla="*/ 11 h 65"/>
                <a:gd name="T10" fmla="*/ 46 w 64"/>
                <a:gd name="T11" fmla="*/ 11 h 65"/>
                <a:gd name="T12" fmla="*/ 64 w 64"/>
                <a:gd name="T13" fmla="*/ 30 h 65"/>
                <a:gd name="T14" fmla="*/ 29 w 64"/>
                <a:gd name="T15" fmla="*/ 65 h 65"/>
                <a:gd name="T16" fmla="*/ 10 w 64"/>
                <a:gd name="T17" fmla="*/ 46 h 65"/>
                <a:gd name="T18" fmla="*/ 11 w 64"/>
                <a:gd name="T19"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11" y="46"/>
                  </a:moveTo>
                  <a:cubicBezTo>
                    <a:pt x="10" y="45"/>
                    <a:pt x="10" y="45"/>
                    <a:pt x="10" y="45"/>
                  </a:cubicBezTo>
                  <a:cubicBezTo>
                    <a:pt x="0" y="35"/>
                    <a:pt x="0" y="19"/>
                    <a:pt x="10" y="10"/>
                  </a:cubicBezTo>
                  <a:cubicBezTo>
                    <a:pt x="20" y="0"/>
                    <a:pt x="36" y="1"/>
                    <a:pt x="45" y="11"/>
                  </a:cubicBezTo>
                  <a:cubicBezTo>
                    <a:pt x="46" y="11"/>
                    <a:pt x="46" y="11"/>
                    <a:pt x="46" y="11"/>
                  </a:cubicBezTo>
                  <a:cubicBezTo>
                    <a:pt x="46" y="11"/>
                    <a:pt x="46" y="11"/>
                    <a:pt x="46" y="11"/>
                  </a:cubicBezTo>
                  <a:cubicBezTo>
                    <a:pt x="64" y="30"/>
                    <a:pt x="64" y="30"/>
                    <a:pt x="64" y="30"/>
                  </a:cubicBezTo>
                  <a:cubicBezTo>
                    <a:pt x="29" y="65"/>
                    <a:pt x="29" y="65"/>
                    <a:pt x="29" y="65"/>
                  </a:cubicBezTo>
                  <a:cubicBezTo>
                    <a:pt x="10" y="46"/>
                    <a:pt x="10" y="46"/>
                    <a:pt x="10" y="46"/>
                  </a:cubicBezTo>
                  <a:lnTo>
                    <a:pt x="11"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0" name="Freeform 14"/>
            <p:cNvSpPr>
              <a:spLocks/>
            </p:cNvSpPr>
            <p:nvPr/>
          </p:nvSpPr>
          <p:spPr bwMode="auto">
            <a:xfrm>
              <a:off x="6762" y="3003"/>
              <a:ext cx="203" cy="116"/>
            </a:xfrm>
            <a:custGeom>
              <a:avLst/>
              <a:gdLst>
                <a:gd name="T0" fmla="*/ 0 w 203"/>
                <a:gd name="T1" fmla="*/ 88 h 116"/>
                <a:gd name="T2" fmla="*/ 87 w 203"/>
                <a:gd name="T3" fmla="*/ 0 h 116"/>
                <a:gd name="T4" fmla="*/ 203 w 203"/>
                <a:gd name="T5" fmla="*/ 0 h 116"/>
                <a:gd name="T6" fmla="*/ 203 w 203"/>
                <a:gd name="T7" fmla="*/ 116 h 116"/>
                <a:gd name="T8" fmla="*/ 0 w 203"/>
                <a:gd name="T9" fmla="*/ 116 h 116"/>
                <a:gd name="T10" fmla="*/ 0 w 203"/>
                <a:gd name="T11" fmla="*/ 88 h 116"/>
              </a:gdLst>
              <a:ahLst/>
              <a:cxnLst>
                <a:cxn ang="0">
                  <a:pos x="T0" y="T1"/>
                </a:cxn>
                <a:cxn ang="0">
                  <a:pos x="T2" y="T3"/>
                </a:cxn>
                <a:cxn ang="0">
                  <a:pos x="T4" y="T5"/>
                </a:cxn>
                <a:cxn ang="0">
                  <a:pos x="T6" y="T7"/>
                </a:cxn>
                <a:cxn ang="0">
                  <a:pos x="T8" y="T9"/>
                </a:cxn>
                <a:cxn ang="0">
                  <a:pos x="T10" y="T11"/>
                </a:cxn>
              </a:cxnLst>
              <a:rect l="0" t="0" r="r" b="b"/>
              <a:pathLst>
                <a:path w="203" h="116">
                  <a:moveTo>
                    <a:pt x="0" y="88"/>
                  </a:moveTo>
                  <a:lnTo>
                    <a:pt x="87" y="0"/>
                  </a:lnTo>
                  <a:lnTo>
                    <a:pt x="203" y="0"/>
                  </a:lnTo>
                  <a:lnTo>
                    <a:pt x="203" y="116"/>
                  </a:lnTo>
                  <a:lnTo>
                    <a:pt x="0" y="116"/>
                  </a:lnTo>
                  <a:lnTo>
                    <a:pt x="0" y="8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1" name="Rectangle 15"/>
            <p:cNvSpPr>
              <a:spLocks noChangeArrowheads="1"/>
            </p:cNvSpPr>
            <p:nvPr/>
          </p:nvSpPr>
          <p:spPr bwMode="auto">
            <a:xfrm>
              <a:off x="6849" y="2264"/>
              <a:ext cx="116" cy="7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3" name="Rectangle 16"/>
            <p:cNvSpPr>
              <a:spLocks noChangeArrowheads="1"/>
            </p:cNvSpPr>
            <p:nvPr/>
          </p:nvSpPr>
          <p:spPr bwMode="auto">
            <a:xfrm>
              <a:off x="6849" y="2264"/>
              <a:ext cx="116" cy="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6" name="Rectangle 17"/>
            <p:cNvSpPr>
              <a:spLocks noChangeArrowheads="1"/>
            </p:cNvSpPr>
            <p:nvPr/>
          </p:nvSpPr>
          <p:spPr bwMode="auto">
            <a:xfrm>
              <a:off x="7034" y="2264"/>
              <a:ext cx="113" cy="7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7" name="Rectangle 18"/>
            <p:cNvSpPr>
              <a:spLocks noChangeArrowheads="1"/>
            </p:cNvSpPr>
            <p:nvPr/>
          </p:nvSpPr>
          <p:spPr bwMode="auto">
            <a:xfrm>
              <a:off x="7034" y="2264"/>
              <a:ext cx="113" cy="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8" name="Freeform 19"/>
            <p:cNvSpPr>
              <a:spLocks/>
            </p:cNvSpPr>
            <p:nvPr/>
          </p:nvSpPr>
          <p:spPr bwMode="auto">
            <a:xfrm>
              <a:off x="6944" y="3003"/>
              <a:ext cx="203" cy="116"/>
            </a:xfrm>
            <a:custGeom>
              <a:avLst/>
              <a:gdLst>
                <a:gd name="T0" fmla="*/ 0 w 203"/>
                <a:gd name="T1" fmla="*/ 88 h 116"/>
                <a:gd name="T2" fmla="*/ 88 w 203"/>
                <a:gd name="T3" fmla="*/ 0 h 116"/>
                <a:gd name="T4" fmla="*/ 203 w 203"/>
                <a:gd name="T5" fmla="*/ 0 h 116"/>
                <a:gd name="T6" fmla="*/ 203 w 203"/>
                <a:gd name="T7" fmla="*/ 116 h 116"/>
                <a:gd name="T8" fmla="*/ 0 w 203"/>
                <a:gd name="T9" fmla="*/ 116 h 116"/>
                <a:gd name="T10" fmla="*/ 0 w 203"/>
                <a:gd name="T11" fmla="*/ 88 h 116"/>
              </a:gdLst>
              <a:ahLst/>
              <a:cxnLst>
                <a:cxn ang="0">
                  <a:pos x="T0" y="T1"/>
                </a:cxn>
                <a:cxn ang="0">
                  <a:pos x="T2" y="T3"/>
                </a:cxn>
                <a:cxn ang="0">
                  <a:pos x="T4" y="T5"/>
                </a:cxn>
                <a:cxn ang="0">
                  <a:pos x="T6" y="T7"/>
                </a:cxn>
                <a:cxn ang="0">
                  <a:pos x="T8" y="T9"/>
                </a:cxn>
                <a:cxn ang="0">
                  <a:pos x="T10" y="T11"/>
                </a:cxn>
              </a:cxnLst>
              <a:rect l="0" t="0" r="r" b="b"/>
              <a:pathLst>
                <a:path w="203" h="116">
                  <a:moveTo>
                    <a:pt x="0" y="88"/>
                  </a:moveTo>
                  <a:lnTo>
                    <a:pt x="88" y="0"/>
                  </a:lnTo>
                  <a:lnTo>
                    <a:pt x="203" y="0"/>
                  </a:lnTo>
                  <a:lnTo>
                    <a:pt x="203" y="116"/>
                  </a:lnTo>
                  <a:lnTo>
                    <a:pt x="0" y="116"/>
                  </a:lnTo>
                  <a:lnTo>
                    <a:pt x="0" y="8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9" name="Freeform 20"/>
            <p:cNvSpPr>
              <a:spLocks/>
            </p:cNvSpPr>
            <p:nvPr/>
          </p:nvSpPr>
          <p:spPr bwMode="auto">
            <a:xfrm>
              <a:off x="6743" y="1361"/>
              <a:ext cx="582" cy="1071"/>
            </a:xfrm>
            <a:custGeom>
              <a:avLst/>
              <a:gdLst>
                <a:gd name="T0" fmla="*/ 0 w 246"/>
                <a:gd name="T1" fmla="*/ 28 h 452"/>
                <a:gd name="T2" fmla="*/ 0 w 246"/>
                <a:gd name="T3" fmla="*/ 424 h 452"/>
                <a:gd name="T4" fmla="*/ 28 w 246"/>
                <a:gd name="T5" fmla="*/ 452 h 452"/>
                <a:gd name="T6" fmla="*/ 218 w 246"/>
                <a:gd name="T7" fmla="*/ 452 h 452"/>
                <a:gd name="T8" fmla="*/ 246 w 246"/>
                <a:gd name="T9" fmla="*/ 424 h 452"/>
                <a:gd name="T10" fmla="*/ 246 w 246"/>
                <a:gd name="T11" fmla="*/ 28 h 452"/>
                <a:gd name="T12" fmla="*/ 218 w 246"/>
                <a:gd name="T13" fmla="*/ 0 h 452"/>
                <a:gd name="T14" fmla="*/ 28 w 246"/>
                <a:gd name="T15" fmla="*/ 0 h 452"/>
                <a:gd name="T16" fmla="*/ 0 w 24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52">
                  <a:moveTo>
                    <a:pt x="0" y="28"/>
                  </a:moveTo>
                  <a:cubicBezTo>
                    <a:pt x="0" y="424"/>
                    <a:pt x="0" y="424"/>
                    <a:pt x="0" y="424"/>
                  </a:cubicBezTo>
                  <a:cubicBezTo>
                    <a:pt x="0" y="424"/>
                    <a:pt x="0" y="452"/>
                    <a:pt x="28" y="452"/>
                  </a:cubicBezTo>
                  <a:cubicBezTo>
                    <a:pt x="218" y="452"/>
                    <a:pt x="218" y="452"/>
                    <a:pt x="218" y="452"/>
                  </a:cubicBezTo>
                  <a:cubicBezTo>
                    <a:pt x="218" y="452"/>
                    <a:pt x="246" y="452"/>
                    <a:pt x="246" y="424"/>
                  </a:cubicBezTo>
                  <a:cubicBezTo>
                    <a:pt x="246" y="28"/>
                    <a:pt x="246" y="28"/>
                    <a:pt x="246" y="28"/>
                  </a:cubicBezTo>
                  <a:cubicBezTo>
                    <a:pt x="246" y="28"/>
                    <a:pt x="246" y="0"/>
                    <a:pt x="218" y="0"/>
                  </a:cubicBezTo>
                  <a:cubicBezTo>
                    <a:pt x="28" y="0"/>
                    <a:pt x="28" y="0"/>
                    <a:pt x="28" y="0"/>
                  </a:cubicBezTo>
                  <a:cubicBezTo>
                    <a:pt x="28" y="0"/>
                    <a:pt x="0" y="0"/>
                    <a:pt x="0" y="2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0" name="Freeform 21"/>
            <p:cNvSpPr>
              <a:spLocks/>
            </p:cNvSpPr>
            <p:nvPr/>
          </p:nvSpPr>
          <p:spPr bwMode="auto">
            <a:xfrm>
              <a:off x="6710" y="1361"/>
              <a:ext cx="582" cy="1071"/>
            </a:xfrm>
            <a:custGeom>
              <a:avLst/>
              <a:gdLst>
                <a:gd name="T0" fmla="*/ 0 w 246"/>
                <a:gd name="T1" fmla="*/ 28 h 452"/>
                <a:gd name="T2" fmla="*/ 0 w 246"/>
                <a:gd name="T3" fmla="*/ 424 h 452"/>
                <a:gd name="T4" fmla="*/ 28 w 246"/>
                <a:gd name="T5" fmla="*/ 452 h 452"/>
                <a:gd name="T6" fmla="*/ 218 w 246"/>
                <a:gd name="T7" fmla="*/ 452 h 452"/>
                <a:gd name="T8" fmla="*/ 246 w 246"/>
                <a:gd name="T9" fmla="*/ 424 h 452"/>
                <a:gd name="T10" fmla="*/ 246 w 246"/>
                <a:gd name="T11" fmla="*/ 28 h 452"/>
                <a:gd name="T12" fmla="*/ 218 w 246"/>
                <a:gd name="T13" fmla="*/ 0 h 452"/>
                <a:gd name="T14" fmla="*/ 28 w 246"/>
                <a:gd name="T15" fmla="*/ 0 h 452"/>
                <a:gd name="T16" fmla="*/ 0 w 24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52">
                  <a:moveTo>
                    <a:pt x="0" y="28"/>
                  </a:moveTo>
                  <a:cubicBezTo>
                    <a:pt x="0" y="424"/>
                    <a:pt x="0" y="424"/>
                    <a:pt x="0" y="424"/>
                  </a:cubicBezTo>
                  <a:cubicBezTo>
                    <a:pt x="0" y="424"/>
                    <a:pt x="0" y="452"/>
                    <a:pt x="28" y="452"/>
                  </a:cubicBezTo>
                  <a:cubicBezTo>
                    <a:pt x="218" y="452"/>
                    <a:pt x="218" y="452"/>
                    <a:pt x="218" y="452"/>
                  </a:cubicBezTo>
                  <a:cubicBezTo>
                    <a:pt x="218" y="452"/>
                    <a:pt x="246" y="452"/>
                    <a:pt x="246" y="424"/>
                  </a:cubicBezTo>
                  <a:cubicBezTo>
                    <a:pt x="246" y="28"/>
                    <a:pt x="246" y="28"/>
                    <a:pt x="246" y="28"/>
                  </a:cubicBezTo>
                  <a:cubicBezTo>
                    <a:pt x="246" y="28"/>
                    <a:pt x="246" y="0"/>
                    <a:pt x="218" y="0"/>
                  </a:cubicBezTo>
                  <a:cubicBezTo>
                    <a:pt x="28" y="0"/>
                    <a:pt x="28" y="0"/>
                    <a:pt x="28" y="0"/>
                  </a:cubicBezTo>
                  <a:cubicBezTo>
                    <a:pt x="28" y="0"/>
                    <a:pt x="0" y="0"/>
                    <a:pt x="0" y="2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1" name="Rectangle 22"/>
            <p:cNvSpPr>
              <a:spLocks noChangeArrowheads="1"/>
            </p:cNvSpPr>
            <p:nvPr/>
          </p:nvSpPr>
          <p:spPr bwMode="auto">
            <a:xfrm>
              <a:off x="6776" y="1427"/>
              <a:ext cx="450" cy="806"/>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2" name="Rectangle 23"/>
            <p:cNvSpPr>
              <a:spLocks noChangeArrowheads="1"/>
            </p:cNvSpPr>
            <p:nvPr/>
          </p:nvSpPr>
          <p:spPr bwMode="auto">
            <a:xfrm>
              <a:off x="6776" y="1427"/>
              <a:ext cx="450"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3" name="Rectangle 24"/>
            <p:cNvSpPr>
              <a:spLocks noChangeArrowheads="1"/>
            </p:cNvSpPr>
            <p:nvPr/>
          </p:nvSpPr>
          <p:spPr bwMode="auto">
            <a:xfrm>
              <a:off x="7521" y="2380"/>
              <a:ext cx="571" cy="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4" name="Rectangle 25"/>
            <p:cNvSpPr>
              <a:spLocks noChangeArrowheads="1"/>
            </p:cNvSpPr>
            <p:nvPr/>
          </p:nvSpPr>
          <p:spPr bwMode="auto">
            <a:xfrm>
              <a:off x="7521" y="2380"/>
              <a:ext cx="571" cy="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5" name="Rectangle 26"/>
            <p:cNvSpPr>
              <a:spLocks noChangeArrowheads="1"/>
            </p:cNvSpPr>
            <p:nvPr/>
          </p:nvSpPr>
          <p:spPr bwMode="auto">
            <a:xfrm>
              <a:off x="7633" y="2610"/>
              <a:ext cx="203" cy="253"/>
            </a:xfrm>
            <a:prstGeom prst="rect">
              <a:avLst/>
            </a:prstGeom>
            <a:solidFill>
              <a:srgbClr val="631F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7" name="Rectangle 27"/>
            <p:cNvSpPr>
              <a:spLocks noChangeArrowheads="1"/>
            </p:cNvSpPr>
            <p:nvPr/>
          </p:nvSpPr>
          <p:spPr bwMode="auto">
            <a:xfrm>
              <a:off x="7633" y="2610"/>
              <a:ext cx="20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8" name="Rectangle 28"/>
            <p:cNvSpPr>
              <a:spLocks noChangeArrowheads="1"/>
            </p:cNvSpPr>
            <p:nvPr/>
          </p:nvSpPr>
          <p:spPr bwMode="auto">
            <a:xfrm>
              <a:off x="7722" y="2610"/>
              <a:ext cx="114" cy="25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9" name="Freeform 29"/>
            <p:cNvSpPr>
              <a:spLocks/>
            </p:cNvSpPr>
            <p:nvPr/>
          </p:nvSpPr>
          <p:spPr bwMode="auto">
            <a:xfrm>
              <a:off x="7521" y="1577"/>
              <a:ext cx="575" cy="801"/>
            </a:xfrm>
            <a:custGeom>
              <a:avLst/>
              <a:gdLst>
                <a:gd name="T0" fmla="*/ 0 w 243"/>
                <a:gd name="T1" fmla="*/ 24 h 338"/>
                <a:gd name="T2" fmla="*/ 0 w 243"/>
                <a:gd name="T3" fmla="*/ 314 h 338"/>
                <a:gd name="T4" fmla="*/ 24 w 243"/>
                <a:gd name="T5" fmla="*/ 338 h 338"/>
                <a:gd name="T6" fmla="*/ 219 w 243"/>
                <a:gd name="T7" fmla="*/ 338 h 338"/>
                <a:gd name="T8" fmla="*/ 243 w 243"/>
                <a:gd name="T9" fmla="*/ 314 h 338"/>
                <a:gd name="T10" fmla="*/ 243 w 243"/>
                <a:gd name="T11" fmla="*/ 24 h 338"/>
                <a:gd name="T12" fmla="*/ 219 w 243"/>
                <a:gd name="T13" fmla="*/ 0 h 338"/>
                <a:gd name="T14" fmla="*/ 24 w 243"/>
                <a:gd name="T15" fmla="*/ 0 h 338"/>
                <a:gd name="T16" fmla="*/ 0 w 243"/>
                <a:gd name="T17" fmla="*/ 2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338">
                  <a:moveTo>
                    <a:pt x="0" y="24"/>
                  </a:moveTo>
                  <a:cubicBezTo>
                    <a:pt x="0" y="314"/>
                    <a:pt x="0" y="314"/>
                    <a:pt x="0" y="314"/>
                  </a:cubicBezTo>
                  <a:cubicBezTo>
                    <a:pt x="0" y="314"/>
                    <a:pt x="0" y="338"/>
                    <a:pt x="24" y="338"/>
                  </a:cubicBezTo>
                  <a:cubicBezTo>
                    <a:pt x="219" y="338"/>
                    <a:pt x="219" y="338"/>
                    <a:pt x="219" y="338"/>
                  </a:cubicBezTo>
                  <a:cubicBezTo>
                    <a:pt x="219" y="338"/>
                    <a:pt x="243" y="338"/>
                    <a:pt x="243" y="314"/>
                  </a:cubicBezTo>
                  <a:cubicBezTo>
                    <a:pt x="243" y="24"/>
                    <a:pt x="243" y="24"/>
                    <a:pt x="243" y="24"/>
                  </a:cubicBezTo>
                  <a:cubicBezTo>
                    <a:pt x="243" y="24"/>
                    <a:pt x="243" y="0"/>
                    <a:pt x="219" y="0"/>
                  </a:cubicBezTo>
                  <a:cubicBezTo>
                    <a:pt x="24" y="0"/>
                    <a:pt x="24" y="0"/>
                    <a:pt x="24" y="0"/>
                  </a:cubicBezTo>
                  <a:cubicBezTo>
                    <a:pt x="24" y="0"/>
                    <a:pt x="0" y="0"/>
                    <a:pt x="0" y="24"/>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0" name="Freeform 30"/>
            <p:cNvSpPr>
              <a:spLocks/>
            </p:cNvSpPr>
            <p:nvPr/>
          </p:nvSpPr>
          <p:spPr bwMode="auto">
            <a:xfrm>
              <a:off x="7576" y="1615"/>
              <a:ext cx="464" cy="725"/>
            </a:xfrm>
            <a:custGeom>
              <a:avLst/>
              <a:gdLst>
                <a:gd name="T0" fmla="*/ 0 w 196"/>
                <a:gd name="T1" fmla="*/ 22 h 306"/>
                <a:gd name="T2" fmla="*/ 0 w 196"/>
                <a:gd name="T3" fmla="*/ 284 h 306"/>
                <a:gd name="T4" fmla="*/ 19 w 196"/>
                <a:gd name="T5" fmla="*/ 306 h 306"/>
                <a:gd name="T6" fmla="*/ 176 w 196"/>
                <a:gd name="T7" fmla="*/ 306 h 306"/>
                <a:gd name="T8" fmla="*/ 196 w 196"/>
                <a:gd name="T9" fmla="*/ 284 h 306"/>
                <a:gd name="T10" fmla="*/ 196 w 196"/>
                <a:gd name="T11" fmla="*/ 22 h 306"/>
                <a:gd name="T12" fmla="*/ 176 w 196"/>
                <a:gd name="T13" fmla="*/ 0 h 306"/>
                <a:gd name="T14" fmla="*/ 19 w 196"/>
                <a:gd name="T15" fmla="*/ 0 h 306"/>
                <a:gd name="T16" fmla="*/ 0 w 196"/>
                <a:gd name="T17" fmla="*/ 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06">
                  <a:moveTo>
                    <a:pt x="0" y="22"/>
                  </a:moveTo>
                  <a:cubicBezTo>
                    <a:pt x="0" y="284"/>
                    <a:pt x="0" y="284"/>
                    <a:pt x="0" y="284"/>
                  </a:cubicBezTo>
                  <a:cubicBezTo>
                    <a:pt x="0" y="284"/>
                    <a:pt x="0" y="306"/>
                    <a:pt x="19" y="306"/>
                  </a:cubicBezTo>
                  <a:cubicBezTo>
                    <a:pt x="176" y="306"/>
                    <a:pt x="176" y="306"/>
                    <a:pt x="176" y="306"/>
                  </a:cubicBezTo>
                  <a:cubicBezTo>
                    <a:pt x="176" y="306"/>
                    <a:pt x="196" y="306"/>
                    <a:pt x="196" y="284"/>
                  </a:cubicBezTo>
                  <a:cubicBezTo>
                    <a:pt x="196" y="22"/>
                    <a:pt x="196" y="22"/>
                    <a:pt x="196" y="22"/>
                  </a:cubicBezTo>
                  <a:cubicBezTo>
                    <a:pt x="196" y="22"/>
                    <a:pt x="196" y="0"/>
                    <a:pt x="176" y="0"/>
                  </a:cubicBezTo>
                  <a:cubicBezTo>
                    <a:pt x="19" y="0"/>
                    <a:pt x="19" y="0"/>
                    <a:pt x="19" y="0"/>
                  </a:cubicBezTo>
                  <a:cubicBezTo>
                    <a:pt x="19" y="0"/>
                    <a:pt x="0" y="0"/>
                    <a:pt x="0" y="2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1" name="Freeform 31"/>
            <p:cNvSpPr>
              <a:spLocks/>
            </p:cNvSpPr>
            <p:nvPr/>
          </p:nvSpPr>
          <p:spPr bwMode="auto">
            <a:xfrm>
              <a:off x="7521" y="1717"/>
              <a:ext cx="575" cy="661"/>
            </a:xfrm>
            <a:custGeom>
              <a:avLst/>
              <a:gdLst>
                <a:gd name="T0" fmla="*/ 243 w 243"/>
                <a:gd name="T1" fmla="*/ 0 h 279"/>
                <a:gd name="T2" fmla="*/ 219 w 243"/>
                <a:gd name="T3" fmla="*/ 21 h 279"/>
                <a:gd name="T4" fmla="*/ 219 w 243"/>
                <a:gd name="T5" fmla="*/ 46 h 279"/>
                <a:gd name="T6" fmla="*/ 241 w 243"/>
                <a:gd name="T7" fmla="*/ 46 h 279"/>
                <a:gd name="T8" fmla="*/ 241 w 243"/>
                <a:gd name="T9" fmla="*/ 50 h 279"/>
                <a:gd name="T10" fmla="*/ 219 w 243"/>
                <a:gd name="T11" fmla="*/ 50 h 279"/>
                <a:gd name="T12" fmla="*/ 219 w 243"/>
                <a:gd name="T13" fmla="*/ 186 h 279"/>
                <a:gd name="T14" fmla="*/ 241 w 243"/>
                <a:gd name="T15" fmla="*/ 186 h 279"/>
                <a:gd name="T16" fmla="*/ 241 w 243"/>
                <a:gd name="T17" fmla="*/ 190 h 279"/>
                <a:gd name="T18" fmla="*/ 219 w 243"/>
                <a:gd name="T19" fmla="*/ 190 h 279"/>
                <a:gd name="T20" fmla="*/ 219 w 243"/>
                <a:gd name="T21" fmla="*/ 241 h 279"/>
                <a:gd name="T22" fmla="*/ 199 w 243"/>
                <a:gd name="T23" fmla="*/ 263 h 279"/>
                <a:gd name="T24" fmla="*/ 42 w 243"/>
                <a:gd name="T25" fmla="*/ 263 h 279"/>
                <a:gd name="T26" fmla="*/ 23 w 243"/>
                <a:gd name="T27" fmla="*/ 241 h 279"/>
                <a:gd name="T28" fmla="*/ 23 w 243"/>
                <a:gd name="T29" fmla="*/ 195 h 279"/>
                <a:gd name="T30" fmla="*/ 0 w 243"/>
                <a:gd name="T31" fmla="*/ 216 h 279"/>
                <a:gd name="T32" fmla="*/ 0 w 243"/>
                <a:gd name="T33" fmla="*/ 255 h 279"/>
                <a:gd name="T34" fmla="*/ 24 w 243"/>
                <a:gd name="T35" fmla="*/ 279 h 279"/>
                <a:gd name="T36" fmla="*/ 219 w 243"/>
                <a:gd name="T37" fmla="*/ 279 h 279"/>
                <a:gd name="T38" fmla="*/ 243 w 243"/>
                <a:gd name="T39" fmla="*/ 255 h 279"/>
                <a:gd name="T40" fmla="*/ 243 w 243"/>
                <a:gd name="T4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279">
                  <a:moveTo>
                    <a:pt x="243" y="0"/>
                  </a:moveTo>
                  <a:cubicBezTo>
                    <a:pt x="219" y="21"/>
                    <a:pt x="219" y="21"/>
                    <a:pt x="219" y="21"/>
                  </a:cubicBezTo>
                  <a:cubicBezTo>
                    <a:pt x="219" y="46"/>
                    <a:pt x="219" y="46"/>
                    <a:pt x="219" y="46"/>
                  </a:cubicBezTo>
                  <a:cubicBezTo>
                    <a:pt x="241" y="46"/>
                    <a:pt x="241" y="46"/>
                    <a:pt x="241" y="46"/>
                  </a:cubicBezTo>
                  <a:cubicBezTo>
                    <a:pt x="241" y="50"/>
                    <a:pt x="241" y="50"/>
                    <a:pt x="241" y="50"/>
                  </a:cubicBezTo>
                  <a:cubicBezTo>
                    <a:pt x="219" y="50"/>
                    <a:pt x="219" y="50"/>
                    <a:pt x="219" y="50"/>
                  </a:cubicBezTo>
                  <a:cubicBezTo>
                    <a:pt x="219" y="186"/>
                    <a:pt x="219" y="186"/>
                    <a:pt x="219" y="186"/>
                  </a:cubicBezTo>
                  <a:cubicBezTo>
                    <a:pt x="241" y="186"/>
                    <a:pt x="241" y="186"/>
                    <a:pt x="241" y="186"/>
                  </a:cubicBezTo>
                  <a:cubicBezTo>
                    <a:pt x="241" y="190"/>
                    <a:pt x="241" y="190"/>
                    <a:pt x="241" y="190"/>
                  </a:cubicBezTo>
                  <a:cubicBezTo>
                    <a:pt x="219" y="190"/>
                    <a:pt x="219" y="190"/>
                    <a:pt x="219" y="190"/>
                  </a:cubicBezTo>
                  <a:cubicBezTo>
                    <a:pt x="219" y="241"/>
                    <a:pt x="219" y="241"/>
                    <a:pt x="219" y="241"/>
                  </a:cubicBezTo>
                  <a:cubicBezTo>
                    <a:pt x="219" y="263"/>
                    <a:pt x="199" y="263"/>
                    <a:pt x="199" y="263"/>
                  </a:cubicBezTo>
                  <a:cubicBezTo>
                    <a:pt x="42" y="263"/>
                    <a:pt x="42" y="263"/>
                    <a:pt x="42" y="263"/>
                  </a:cubicBezTo>
                  <a:cubicBezTo>
                    <a:pt x="23" y="263"/>
                    <a:pt x="23" y="241"/>
                    <a:pt x="23" y="241"/>
                  </a:cubicBezTo>
                  <a:cubicBezTo>
                    <a:pt x="23" y="195"/>
                    <a:pt x="23" y="195"/>
                    <a:pt x="23" y="195"/>
                  </a:cubicBezTo>
                  <a:cubicBezTo>
                    <a:pt x="0" y="216"/>
                    <a:pt x="0" y="216"/>
                    <a:pt x="0" y="216"/>
                  </a:cubicBezTo>
                  <a:cubicBezTo>
                    <a:pt x="0" y="255"/>
                    <a:pt x="0" y="255"/>
                    <a:pt x="0" y="255"/>
                  </a:cubicBezTo>
                  <a:cubicBezTo>
                    <a:pt x="0" y="255"/>
                    <a:pt x="0" y="279"/>
                    <a:pt x="24" y="279"/>
                  </a:cubicBezTo>
                  <a:cubicBezTo>
                    <a:pt x="219" y="279"/>
                    <a:pt x="219" y="279"/>
                    <a:pt x="219" y="279"/>
                  </a:cubicBezTo>
                  <a:cubicBezTo>
                    <a:pt x="219" y="279"/>
                    <a:pt x="243" y="279"/>
                    <a:pt x="243" y="255"/>
                  </a:cubicBezTo>
                  <a:cubicBezTo>
                    <a:pt x="243" y="0"/>
                    <a:pt x="243" y="0"/>
                    <a:pt x="243" y="0"/>
                  </a:cubicBezTo>
                </a:path>
              </a:pathLst>
            </a:custGeom>
            <a:solidFill>
              <a:srgbClr val="93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2" name="Freeform 32"/>
            <p:cNvSpPr>
              <a:spLocks noEditPoints="1"/>
            </p:cNvSpPr>
            <p:nvPr/>
          </p:nvSpPr>
          <p:spPr bwMode="auto">
            <a:xfrm>
              <a:off x="7576" y="1766"/>
              <a:ext cx="464" cy="574"/>
            </a:xfrm>
            <a:custGeom>
              <a:avLst/>
              <a:gdLst>
                <a:gd name="T0" fmla="*/ 196 w 196"/>
                <a:gd name="T1" fmla="*/ 169 h 242"/>
                <a:gd name="T2" fmla="*/ 6 w 196"/>
                <a:gd name="T3" fmla="*/ 169 h 242"/>
                <a:gd name="T4" fmla="*/ 0 w 196"/>
                <a:gd name="T5" fmla="*/ 174 h 242"/>
                <a:gd name="T6" fmla="*/ 0 w 196"/>
                <a:gd name="T7" fmla="*/ 220 h 242"/>
                <a:gd name="T8" fmla="*/ 19 w 196"/>
                <a:gd name="T9" fmla="*/ 242 h 242"/>
                <a:gd name="T10" fmla="*/ 176 w 196"/>
                <a:gd name="T11" fmla="*/ 242 h 242"/>
                <a:gd name="T12" fmla="*/ 196 w 196"/>
                <a:gd name="T13" fmla="*/ 220 h 242"/>
                <a:gd name="T14" fmla="*/ 196 w 196"/>
                <a:gd name="T15" fmla="*/ 169 h 242"/>
                <a:gd name="T16" fmla="*/ 196 w 196"/>
                <a:gd name="T17" fmla="*/ 29 h 242"/>
                <a:gd name="T18" fmla="*/ 163 w 196"/>
                <a:gd name="T19" fmla="*/ 29 h 242"/>
                <a:gd name="T20" fmla="*/ 11 w 196"/>
                <a:gd name="T21" fmla="*/ 165 h 242"/>
                <a:gd name="T22" fmla="*/ 196 w 196"/>
                <a:gd name="T23" fmla="*/ 165 h 242"/>
                <a:gd name="T24" fmla="*/ 196 w 196"/>
                <a:gd name="T25" fmla="*/ 29 h 242"/>
                <a:gd name="T26" fmla="*/ 196 w 196"/>
                <a:gd name="T27" fmla="*/ 0 h 242"/>
                <a:gd name="T28" fmla="*/ 168 w 196"/>
                <a:gd name="T29" fmla="*/ 25 h 242"/>
                <a:gd name="T30" fmla="*/ 196 w 196"/>
                <a:gd name="T31" fmla="*/ 25 h 242"/>
                <a:gd name="T32" fmla="*/ 196 w 196"/>
                <a:gd name="T3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242">
                  <a:moveTo>
                    <a:pt x="196" y="169"/>
                  </a:moveTo>
                  <a:cubicBezTo>
                    <a:pt x="6" y="169"/>
                    <a:pt x="6" y="169"/>
                    <a:pt x="6" y="169"/>
                  </a:cubicBezTo>
                  <a:cubicBezTo>
                    <a:pt x="0" y="174"/>
                    <a:pt x="0" y="174"/>
                    <a:pt x="0" y="174"/>
                  </a:cubicBezTo>
                  <a:cubicBezTo>
                    <a:pt x="0" y="220"/>
                    <a:pt x="0" y="220"/>
                    <a:pt x="0" y="220"/>
                  </a:cubicBezTo>
                  <a:cubicBezTo>
                    <a:pt x="0" y="220"/>
                    <a:pt x="0" y="242"/>
                    <a:pt x="19" y="242"/>
                  </a:cubicBezTo>
                  <a:cubicBezTo>
                    <a:pt x="176" y="242"/>
                    <a:pt x="176" y="242"/>
                    <a:pt x="176" y="242"/>
                  </a:cubicBezTo>
                  <a:cubicBezTo>
                    <a:pt x="176" y="242"/>
                    <a:pt x="196" y="242"/>
                    <a:pt x="196" y="220"/>
                  </a:cubicBezTo>
                  <a:cubicBezTo>
                    <a:pt x="196" y="169"/>
                    <a:pt x="196" y="169"/>
                    <a:pt x="196" y="169"/>
                  </a:cubicBezTo>
                  <a:moveTo>
                    <a:pt x="196" y="29"/>
                  </a:moveTo>
                  <a:cubicBezTo>
                    <a:pt x="163" y="29"/>
                    <a:pt x="163" y="29"/>
                    <a:pt x="163" y="29"/>
                  </a:cubicBezTo>
                  <a:cubicBezTo>
                    <a:pt x="11" y="165"/>
                    <a:pt x="11" y="165"/>
                    <a:pt x="11" y="165"/>
                  </a:cubicBezTo>
                  <a:cubicBezTo>
                    <a:pt x="196" y="165"/>
                    <a:pt x="196" y="165"/>
                    <a:pt x="196" y="165"/>
                  </a:cubicBezTo>
                  <a:cubicBezTo>
                    <a:pt x="196" y="29"/>
                    <a:pt x="196" y="29"/>
                    <a:pt x="196" y="29"/>
                  </a:cubicBezTo>
                  <a:moveTo>
                    <a:pt x="196" y="0"/>
                  </a:moveTo>
                  <a:cubicBezTo>
                    <a:pt x="168" y="25"/>
                    <a:pt x="168" y="25"/>
                    <a:pt x="168" y="25"/>
                  </a:cubicBezTo>
                  <a:cubicBezTo>
                    <a:pt x="196" y="25"/>
                    <a:pt x="196" y="25"/>
                    <a:pt x="196" y="25"/>
                  </a:cubicBezTo>
                  <a:cubicBezTo>
                    <a:pt x="196" y="0"/>
                    <a:pt x="196" y="0"/>
                    <a:pt x="196" y="0"/>
                  </a:cubicBezTo>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3" name="Freeform 33"/>
            <p:cNvSpPr>
              <a:spLocks/>
            </p:cNvSpPr>
            <p:nvPr/>
          </p:nvSpPr>
          <p:spPr bwMode="auto">
            <a:xfrm>
              <a:off x="5427" y="1897"/>
              <a:ext cx="272" cy="353"/>
            </a:xfrm>
            <a:custGeom>
              <a:avLst/>
              <a:gdLst>
                <a:gd name="T0" fmla="*/ 115 w 115"/>
                <a:gd name="T1" fmla="*/ 11 h 149"/>
                <a:gd name="T2" fmla="*/ 115 w 115"/>
                <a:gd name="T3" fmla="*/ 138 h 149"/>
                <a:gd name="T4" fmla="*/ 104 w 115"/>
                <a:gd name="T5" fmla="*/ 149 h 149"/>
                <a:gd name="T6" fmla="*/ 11 w 115"/>
                <a:gd name="T7" fmla="*/ 149 h 149"/>
                <a:gd name="T8" fmla="*/ 0 w 115"/>
                <a:gd name="T9" fmla="*/ 138 h 149"/>
                <a:gd name="T10" fmla="*/ 0 w 115"/>
                <a:gd name="T11" fmla="*/ 11 h 149"/>
                <a:gd name="T12" fmla="*/ 11 w 115"/>
                <a:gd name="T13" fmla="*/ 0 h 149"/>
                <a:gd name="T14" fmla="*/ 104 w 115"/>
                <a:gd name="T15" fmla="*/ 0 h 149"/>
                <a:gd name="T16" fmla="*/ 115 w 115"/>
                <a:gd name="T17"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49">
                  <a:moveTo>
                    <a:pt x="115" y="11"/>
                  </a:moveTo>
                  <a:cubicBezTo>
                    <a:pt x="115" y="138"/>
                    <a:pt x="115" y="138"/>
                    <a:pt x="115" y="138"/>
                  </a:cubicBezTo>
                  <a:cubicBezTo>
                    <a:pt x="115" y="138"/>
                    <a:pt x="115" y="149"/>
                    <a:pt x="104" y="149"/>
                  </a:cubicBezTo>
                  <a:cubicBezTo>
                    <a:pt x="11" y="149"/>
                    <a:pt x="11" y="149"/>
                    <a:pt x="11" y="149"/>
                  </a:cubicBezTo>
                  <a:cubicBezTo>
                    <a:pt x="11" y="149"/>
                    <a:pt x="0" y="149"/>
                    <a:pt x="0" y="138"/>
                  </a:cubicBezTo>
                  <a:cubicBezTo>
                    <a:pt x="0" y="11"/>
                    <a:pt x="0" y="11"/>
                    <a:pt x="0" y="11"/>
                  </a:cubicBezTo>
                  <a:cubicBezTo>
                    <a:pt x="0" y="11"/>
                    <a:pt x="0" y="0"/>
                    <a:pt x="11" y="0"/>
                  </a:cubicBezTo>
                  <a:cubicBezTo>
                    <a:pt x="104" y="0"/>
                    <a:pt x="104" y="0"/>
                    <a:pt x="104" y="0"/>
                  </a:cubicBezTo>
                  <a:cubicBezTo>
                    <a:pt x="104" y="0"/>
                    <a:pt x="115" y="0"/>
                    <a:pt x="115" y="1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4" name="Freeform 34"/>
            <p:cNvSpPr>
              <a:spLocks/>
            </p:cNvSpPr>
            <p:nvPr/>
          </p:nvSpPr>
          <p:spPr bwMode="auto">
            <a:xfrm>
              <a:off x="5460" y="1916"/>
              <a:ext cx="211" cy="54"/>
            </a:xfrm>
            <a:custGeom>
              <a:avLst/>
              <a:gdLst>
                <a:gd name="T0" fmla="*/ 89 w 89"/>
                <a:gd name="T1" fmla="*/ 11 h 23"/>
                <a:gd name="T2" fmla="*/ 89 w 89"/>
                <a:gd name="T3" fmla="*/ 12 h 23"/>
                <a:gd name="T4" fmla="*/ 78 w 89"/>
                <a:gd name="T5" fmla="*/ 23 h 23"/>
                <a:gd name="T6" fmla="*/ 11 w 89"/>
                <a:gd name="T7" fmla="*/ 23 h 23"/>
                <a:gd name="T8" fmla="*/ 0 w 89"/>
                <a:gd name="T9" fmla="*/ 12 h 23"/>
                <a:gd name="T10" fmla="*/ 0 w 89"/>
                <a:gd name="T11" fmla="*/ 11 h 23"/>
                <a:gd name="T12" fmla="*/ 11 w 89"/>
                <a:gd name="T13" fmla="*/ 0 h 23"/>
                <a:gd name="T14" fmla="*/ 78 w 89"/>
                <a:gd name="T15" fmla="*/ 0 h 23"/>
                <a:gd name="T16" fmla="*/ 89 w 89"/>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3">
                  <a:moveTo>
                    <a:pt x="89" y="11"/>
                  </a:moveTo>
                  <a:cubicBezTo>
                    <a:pt x="89" y="12"/>
                    <a:pt x="89" y="12"/>
                    <a:pt x="89" y="12"/>
                  </a:cubicBezTo>
                  <a:cubicBezTo>
                    <a:pt x="89" y="12"/>
                    <a:pt x="89" y="23"/>
                    <a:pt x="78" y="23"/>
                  </a:cubicBezTo>
                  <a:cubicBezTo>
                    <a:pt x="11" y="23"/>
                    <a:pt x="11" y="23"/>
                    <a:pt x="11" y="23"/>
                  </a:cubicBezTo>
                  <a:cubicBezTo>
                    <a:pt x="11" y="23"/>
                    <a:pt x="0" y="23"/>
                    <a:pt x="0" y="12"/>
                  </a:cubicBezTo>
                  <a:cubicBezTo>
                    <a:pt x="0" y="11"/>
                    <a:pt x="0" y="11"/>
                    <a:pt x="0" y="11"/>
                  </a:cubicBezTo>
                  <a:cubicBezTo>
                    <a:pt x="0" y="11"/>
                    <a:pt x="0" y="0"/>
                    <a:pt x="11" y="0"/>
                  </a:cubicBezTo>
                  <a:cubicBezTo>
                    <a:pt x="78" y="0"/>
                    <a:pt x="78" y="0"/>
                    <a:pt x="78" y="0"/>
                  </a:cubicBezTo>
                  <a:cubicBezTo>
                    <a:pt x="78" y="0"/>
                    <a:pt x="89" y="0"/>
                    <a:pt x="89" y="11"/>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5" name="Freeform 35"/>
            <p:cNvSpPr>
              <a:spLocks/>
            </p:cNvSpPr>
            <p:nvPr/>
          </p:nvSpPr>
          <p:spPr bwMode="auto">
            <a:xfrm>
              <a:off x="5328" y="1961"/>
              <a:ext cx="113" cy="227"/>
            </a:xfrm>
            <a:custGeom>
              <a:avLst/>
              <a:gdLst>
                <a:gd name="T0" fmla="*/ 24 w 48"/>
                <a:gd name="T1" fmla="*/ 48 h 96"/>
                <a:gd name="T2" fmla="*/ 48 w 48"/>
                <a:gd name="T3" fmla="*/ 24 h 96"/>
                <a:gd name="T4" fmla="*/ 48 w 48"/>
                <a:gd name="T5" fmla="*/ 0 h 96"/>
                <a:gd name="T6" fmla="*/ 0 w 48"/>
                <a:gd name="T7" fmla="*/ 48 h 96"/>
                <a:gd name="T8" fmla="*/ 48 w 48"/>
                <a:gd name="T9" fmla="*/ 96 h 96"/>
                <a:gd name="T10" fmla="*/ 48 w 48"/>
                <a:gd name="T11" fmla="*/ 72 h 96"/>
                <a:gd name="T12" fmla="*/ 24 w 48"/>
                <a:gd name="T13" fmla="*/ 48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24" y="48"/>
                  </a:moveTo>
                  <a:cubicBezTo>
                    <a:pt x="24" y="35"/>
                    <a:pt x="34" y="24"/>
                    <a:pt x="48" y="24"/>
                  </a:cubicBezTo>
                  <a:cubicBezTo>
                    <a:pt x="48" y="0"/>
                    <a:pt x="48" y="0"/>
                    <a:pt x="48" y="0"/>
                  </a:cubicBezTo>
                  <a:cubicBezTo>
                    <a:pt x="21" y="0"/>
                    <a:pt x="0" y="21"/>
                    <a:pt x="0" y="48"/>
                  </a:cubicBezTo>
                  <a:cubicBezTo>
                    <a:pt x="0" y="75"/>
                    <a:pt x="21" y="96"/>
                    <a:pt x="48" y="96"/>
                  </a:cubicBezTo>
                  <a:cubicBezTo>
                    <a:pt x="48" y="72"/>
                    <a:pt x="48" y="72"/>
                    <a:pt x="48" y="72"/>
                  </a:cubicBezTo>
                  <a:cubicBezTo>
                    <a:pt x="34" y="72"/>
                    <a:pt x="24" y="61"/>
                    <a:pt x="24" y="4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6" name="Freeform 36"/>
            <p:cNvSpPr>
              <a:spLocks/>
            </p:cNvSpPr>
            <p:nvPr/>
          </p:nvSpPr>
          <p:spPr bwMode="auto">
            <a:xfrm>
              <a:off x="5427" y="1980"/>
              <a:ext cx="272" cy="270"/>
            </a:xfrm>
            <a:custGeom>
              <a:avLst/>
              <a:gdLst>
                <a:gd name="T0" fmla="*/ 6 w 115"/>
                <a:gd name="T1" fmla="*/ 0 h 114"/>
                <a:gd name="T2" fmla="*/ 6 w 115"/>
                <a:gd name="T3" fmla="*/ 16 h 114"/>
                <a:gd name="T4" fmla="*/ 0 w 115"/>
                <a:gd name="T5" fmla="*/ 17 h 114"/>
                <a:gd name="T6" fmla="*/ 0 w 115"/>
                <a:gd name="T7" fmla="*/ 64 h 114"/>
                <a:gd name="T8" fmla="*/ 6 w 115"/>
                <a:gd name="T9" fmla="*/ 64 h 114"/>
                <a:gd name="T10" fmla="*/ 6 w 115"/>
                <a:gd name="T11" fmla="*/ 88 h 114"/>
                <a:gd name="T12" fmla="*/ 0 w 115"/>
                <a:gd name="T13" fmla="*/ 88 h 114"/>
                <a:gd name="T14" fmla="*/ 0 w 115"/>
                <a:gd name="T15" fmla="*/ 103 h 114"/>
                <a:gd name="T16" fmla="*/ 11 w 115"/>
                <a:gd name="T17" fmla="*/ 114 h 114"/>
                <a:gd name="T18" fmla="*/ 104 w 115"/>
                <a:gd name="T19" fmla="*/ 114 h 114"/>
                <a:gd name="T20" fmla="*/ 115 w 115"/>
                <a:gd name="T21" fmla="*/ 103 h 114"/>
                <a:gd name="T22" fmla="*/ 115 w 115"/>
                <a:gd name="T23" fmla="*/ 75 h 114"/>
                <a:gd name="T24" fmla="*/ 6 w 115"/>
                <a:gd name="T2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14">
                  <a:moveTo>
                    <a:pt x="6" y="0"/>
                  </a:moveTo>
                  <a:cubicBezTo>
                    <a:pt x="6" y="16"/>
                    <a:pt x="6" y="16"/>
                    <a:pt x="6" y="16"/>
                  </a:cubicBezTo>
                  <a:cubicBezTo>
                    <a:pt x="4" y="16"/>
                    <a:pt x="2" y="16"/>
                    <a:pt x="0" y="17"/>
                  </a:cubicBezTo>
                  <a:cubicBezTo>
                    <a:pt x="0" y="64"/>
                    <a:pt x="0" y="64"/>
                    <a:pt x="0" y="64"/>
                  </a:cubicBezTo>
                  <a:cubicBezTo>
                    <a:pt x="2" y="64"/>
                    <a:pt x="4" y="64"/>
                    <a:pt x="6" y="64"/>
                  </a:cubicBezTo>
                  <a:cubicBezTo>
                    <a:pt x="6" y="88"/>
                    <a:pt x="6" y="88"/>
                    <a:pt x="6" y="88"/>
                  </a:cubicBezTo>
                  <a:cubicBezTo>
                    <a:pt x="4" y="88"/>
                    <a:pt x="2" y="88"/>
                    <a:pt x="0" y="88"/>
                  </a:cubicBezTo>
                  <a:cubicBezTo>
                    <a:pt x="0" y="103"/>
                    <a:pt x="0" y="103"/>
                    <a:pt x="0" y="103"/>
                  </a:cubicBezTo>
                  <a:cubicBezTo>
                    <a:pt x="0" y="114"/>
                    <a:pt x="11" y="114"/>
                    <a:pt x="11" y="114"/>
                  </a:cubicBezTo>
                  <a:cubicBezTo>
                    <a:pt x="104" y="114"/>
                    <a:pt x="104" y="114"/>
                    <a:pt x="104" y="114"/>
                  </a:cubicBezTo>
                  <a:cubicBezTo>
                    <a:pt x="115" y="114"/>
                    <a:pt x="115" y="103"/>
                    <a:pt x="115" y="103"/>
                  </a:cubicBezTo>
                  <a:cubicBezTo>
                    <a:pt x="115" y="75"/>
                    <a:pt x="115" y="75"/>
                    <a:pt x="115" y="75"/>
                  </a:cubicBezTo>
                  <a:cubicBezTo>
                    <a:pt x="6" y="0"/>
                    <a:pt x="6" y="0"/>
                    <a:pt x="6"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7" name="Freeform 37"/>
            <p:cNvSpPr>
              <a:spLocks noEditPoints="1"/>
            </p:cNvSpPr>
            <p:nvPr/>
          </p:nvSpPr>
          <p:spPr bwMode="auto">
            <a:xfrm>
              <a:off x="5427" y="1970"/>
              <a:ext cx="14" cy="218"/>
            </a:xfrm>
            <a:custGeom>
              <a:avLst/>
              <a:gdLst>
                <a:gd name="T0" fmla="*/ 0 w 6"/>
                <a:gd name="T1" fmla="*/ 68 h 92"/>
                <a:gd name="T2" fmla="*/ 0 w 6"/>
                <a:gd name="T3" fmla="*/ 92 h 92"/>
                <a:gd name="T4" fmla="*/ 6 w 6"/>
                <a:gd name="T5" fmla="*/ 92 h 92"/>
                <a:gd name="T6" fmla="*/ 6 w 6"/>
                <a:gd name="T7" fmla="*/ 68 h 92"/>
                <a:gd name="T8" fmla="*/ 0 w 6"/>
                <a:gd name="T9" fmla="*/ 68 h 92"/>
                <a:gd name="T10" fmla="*/ 0 w 6"/>
                <a:gd name="T11" fmla="*/ 0 h 92"/>
                <a:gd name="T12" fmla="*/ 0 w 6"/>
                <a:gd name="T13" fmla="*/ 21 h 92"/>
                <a:gd name="T14" fmla="*/ 6 w 6"/>
                <a:gd name="T15" fmla="*/ 20 h 92"/>
                <a:gd name="T16" fmla="*/ 6 w 6"/>
                <a:gd name="T17" fmla="*/ 4 h 92"/>
                <a:gd name="T18" fmla="*/ 0 w 6"/>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2">
                  <a:moveTo>
                    <a:pt x="0" y="68"/>
                  </a:moveTo>
                  <a:cubicBezTo>
                    <a:pt x="0" y="92"/>
                    <a:pt x="0" y="92"/>
                    <a:pt x="0" y="92"/>
                  </a:cubicBezTo>
                  <a:cubicBezTo>
                    <a:pt x="2" y="92"/>
                    <a:pt x="4" y="92"/>
                    <a:pt x="6" y="92"/>
                  </a:cubicBezTo>
                  <a:cubicBezTo>
                    <a:pt x="6" y="68"/>
                    <a:pt x="6" y="68"/>
                    <a:pt x="6" y="68"/>
                  </a:cubicBezTo>
                  <a:cubicBezTo>
                    <a:pt x="4" y="68"/>
                    <a:pt x="2" y="68"/>
                    <a:pt x="0" y="68"/>
                  </a:cubicBezTo>
                  <a:moveTo>
                    <a:pt x="0" y="0"/>
                  </a:moveTo>
                  <a:cubicBezTo>
                    <a:pt x="0" y="21"/>
                    <a:pt x="0" y="21"/>
                    <a:pt x="0" y="21"/>
                  </a:cubicBezTo>
                  <a:cubicBezTo>
                    <a:pt x="2" y="20"/>
                    <a:pt x="4" y="20"/>
                    <a:pt x="6" y="20"/>
                  </a:cubicBezTo>
                  <a:cubicBezTo>
                    <a:pt x="6" y="4"/>
                    <a:pt x="6" y="4"/>
                    <a:pt x="6" y="4"/>
                  </a:cubicBezTo>
                  <a:cubicBezTo>
                    <a:pt x="0" y="0"/>
                    <a:pt x="0" y="0"/>
                    <a:pt x="0"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8" name="Freeform 38"/>
            <p:cNvSpPr>
              <a:spLocks/>
            </p:cNvSpPr>
            <p:nvPr/>
          </p:nvSpPr>
          <p:spPr bwMode="auto">
            <a:xfrm>
              <a:off x="4897" y="2077"/>
              <a:ext cx="443" cy="213"/>
            </a:xfrm>
            <a:custGeom>
              <a:avLst/>
              <a:gdLst>
                <a:gd name="T0" fmla="*/ 81 w 187"/>
                <a:gd name="T1" fmla="*/ 90 h 90"/>
                <a:gd name="T2" fmla="*/ 66 w 187"/>
                <a:gd name="T3" fmla="*/ 89 h 90"/>
                <a:gd name="T4" fmla="*/ 0 w 187"/>
                <a:gd name="T5" fmla="*/ 38 h 90"/>
                <a:gd name="T6" fmla="*/ 22 w 187"/>
                <a:gd name="T7" fmla="*/ 27 h 90"/>
                <a:gd name="T8" fmla="*/ 43 w 187"/>
                <a:gd name="T9" fmla="*/ 17 h 90"/>
                <a:gd name="T10" fmla="*/ 75 w 187"/>
                <a:gd name="T11" fmla="*/ 42 h 90"/>
                <a:gd name="T12" fmla="*/ 154 w 187"/>
                <a:gd name="T13" fmla="*/ 0 h 90"/>
                <a:gd name="T14" fmla="*/ 187 w 187"/>
                <a:gd name="T15" fmla="*/ 34 h 90"/>
                <a:gd name="T16" fmla="*/ 81 w 187"/>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90">
                  <a:moveTo>
                    <a:pt x="81" y="90"/>
                  </a:moveTo>
                  <a:cubicBezTo>
                    <a:pt x="76" y="90"/>
                    <a:pt x="71" y="90"/>
                    <a:pt x="66" y="89"/>
                  </a:cubicBezTo>
                  <a:cubicBezTo>
                    <a:pt x="21" y="81"/>
                    <a:pt x="1" y="40"/>
                    <a:pt x="0" y="38"/>
                  </a:cubicBezTo>
                  <a:cubicBezTo>
                    <a:pt x="22" y="27"/>
                    <a:pt x="22" y="27"/>
                    <a:pt x="22" y="27"/>
                  </a:cubicBezTo>
                  <a:cubicBezTo>
                    <a:pt x="43" y="17"/>
                    <a:pt x="43" y="17"/>
                    <a:pt x="43" y="17"/>
                  </a:cubicBezTo>
                  <a:cubicBezTo>
                    <a:pt x="43" y="17"/>
                    <a:pt x="54" y="38"/>
                    <a:pt x="75" y="42"/>
                  </a:cubicBezTo>
                  <a:cubicBezTo>
                    <a:pt x="96" y="45"/>
                    <a:pt x="123" y="30"/>
                    <a:pt x="154" y="0"/>
                  </a:cubicBezTo>
                  <a:cubicBezTo>
                    <a:pt x="187" y="34"/>
                    <a:pt x="187" y="34"/>
                    <a:pt x="187" y="34"/>
                  </a:cubicBezTo>
                  <a:cubicBezTo>
                    <a:pt x="150" y="71"/>
                    <a:pt x="114" y="90"/>
                    <a:pt x="81" y="9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9" name="Freeform 39"/>
            <p:cNvSpPr>
              <a:spLocks/>
            </p:cNvSpPr>
            <p:nvPr/>
          </p:nvSpPr>
          <p:spPr bwMode="auto">
            <a:xfrm>
              <a:off x="5257" y="2008"/>
              <a:ext cx="151" cy="154"/>
            </a:xfrm>
            <a:custGeom>
              <a:avLst/>
              <a:gdLst>
                <a:gd name="T0" fmla="*/ 53 w 64"/>
                <a:gd name="T1" fmla="*/ 46 h 65"/>
                <a:gd name="T2" fmla="*/ 54 w 64"/>
                <a:gd name="T3" fmla="*/ 45 h 65"/>
                <a:gd name="T4" fmla="*/ 54 w 64"/>
                <a:gd name="T5" fmla="*/ 10 h 65"/>
                <a:gd name="T6" fmla="*/ 19 w 64"/>
                <a:gd name="T7" fmla="*/ 11 h 65"/>
                <a:gd name="T8" fmla="*/ 18 w 64"/>
                <a:gd name="T9" fmla="*/ 11 h 65"/>
                <a:gd name="T10" fmla="*/ 18 w 64"/>
                <a:gd name="T11" fmla="*/ 11 h 65"/>
                <a:gd name="T12" fmla="*/ 0 w 64"/>
                <a:gd name="T13" fmla="*/ 30 h 65"/>
                <a:gd name="T14" fmla="*/ 35 w 64"/>
                <a:gd name="T15" fmla="*/ 65 h 65"/>
                <a:gd name="T16" fmla="*/ 53 w 64"/>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5">
                  <a:moveTo>
                    <a:pt x="53" y="46"/>
                  </a:moveTo>
                  <a:cubicBezTo>
                    <a:pt x="54" y="45"/>
                    <a:pt x="54" y="45"/>
                    <a:pt x="54" y="45"/>
                  </a:cubicBezTo>
                  <a:cubicBezTo>
                    <a:pt x="64" y="35"/>
                    <a:pt x="64" y="19"/>
                    <a:pt x="54" y="10"/>
                  </a:cubicBezTo>
                  <a:cubicBezTo>
                    <a:pt x="44" y="0"/>
                    <a:pt x="28" y="1"/>
                    <a:pt x="19" y="11"/>
                  </a:cubicBezTo>
                  <a:cubicBezTo>
                    <a:pt x="18" y="11"/>
                    <a:pt x="18" y="11"/>
                    <a:pt x="18" y="11"/>
                  </a:cubicBezTo>
                  <a:cubicBezTo>
                    <a:pt x="18" y="11"/>
                    <a:pt x="18" y="11"/>
                    <a:pt x="18" y="11"/>
                  </a:cubicBezTo>
                  <a:cubicBezTo>
                    <a:pt x="0" y="30"/>
                    <a:pt x="0" y="30"/>
                    <a:pt x="0" y="30"/>
                  </a:cubicBezTo>
                  <a:cubicBezTo>
                    <a:pt x="35" y="65"/>
                    <a:pt x="35" y="65"/>
                    <a:pt x="35" y="65"/>
                  </a:cubicBezTo>
                  <a:cubicBezTo>
                    <a:pt x="53" y="46"/>
                    <a:pt x="53" y="46"/>
                    <a:pt x="53"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0" name="Freeform 40"/>
            <p:cNvSpPr>
              <a:spLocks/>
            </p:cNvSpPr>
            <p:nvPr/>
          </p:nvSpPr>
          <p:spPr bwMode="auto">
            <a:xfrm>
              <a:off x="4429" y="2963"/>
              <a:ext cx="274" cy="156"/>
            </a:xfrm>
            <a:custGeom>
              <a:avLst/>
              <a:gdLst>
                <a:gd name="T0" fmla="*/ 274 w 274"/>
                <a:gd name="T1" fmla="*/ 118 h 156"/>
                <a:gd name="T2" fmla="*/ 156 w 274"/>
                <a:gd name="T3" fmla="*/ 0 h 156"/>
                <a:gd name="T4" fmla="*/ 0 w 274"/>
                <a:gd name="T5" fmla="*/ 0 h 156"/>
                <a:gd name="T6" fmla="*/ 0 w 274"/>
                <a:gd name="T7" fmla="*/ 156 h 156"/>
                <a:gd name="T8" fmla="*/ 274 w 274"/>
                <a:gd name="T9" fmla="*/ 156 h 156"/>
                <a:gd name="T10" fmla="*/ 274 w 274"/>
                <a:gd name="T11" fmla="*/ 118 h 156"/>
              </a:gdLst>
              <a:ahLst/>
              <a:cxnLst>
                <a:cxn ang="0">
                  <a:pos x="T0" y="T1"/>
                </a:cxn>
                <a:cxn ang="0">
                  <a:pos x="T2" y="T3"/>
                </a:cxn>
                <a:cxn ang="0">
                  <a:pos x="T4" y="T5"/>
                </a:cxn>
                <a:cxn ang="0">
                  <a:pos x="T6" y="T7"/>
                </a:cxn>
                <a:cxn ang="0">
                  <a:pos x="T8" y="T9"/>
                </a:cxn>
                <a:cxn ang="0">
                  <a:pos x="T10" y="T11"/>
                </a:cxn>
              </a:cxnLst>
              <a:rect l="0" t="0" r="r" b="b"/>
              <a:pathLst>
                <a:path w="274" h="156">
                  <a:moveTo>
                    <a:pt x="274" y="118"/>
                  </a:moveTo>
                  <a:lnTo>
                    <a:pt x="156" y="0"/>
                  </a:lnTo>
                  <a:lnTo>
                    <a:pt x="0" y="0"/>
                  </a:lnTo>
                  <a:lnTo>
                    <a:pt x="0" y="156"/>
                  </a:lnTo>
                  <a:lnTo>
                    <a:pt x="274" y="156"/>
                  </a:lnTo>
                  <a:lnTo>
                    <a:pt x="274" y="11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1" name="Rectangle 41"/>
            <p:cNvSpPr>
              <a:spLocks noChangeArrowheads="1"/>
            </p:cNvSpPr>
            <p:nvPr/>
          </p:nvSpPr>
          <p:spPr bwMode="auto">
            <a:xfrm>
              <a:off x="4429" y="1965"/>
              <a:ext cx="153" cy="1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2" name="Rectangle 42"/>
            <p:cNvSpPr>
              <a:spLocks noChangeArrowheads="1"/>
            </p:cNvSpPr>
            <p:nvPr/>
          </p:nvSpPr>
          <p:spPr bwMode="auto">
            <a:xfrm>
              <a:off x="4429" y="1965"/>
              <a:ext cx="15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3" name="Rectangle 43"/>
            <p:cNvSpPr>
              <a:spLocks noChangeArrowheads="1"/>
            </p:cNvSpPr>
            <p:nvPr/>
          </p:nvSpPr>
          <p:spPr bwMode="auto">
            <a:xfrm>
              <a:off x="4095" y="1965"/>
              <a:ext cx="154" cy="1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4" name="Rectangle 44"/>
            <p:cNvSpPr>
              <a:spLocks noChangeArrowheads="1"/>
            </p:cNvSpPr>
            <p:nvPr/>
          </p:nvSpPr>
          <p:spPr bwMode="auto">
            <a:xfrm>
              <a:off x="4095" y="1965"/>
              <a:ext cx="154"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5" name="Freeform 45"/>
            <p:cNvSpPr>
              <a:spLocks/>
            </p:cNvSpPr>
            <p:nvPr/>
          </p:nvSpPr>
          <p:spPr bwMode="auto">
            <a:xfrm>
              <a:off x="4095" y="2963"/>
              <a:ext cx="275" cy="156"/>
            </a:xfrm>
            <a:custGeom>
              <a:avLst/>
              <a:gdLst>
                <a:gd name="T0" fmla="*/ 275 w 275"/>
                <a:gd name="T1" fmla="*/ 118 h 156"/>
                <a:gd name="T2" fmla="*/ 156 w 275"/>
                <a:gd name="T3" fmla="*/ 0 h 156"/>
                <a:gd name="T4" fmla="*/ 0 w 275"/>
                <a:gd name="T5" fmla="*/ 0 h 156"/>
                <a:gd name="T6" fmla="*/ 0 w 275"/>
                <a:gd name="T7" fmla="*/ 156 h 156"/>
                <a:gd name="T8" fmla="*/ 275 w 275"/>
                <a:gd name="T9" fmla="*/ 156 h 156"/>
                <a:gd name="T10" fmla="*/ 275 w 275"/>
                <a:gd name="T11" fmla="*/ 118 h 156"/>
              </a:gdLst>
              <a:ahLst/>
              <a:cxnLst>
                <a:cxn ang="0">
                  <a:pos x="T0" y="T1"/>
                </a:cxn>
                <a:cxn ang="0">
                  <a:pos x="T2" y="T3"/>
                </a:cxn>
                <a:cxn ang="0">
                  <a:pos x="T4" y="T5"/>
                </a:cxn>
                <a:cxn ang="0">
                  <a:pos x="T6" y="T7"/>
                </a:cxn>
                <a:cxn ang="0">
                  <a:pos x="T8" y="T9"/>
                </a:cxn>
                <a:cxn ang="0">
                  <a:pos x="T10" y="T11"/>
                </a:cxn>
              </a:cxnLst>
              <a:rect l="0" t="0" r="r" b="b"/>
              <a:pathLst>
                <a:path w="275" h="156">
                  <a:moveTo>
                    <a:pt x="275" y="118"/>
                  </a:moveTo>
                  <a:lnTo>
                    <a:pt x="156" y="0"/>
                  </a:lnTo>
                  <a:lnTo>
                    <a:pt x="0" y="0"/>
                  </a:lnTo>
                  <a:lnTo>
                    <a:pt x="0" y="156"/>
                  </a:lnTo>
                  <a:lnTo>
                    <a:pt x="275" y="156"/>
                  </a:lnTo>
                  <a:lnTo>
                    <a:pt x="275" y="11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6" name="Freeform 46"/>
            <p:cNvSpPr>
              <a:spLocks/>
            </p:cNvSpPr>
            <p:nvPr/>
          </p:nvSpPr>
          <p:spPr bwMode="auto">
            <a:xfrm>
              <a:off x="3629" y="1364"/>
              <a:ext cx="1304" cy="1070"/>
            </a:xfrm>
            <a:custGeom>
              <a:avLst/>
              <a:gdLst>
                <a:gd name="T0" fmla="*/ 551 w 551"/>
                <a:gd name="T1" fmla="*/ 28 h 452"/>
                <a:gd name="T2" fmla="*/ 551 w 551"/>
                <a:gd name="T3" fmla="*/ 424 h 452"/>
                <a:gd name="T4" fmla="*/ 523 w 551"/>
                <a:gd name="T5" fmla="*/ 452 h 452"/>
                <a:gd name="T6" fmla="*/ 28 w 551"/>
                <a:gd name="T7" fmla="*/ 452 h 452"/>
                <a:gd name="T8" fmla="*/ 0 w 551"/>
                <a:gd name="T9" fmla="*/ 424 h 452"/>
                <a:gd name="T10" fmla="*/ 0 w 551"/>
                <a:gd name="T11" fmla="*/ 28 h 452"/>
                <a:gd name="T12" fmla="*/ 28 w 551"/>
                <a:gd name="T13" fmla="*/ 0 h 452"/>
                <a:gd name="T14" fmla="*/ 523 w 551"/>
                <a:gd name="T15" fmla="*/ 0 h 452"/>
                <a:gd name="T16" fmla="*/ 551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551" y="28"/>
                  </a:moveTo>
                  <a:cubicBezTo>
                    <a:pt x="551" y="424"/>
                    <a:pt x="551" y="424"/>
                    <a:pt x="551" y="424"/>
                  </a:cubicBezTo>
                  <a:cubicBezTo>
                    <a:pt x="551" y="424"/>
                    <a:pt x="551" y="452"/>
                    <a:pt x="523" y="452"/>
                  </a:cubicBezTo>
                  <a:cubicBezTo>
                    <a:pt x="28" y="452"/>
                    <a:pt x="28" y="452"/>
                    <a:pt x="28" y="452"/>
                  </a:cubicBezTo>
                  <a:cubicBezTo>
                    <a:pt x="28" y="452"/>
                    <a:pt x="0" y="452"/>
                    <a:pt x="0" y="424"/>
                  </a:cubicBezTo>
                  <a:cubicBezTo>
                    <a:pt x="0" y="28"/>
                    <a:pt x="0" y="28"/>
                    <a:pt x="0" y="28"/>
                  </a:cubicBezTo>
                  <a:cubicBezTo>
                    <a:pt x="0" y="28"/>
                    <a:pt x="0" y="0"/>
                    <a:pt x="28" y="0"/>
                  </a:cubicBezTo>
                  <a:cubicBezTo>
                    <a:pt x="523" y="0"/>
                    <a:pt x="523" y="0"/>
                    <a:pt x="523" y="0"/>
                  </a:cubicBezTo>
                  <a:cubicBezTo>
                    <a:pt x="523" y="0"/>
                    <a:pt x="551" y="0"/>
                    <a:pt x="551" y="2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7" name="Freeform 47"/>
            <p:cNvSpPr>
              <a:spLocks/>
            </p:cNvSpPr>
            <p:nvPr/>
          </p:nvSpPr>
          <p:spPr bwMode="auto">
            <a:xfrm>
              <a:off x="3686" y="1364"/>
              <a:ext cx="1339" cy="1070"/>
            </a:xfrm>
            <a:custGeom>
              <a:avLst/>
              <a:gdLst>
                <a:gd name="T0" fmla="*/ 566 w 566"/>
                <a:gd name="T1" fmla="*/ 28 h 452"/>
                <a:gd name="T2" fmla="*/ 566 w 566"/>
                <a:gd name="T3" fmla="*/ 424 h 452"/>
                <a:gd name="T4" fmla="*/ 537 w 566"/>
                <a:gd name="T5" fmla="*/ 452 h 452"/>
                <a:gd name="T6" fmla="*/ 28 w 566"/>
                <a:gd name="T7" fmla="*/ 452 h 452"/>
                <a:gd name="T8" fmla="*/ 0 w 566"/>
                <a:gd name="T9" fmla="*/ 424 h 452"/>
                <a:gd name="T10" fmla="*/ 0 w 566"/>
                <a:gd name="T11" fmla="*/ 28 h 452"/>
                <a:gd name="T12" fmla="*/ 28 w 566"/>
                <a:gd name="T13" fmla="*/ 0 h 452"/>
                <a:gd name="T14" fmla="*/ 537 w 566"/>
                <a:gd name="T15" fmla="*/ 0 h 452"/>
                <a:gd name="T16" fmla="*/ 566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566" y="28"/>
                  </a:moveTo>
                  <a:cubicBezTo>
                    <a:pt x="566" y="424"/>
                    <a:pt x="566" y="424"/>
                    <a:pt x="566" y="424"/>
                  </a:cubicBezTo>
                  <a:cubicBezTo>
                    <a:pt x="566" y="424"/>
                    <a:pt x="566" y="452"/>
                    <a:pt x="537" y="452"/>
                  </a:cubicBezTo>
                  <a:cubicBezTo>
                    <a:pt x="28" y="452"/>
                    <a:pt x="28" y="452"/>
                    <a:pt x="28" y="452"/>
                  </a:cubicBezTo>
                  <a:cubicBezTo>
                    <a:pt x="28" y="452"/>
                    <a:pt x="0" y="452"/>
                    <a:pt x="0" y="424"/>
                  </a:cubicBezTo>
                  <a:cubicBezTo>
                    <a:pt x="0" y="28"/>
                    <a:pt x="0" y="28"/>
                    <a:pt x="0" y="28"/>
                  </a:cubicBezTo>
                  <a:cubicBezTo>
                    <a:pt x="0" y="28"/>
                    <a:pt x="0" y="0"/>
                    <a:pt x="28" y="0"/>
                  </a:cubicBezTo>
                  <a:cubicBezTo>
                    <a:pt x="537" y="0"/>
                    <a:pt x="537" y="0"/>
                    <a:pt x="537" y="0"/>
                  </a:cubicBezTo>
                  <a:cubicBezTo>
                    <a:pt x="537" y="0"/>
                    <a:pt x="566" y="0"/>
                    <a:pt x="566" y="2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8" name="Rectangle 48"/>
            <p:cNvSpPr>
              <a:spLocks noChangeArrowheads="1"/>
            </p:cNvSpPr>
            <p:nvPr/>
          </p:nvSpPr>
          <p:spPr bwMode="auto">
            <a:xfrm>
              <a:off x="3752" y="1430"/>
              <a:ext cx="1204" cy="80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9" name="Rectangle 49"/>
            <p:cNvSpPr>
              <a:spLocks noChangeArrowheads="1"/>
            </p:cNvSpPr>
            <p:nvPr/>
          </p:nvSpPr>
          <p:spPr bwMode="auto">
            <a:xfrm>
              <a:off x="3752" y="1430"/>
              <a:ext cx="1204" cy="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0" name="Rectangle 50"/>
            <p:cNvSpPr>
              <a:spLocks noChangeArrowheads="1"/>
            </p:cNvSpPr>
            <p:nvPr/>
          </p:nvSpPr>
          <p:spPr bwMode="auto">
            <a:xfrm>
              <a:off x="7521" y="1826"/>
              <a:ext cx="55" cy="9"/>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1" name="Rectangle 51"/>
            <p:cNvSpPr>
              <a:spLocks noChangeArrowheads="1"/>
            </p:cNvSpPr>
            <p:nvPr/>
          </p:nvSpPr>
          <p:spPr bwMode="auto">
            <a:xfrm>
              <a:off x="7521" y="1826"/>
              <a:ext cx="55"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2" name="Freeform 52"/>
            <p:cNvSpPr>
              <a:spLocks/>
            </p:cNvSpPr>
            <p:nvPr/>
          </p:nvSpPr>
          <p:spPr bwMode="auto">
            <a:xfrm>
              <a:off x="7576" y="1826"/>
              <a:ext cx="397" cy="9"/>
            </a:xfrm>
            <a:custGeom>
              <a:avLst/>
              <a:gdLst>
                <a:gd name="T0" fmla="*/ 397 w 397"/>
                <a:gd name="T1" fmla="*/ 0 h 9"/>
                <a:gd name="T2" fmla="*/ 0 w 397"/>
                <a:gd name="T3" fmla="*/ 0 h 9"/>
                <a:gd name="T4" fmla="*/ 0 w 397"/>
                <a:gd name="T5" fmla="*/ 9 h 9"/>
                <a:gd name="T6" fmla="*/ 385 w 397"/>
                <a:gd name="T7" fmla="*/ 9 h 9"/>
                <a:gd name="T8" fmla="*/ 397 w 397"/>
                <a:gd name="T9" fmla="*/ 0 h 9"/>
              </a:gdLst>
              <a:ahLst/>
              <a:cxnLst>
                <a:cxn ang="0">
                  <a:pos x="T0" y="T1"/>
                </a:cxn>
                <a:cxn ang="0">
                  <a:pos x="T2" y="T3"/>
                </a:cxn>
                <a:cxn ang="0">
                  <a:pos x="T4" y="T5"/>
                </a:cxn>
                <a:cxn ang="0">
                  <a:pos x="T6" y="T7"/>
                </a:cxn>
                <a:cxn ang="0">
                  <a:pos x="T8" y="T9"/>
                </a:cxn>
              </a:cxnLst>
              <a:rect l="0" t="0" r="r" b="b"/>
              <a:pathLst>
                <a:path w="397" h="9">
                  <a:moveTo>
                    <a:pt x="397" y="0"/>
                  </a:moveTo>
                  <a:lnTo>
                    <a:pt x="0" y="0"/>
                  </a:lnTo>
                  <a:lnTo>
                    <a:pt x="0" y="9"/>
                  </a:lnTo>
                  <a:lnTo>
                    <a:pt x="385" y="9"/>
                  </a:lnTo>
                  <a:lnTo>
                    <a:pt x="397"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3" name="Freeform 53"/>
            <p:cNvSpPr>
              <a:spLocks/>
            </p:cNvSpPr>
            <p:nvPr/>
          </p:nvSpPr>
          <p:spPr bwMode="auto">
            <a:xfrm>
              <a:off x="7576" y="1826"/>
              <a:ext cx="397" cy="9"/>
            </a:xfrm>
            <a:custGeom>
              <a:avLst/>
              <a:gdLst>
                <a:gd name="T0" fmla="*/ 397 w 397"/>
                <a:gd name="T1" fmla="*/ 0 h 9"/>
                <a:gd name="T2" fmla="*/ 0 w 397"/>
                <a:gd name="T3" fmla="*/ 0 h 9"/>
                <a:gd name="T4" fmla="*/ 0 w 397"/>
                <a:gd name="T5" fmla="*/ 9 h 9"/>
                <a:gd name="T6" fmla="*/ 385 w 397"/>
                <a:gd name="T7" fmla="*/ 9 h 9"/>
                <a:gd name="T8" fmla="*/ 397 w 397"/>
                <a:gd name="T9" fmla="*/ 0 h 9"/>
              </a:gdLst>
              <a:ahLst/>
              <a:cxnLst>
                <a:cxn ang="0">
                  <a:pos x="T0" y="T1"/>
                </a:cxn>
                <a:cxn ang="0">
                  <a:pos x="T2" y="T3"/>
                </a:cxn>
                <a:cxn ang="0">
                  <a:pos x="T4" y="T5"/>
                </a:cxn>
                <a:cxn ang="0">
                  <a:pos x="T6" y="T7"/>
                </a:cxn>
                <a:cxn ang="0">
                  <a:pos x="T8" y="T9"/>
                </a:cxn>
              </a:cxnLst>
              <a:rect l="0" t="0" r="r" b="b"/>
              <a:pathLst>
                <a:path w="397" h="9">
                  <a:moveTo>
                    <a:pt x="397" y="0"/>
                  </a:moveTo>
                  <a:lnTo>
                    <a:pt x="0" y="0"/>
                  </a:lnTo>
                  <a:lnTo>
                    <a:pt x="0" y="9"/>
                  </a:lnTo>
                  <a:lnTo>
                    <a:pt x="385" y="9"/>
                  </a:lnTo>
                  <a:lnTo>
                    <a:pt x="3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4" name="Rectangle 54"/>
            <p:cNvSpPr>
              <a:spLocks noChangeArrowheads="1"/>
            </p:cNvSpPr>
            <p:nvPr/>
          </p:nvSpPr>
          <p:spPr bwMode="auto">
            <a:xfrm>
              <a:off x="8040" y="1826"/>
              <a:ext cx="52" cy="9"/>
            </a:xfrm>
            <a:prstGeom prst="rect">
              <a:avLst/>
            </a:prstGeom>
            <a:solidFill>
              <a:srgbClr val="7D40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5" name="Rectangle 55"/>
            <p:cNvSpPr>
              <a:spLocks noChangeArrowheads="1"/>
            </p:cNvSpPr>
            <p:nvPr/>
          </p:nvSpPr>
          <p:spPr bwMode="auto">
            <a:xfrm>
              <a:off x="8040" y="1826"/>
              <a:ext cx="52"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6" name="Freeform 56"/>
            <p:cNvSpPr>
              <a:spLocks/>
            </p:cNvSpPr>
            <p:nvPr/>
          </p:nvSpPr>
          <p:spPr bwMode="auto">
            <a:xfrm>
              <a:off x="7961" y="1826"/>
              <a:ext cx="79" cy="9"/>
            </a:xfrm>
            <a:custGeom>
              <a:avLst/>
              <a:gdLst>
                <a:gd name="T0" fmla="*/ 79 w 79"/>
                <a:gd name="T1" fmla="*/ 0 h 9"/>
                <a:gd name="T2" fmla="*/ 12 w 79"/>
                <a:gd name="T3" fmla="*/ 0 h 9"/>
                <a:gd name="T4" fmla="*/ 0 w 79"/>
                <a:gd name="T5" fmla="*/ 9 h 9"/>
                <a:gd name="T6" fmla="*/ 79 w 79"/>
                <a:gd name="T7" fmla="*/ 9 h 9"/>
                <a:gd name="T8" fmla="*/ 79 w 79"/>
                <a:gd name="T9" fmla="*/ 0 h 9"/>
              </a:gdLst>
              <a:ahLst/>
              <a:cxnLst>
                <a:cxn ang="0">
                  <a:pos x="T0" y="T1"/>
                </a:cxn>
                <a:cxn ang="0">
                  <a:pos x="T2" y="T3"/>
                </a:cxn>
                <a:cxn ang="0">
                  <a:pos x="T4" y="T5"/>
                </a:cxn>
                <a:cxn ang="0">
                  <a:pos x="T6" y="T7"/>
                </a:cxn>
                <a:cxn ang="0">
                  <a:pos x="T8" y="T9"/>
                </a:cxn>
              </a:cxnLst>
              <a:rect l="0" t="0" r="r" b="b"/>
              <a:pathLst>
                <a:path w="79" h="9">
                  <a:moveTo>
                    <a:pt x="79" y="0"/>
                  </a:moveTo>
                  <a:lnTo>
                    <a:pt x="12" y="0"/>
                  </a:lnTo>
                  <a:lnTo>
                    <a:pt x="0" y="9"/>
                  </a:lnTo>
                  <a:lnTo>
                    <a:pt x="79" y="9"/>
                  </a:lnTo>
                  <a:lnTo>
                    <a:pt x="79" y="0"/>
                  </a:lnTo>
                  <a:close/>
                </a:path>
              </a:pathLst>
            </a:custGeom>
            <a:solidFill>
              <a:srgbClr val="00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7" name="Freeform 57"/>
            <p:cNvSpPr>
              <a:spLocks/>
            </p:cNvSpPr>
            <p:nvPr/>
          </p:nvSpPr>
          <p:spPr bwMode="auto">
            <a:xfrm>
              <a:off x="7961" y="1826"/>
              <a:ext cx="79" cy="9"/>
            </a:xfrm>
            <a:custGeom>
              <a:avLst/>
              <a:gdLst>
                <a:gd name="T0" fmla="*/ 79 w 79"/>
                <a:gd name="T1" fmla="*/ 0 h 9"/>
                <a:gd name="T2" fmla="*/ 12 w 79"/>
                <a:gd name="T3" fmla="*/ 0 h 9"/>
                <a:gd name="T4" fmla="*/ 0 w 79"/>
                <a:gd name="T5" fmla="*/ 9 h 9"/>
                <a:gd name="T6" fmla="*/ 79 w 79"/>
                <a:gd name="T7" fmla="*/ 9 h 9"/>
                <a:gd name="T8" fmla="*/ 79 w 79"/>
                <a:gd name="T9" fmla="*/ 0 h 9"/>
              </a:gdLst>
              <a:ahLst/>
              <a:cxnLst>
                <a:cxn ang="0">
                  <a:pos x="T0" y="T1"/>
                </a:cxn>
                <a:cxn ang="0">
                  <a:pos x="T2" y="T3"/>
                </a:cxn>
                <a:cxn ang="0">
                  <a:pos x="T4" y="T5"/>
                </a:cxn>
                <a:cxn ang="0">
                  <a:pos x="T6" y="T7"/>
                </a:cxn>
                <a:cxn ang="0">
                  <a:pos x="T8" y="T9"/>
                </a:cxn>
              </a:cxnLst>
              <a:rect l="0" t="0" r="r" b="b"/>
              <a:pathLst>
                <a:path w="79" h="9">
                  <a:moveTo>
                    <a:pt x="79" y="0"/>
                  </a:moveTo>
                  <a:lnTo>
                    <a:pt x="12" y="0"/>
                  </a:lnTo>
                  <a:lnTo>
                    <a:pt x="0" y="9"/>
                  </a:lnTo>
                  <a:lnTo>
                    <a:pt x="79" y="9"/>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8" name="Rectangle 58"/>
            <p:cNvSpPr>
              <a:spLocks noChangeArrowheads="1"/>
            </p:cNvSpPr>
            <p:nvPr/>
          </p:nvSpPr>
          <p:spPr bwMode="auto">
            <a:xfrm>
              <a:off x="7521" y="2157"/>
              <a:ext cx="55" cy="10"/>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9" name="Rectangle 59"/>
            <p:cNvSpPr>
              <a:spLocks noChangeArrowheads="1"/>
            </p:cNvSpPr>
            <p:nvPr/>
          </p:nvSpPr>
          <p:spPr bwMode="auto">
            <a:xfrm>
              <a:off x="7521" y="2157"/>
              <a:ext cx="55"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0" name="Freeform 60"/>
            <p:cNvSpPr>
              <a:spLocks/>
            </p:cNvSpPr>
            <p:nvPr/>
          </p:nvSpPr>
          <p:spPr bwMode="auto">
            <a:xfrm>
              <a:off x="7576" y="2157"/>
              <a:ext cx="26" cy="10"/>
            </a:xfrm>
            <a:custGeom>
              <a:avLst/>
              <a:gdLst>
                <a:gd name="T0" fmla="*/ 26 w 26"/>
                <a:gd name="T1" fmla="*/ 0 h 10"/>
                <a:gd name="T2" fmla="*/ 0 w 26"/>
                <a:gd name="T3" fmla="*/ 0 h 10"/>
                <a:gd name="T4" fmla="*/ 0 w 26"/>
                <a:gd name="T5" fmla="*/ 10 h 10"/>
                <a:gd name="T6" fmla="*/ 14 w 26"/>
                <a:gd name="T7" fmla="*/ 10 h 10"/>
                <a:gd name="T8" fmla="*/ 26 w 26"/>
                <a:gd name="T9" fmla="*/ 0 h 10"/>
              </a:gdLst>
              <a:ahLst/>
              <a:cxnLst>
                <a:cxn ang="0">
                  <a:pos x="T0" y="T1"/>
                </a:cxn>
                <a:cxn ang="0">
                  <a:pos x="T2" y="T3"/>
                </a:cxn>
                <a:cxn ang="0">
                  <a:pos x="T4" y="T5"/>
                </a:cxn>
                <a:cxn ang="0">
                  <a:pos x="T6" y="T7"/>
                </a:cxn>
                <a:cxn ang="0">
                  <a:pos x="T8" y="T9"/>
                </a:cxn>
              </a:cxnLst>
              <a:rect l="0" t="0" r="r" b="b"/>
              <a:pathLst>
                <a:path w="26" h="10">
                  <a:moveTo>
                    <a:pt x="26" y="0"/>
                  </a:moveTo>
                  <a:lnTo>
                    <a:pt x="0" y="0"/>
                  </a:lnTo>
                  <a:lnTo>
                    <a:pt x="0" y="10"/>
                  </a:lnTo>
                  <a:lnTo>
                    <a:pt x="14" y="10"/>
                  </a:lnTo>
                  <a:lnTo>
                    <a:pt x="26"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1" name="Freeform 61"/>
            <p:cNvSpPr>
              <a:spLocks/>
            </p:cNvSpPr>
            <p:nvPr/>
          </p:nvSpPr>
          <p:spPr bwMode="auto">
            <a:xfrm>
              <a:off x="7576" y="2157"/>
              <a:ext cx="26" cy="10"/>
            </a:xfrm>
            <a:custGeom>
              <a:avLst/>
              <a:gdLst>
                <a:gd name="T0" fmla="*/ 26 w 26"/>
                <a:gd name="T1" fmla="*/ 0 h 10"/>
                <a:gd name="T2" fmla="*/ 0 w 26"/>
                <a:gd name="T3" fmla="*/ 0 h 10"/>
                <a:gd name="T4" fmla="*/ 0 w 26"/>
                <a:gd name="T5" fmla="*/ 10 h 10"/>
                <a:gd name="T6" fmla="*/ 14 w 26"/>
                <a:gd name="T7" fmla="*/ 10 h 10"/>
                <a:gd name="T8" fmla="*/ 26 w 26"/>
                <a:gd name="T9" fmla="*/ 0 h 10"/>
              </a:gdLst>
              <a:ahLst/>
              <a:cxnLst>
                <a:cxn ang="0">
                  <a:pos x="T0" y="T1"/>
                </a:cxn>
                <a:cxn ang="0">
                  <a:pos x="T2" y="T3"/>
                </a:cxn>
                <a:cxn ang="0">
                  <a:pos x="T4" y="T5"/>
                </a:cxn>
                <a:cxn ang="0">
                  <a:pos x="T6" y="T7"/>
                </a:cxn>
                <a:cxn ang="0">
                  <a:pos x="T8" y="T9"/>
                </a:cxn>
              </a:cxnLst>
              <a:rect l="0" t="0" r="r" b="b"/>
              <a:pathLst>
                <a:path w="26" h="10">
                  <a:moveTo>
                    <a:pt x="26" y="0"/>
                  </a:moveTo>
                  <a:lnTo>
                    <a:pt x="0" y="0"/>
                  </a:lnTo>
                  <a:lnTo>
                    <a:pt x="0" y="10"/>
                  </a:lnTo>
                  <a:lnTo>
                    <a:pt x="14"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2" name="Rectangle 62"/>
            <p:cNvSpPr>
              <a:spLocks noChangeArrowheads="1"/>
            </p:cNvSpPr>
            <p:nvPr/>
          </p:nvSpPr>
          <p:spPr bwMode="auto">
            <a:xfrm>
              <a:off x="8040" y="2157"/>
              <a:ext cx="52" cy="10"/>
            </a:xfrm>
            <a:prstGeom prst="rect">
              <a:avLst/>
            </a:prstGeom>
            <a:solidFill>
              <a:srgbClr val="7D40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3" name="Rectangle 63"/>
            <p:cNvSpPr>
              <a:spLocks noChangeArrowheads="1"/>
            </p:cNvSpPr>
            <p:nvPr/>
          </p:nvSpPr>
          <p:spPr bwMode="auto">
            <a:xfrm>
              <a:off x="8040" y="2157"/>
              <a:ext cx="52"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4" name="Freeform 64"/>
            <p:cNvSpPr>
              <a:spLocks/>
            </p:cNvSpPr>
            <p:nvPr/>
          </p:nvSpPr>
          <p:spPr bwMode="auto">
            <a:xfrm>
              <a:off x="7590" y="2157"/>
              <a:ext cx="450" cy="10"/>
            </a:xfrm>
            <a:custGeom>
              <a:avLst/>
              <a:gdLst>
                <a:gd name="T0" fmla="*/ 450 w 450"/>
                <a:gd name="T1" fmla="*/ 0 h 10"/>
                <a:gd name="T2" fmla="*/ 12 w 450"/>
                <a:gd name="T3" fmla="*/ 0 h 10"/>
                <a:gd name="T4" fmla="*/ 0 w 450"/>
                <a:gd name="T5" fmla="*/ 10 h 10"/>
                <a:gd name="T6" fmla="*/ 450 w 450"/>
                <a:gd name="T7" fmla="*/ 10 h 10"/>
                <a:gd name="T8" fmla="*/ 450 w 450"/>
                <a:gd name="T9" fmla="*/ 0 h 10"/>
              </a:gdLst>
              <a:ahLst/>
              <a:cxnLst>
                <a:cxn ang="0">
                  <a:pos x="T0" y="T1"/>
                </a:cxn>
                <a:cxn ang="0">
                  <a:pos x="T2" y="T3"/>
                </a:cxn>
                <a:cxn ang="0">
                  <a:pos x="T4" y="T5"/>
                </a:cxn>
                <a:cxn ang="0">
                  <a:pos x="T6" y="T7"/>
                </a:cxn>
                <a:cxn ang="0">
                  <a:pos x="T8" y="T9"/>
                </a:cxn>
              </a:cxnLst>
              <a:rect l="0" t="0" r="r" b="b"/>
              <a:pathLst>
                <a:path w="450" h="10">
                  <a:moveTo>
                    <a:pt x="450" y="0"/>
                  </a:moveTo>
                  <a:lnTo>
                    <a:pt x="12" y="0"/>
                  </a:lnTo>
                  <a:lnTo>
                    <a:pt x="0" y="10"/>
                  </a:lnTo>
                  <a:lnTo>
                    <a:pt x="450" y="10"/>
                  </a:lnTo>
                  <a:lnTo>
                    <a:pt x="450" y="0"/>
                  </a:lnTo>
                  <a:close/>
                </a:path>
              </a:pathLst>
            </a:custGeom>
            <a:solidFill>
              <a:srgbClr val="00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5" name="Freeform 65"/>
            <p:cNvSpPr>
              <a:spLocks/>
            </p:cNvSpPr>
            <p:nvPr/>
          </p:nvSpPr>
          <p:spPr bwMode="auto">
            <a:xfrm>
              <a:off x="7590" y="2157"/>
              <a:ext cx="450" cy="10"/>
            </a:xfrm>
            <a:custGeom>
              <a:avLst/>
              <a:gdLst>
                <a:gd name="T0" fmla="*/ 450 w 450"/>
                <a:gd name="T1" fmla="*/ 0 h 10"/>
                <a:gd name="T2" fmla="*/ 12 w 450"/>
                <a:gd name="T3" fmla="*/ 0 h 10"/>
                <a:gd name="T4" fmla="*/ 0 w 450"/>
                <a:gd name="T5" fmla="*/ 10 h 10"/>
                <a:gd name="T6" fmla="*/ 450 w 450"/>
                <a:gd name="T7" fmla="*/ 10 h 10"/>
                <a:gd name="T8" fmla="*/ 450 w 450"/>
                <a:gd name="T9" fmla="*/ 0 h 10"/>
              </a:gdLst>
              <a:ahLst/>
              <a:cxnLst>
                <a:cxn ang="0">
                  <a:pos x="T0" y="T1"/>
                </a:cxn>
                <a:cxn ang="0">
                  <a:pos x="T2" y="T3"/>
                </a:cxn>
                <a:cxn ang="0">
                  <a:pos x="T4" y="T5"/>
                </a:cxn>
                <a:cxn ang="0">
                  <a:pos x="T6" y="T7"/>
                </a:cxn>
                <a:cxn ang="0">
                  <a:pos x="T8" y="T9"/>
                </a:cxn>
              </a:cxnLst>
              <a:rect l="0" t="0" r="r" b="b"/>
              <a:pathLst>
                <a:path w="450" h="10">
                  <a:moveTo>
                    <a:pt x="450" y="0"/>
                  </a:moveTo>
                  <a:lnTo>
                    <a:pt x="12" y="0"/>
                  </a:lnTo>
                  <a:lnTo>
                    <a:pt x="0" y="10"/>
                  </a:lnTo>
                  <a:lnTo>
                    <a:pt x="450" y="10"/>
                  </a:lnTo>
                  <a:lnTo>
                    <a:pt x="4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6" name="Freeform 66"/>
            <p:cNvSpPr>
              <a:spLocks noEditPoints="1"/>
            </p:cNvSpPr>
            <p:nvPr/>
          </p:nvSpPr>
          <p:spPr bwMode="auto">
            <a:xfrm>
              <a:off x="5508" y="980"/>
              <a:ext cx="194" cy="194"/>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7" name="Rectangle 67"/>
            <p:cNvSpPr>
              <a:spLocks noChangeArrowheads="1"/>
            </p:cNvSpPr>
            <p:nvPr/>
          </p:nvSpPr>
          <p:spPr bwMode="auto">
            <a:xfrm>
              <a:off x="5732" y="987"/>
              <a:ext cx="31"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8" name="Freeform 68"/>
            <p:cNvSpPr>
              <a:spLocks noEditPoints="1"/>
            </p:cNvSpPr>
            <p:nvPr/>
          </p:nvSpPr>
          <p:spPr bwMode="auto">
            <a:xfrm>
              <a:off x="5794" y="980"/>
              <a:ext cx="194" cy="194"/>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9" name="Freeform 69"/>
            <p:cNvSpPr>
              <a:spLocks noEditPoints="1"/>
            </p:cNvSpPr>
            <p:nvPr/>
          </p:nvSpPr>
          <p:spPr bwMode="auto">
            <a:xfrm>
              <a:off x="6009" y="980"/>
              <a:ext cx="192" cy="194"/>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0" name="Rectangle 70"/>
            <p:cNvSpPr>
              <a:spLocks noChangeArrowheads="1"/>
            </p:cNvSpPr>
            <p:nvPr/>
          </p:nvSpPr>
          <p:spPr bwMode="auto">
            <a:xfrm>
              <a:off x="5517" y="1295"/>
              <a:ext cx="33"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1" name="Rectangle 71"/>
            <p:cNvSpPr>
              <a:spLocks noChangeArrowheads="1"/>
            </p:cNvSpPr>
            <p:nvPr/>
          </p:nvSpPr>
          <p:spPr bwMode="auto">
            <a:xfrm>
              <a:off x="5588" y="1295"/>
              <a:ext cx="33"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2" name="Freeform 72"/>
            <p:cNvSpPr>
              <a:spLocks noEditPoints="1"/>
            </p:cNvSpPr>
            <p:nvPr/>
          </p:nvSpPr>
          <p:spPr bwMode="auto">
            <a:xfrm>
              <a:off x="5652" y="1290"/>
              <a:ext cx="192" cy="192"/>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3" name="Rectangle 73"/>
            <p:cNvSpPr>
              <a:spLocks noChangeArrowheads="1"/>
            </p:cNvSpPr>
            <p:nvPr/>
          </p:nvSpPr>
          <p:spPr bwMode="auto">
            <a:xfrm>
              <a:off x="5874" y="1295"/>
              <a:ext cx="34"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4" name="Rectangle 74"/>
            <p:cNvSpPr>
              <a:spLocks noChangeArrowheads="1"/>
            </p:cNvSpPr>
            <p:nvPr/>
          </p:nvSpPr>
          <p:spPr bwMode="auto">
            <a:xfrm>
              <a:off x="5945" y="1295"/>
              <a:ext cx="34"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5" name="Freeform 75"/>
            <p:cNvSpPr>
              <a:spLocks noEditPoints="1"/>
            </p:cNvSpPr>
            <p:nvPr/>
          </p:nvSpPr>
          <p:spPr bwMode="auto">
            <a:xfrm>
              <a:off x="6009" y="1290"/>
              <a:ext cx="192" cy="192"/>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6" name="Rectangle 76"/>
            <p:cNvSpPr>
              <a:spLocks noChangeArrowheads="1"/>
            </p:cNvSpPr>
            <p:nvPr/>
          </p:nvSpPr>
          <p:spPr bwMode="auto">
            <a:xfrm>
              <a:off x="3780" y="1598"/>
              <a:ext cx="336"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7" name="Rectangle 77"/>
            <p:cNvSpPr>
              <a:spLocks noChangeArrowheads="1"/>
            </p:cNvSpPr>
            <p:nvPr/>
          </p:nvSpPr>
          <p:spPr bwMode="auto">
            <a:xfrm>
              <a:off x="4145" y="1598"/>
              <a:ext cx="333"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8" name="Rectangle 78"/>
            <p:cNvSpPr>
              <a:spLocks noChangeArrowheads="1"/>
            </p:cNvSpPr>
            <p:nvPr/>
          </p:nvSpPr>
          <p:spPr bwMode="auto">
            <a:xfrm>
              <a:off x="4507" y="1598"/>
              <a:ext cx="137"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9" name="Rectangle 79"/>
            <p:cNvSpPr>
              <a:spLocks noChangeArrowheads="1"/>
            </p:cNvSpPr>
            <p:nvPr/>
          </p:nvSpPr>
          <p:spPr bwMode="auto">
            <a:xfrm>
              <a:off x="4507" y="1598"/>
              <a:ext cx="137"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0" name="Rectangle 80"/>
            <p:cNvSpPr>
              <a:spLocks noChangeArrowheads="1"/>
            </p:cNvSpPr>
            <p:nvPr/>
          </p:nvSpPr>
          <p:spPr bwMode="auto">
            <a:xfrm>
              <a:off x="4670" y="1598"/>
              <a:ext cx="258" cy="344"/>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1" name="Rectangle 81"/>
            <p:cNvSpPr>
              <a:spLocks noChangeArrowheads="1"/>
            </p:cNvSpPr>
            <p:nvPr/>
          </p:nvSpPr>
          <p:spPr bwMode="auto">
            <a:xfrm>
              <a:off x="4670" y="1598"/>
              <a:ext cx="258" cy="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2" name="Rectangle 82"/>
            <p:cNvSpPr>
              <a:spLocks noChangeArrowheads="1"/>
            </p:cNvSpPr>
            <p:nvPr/>
          </p:nvSpPr>
          <p:spPr bwMode="auto">
            <a:xfrm>
              <a:off x="3780" y="1790"/>
              <a:ext cx="334" cy="33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3" name="Rectangle 83"/>
            <p:cNvSpPr>
              <a:spLocks noChangeArrowheads="1"/>
            </p:cNvSpPr>
            <p:nvPr/>
          </p:nvSpPr>
          <p:spPr bwMode="auto">
            <a:xfrm>
              <a:off x="3780" y="1790"/>
              <a:ext cx="334"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4" name="Rectangle 84"/>
            <p:cNvSpPr>
              <a:spLocks noChangeArrowheads="1"/>
            </p:cNvSpPr>
            <p:nvPr/>
          </p:nvSpPr>
          <p:spPr bwMode="auto">
            <a:xfrm>
              <a:off x="4670" y="1970"/>
              <a:ext cx="258"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5" name="Rectangle 85"/>
            <p:cNvSpPr>
              <a:spLocks noChangeArrowheads="1"/>
            </p:cNvSpPr>
            <p:nvPr/>
          </p:nvSpPr>
          <p:spPr bwMode="auto">
            <a:xfrm>
              <a:off x="4670" y="1970"/>
              <a:ext cx="25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6" name="Rectangle 86"/>
            <p:cNvSpPr>
              <a:spLocks noChangeArrowheads="1"/>
            </p:cNvSpPr>
            <p:nvPr/>
          </p:nvSpPr>
          <p:spPr bwMode="auto">
            <a:xfrm>
              <a:off x="4145" y="1790"/>
              <a:ext cx="333"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7" name="Rectangle 87"/>
            <p:cNvSpPr>
              <a:spLocks noChangeArrowheads="1"/>
            </p:cNvSpPr>
            <p:nvPr/>
          </p:nvSpPr>
          <p:spPr bwMode="auto">
            <a:xfrm>
              <a:off x="4145" y="1790"/>
              <a:ext cx="333"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8" name="Rectangle 88"/>
            <p:cNvSpPr>
              <a:spLocks noChangeArrowheads="1"/>
            </p:cNvSpPr>
            <p:nvPr/>
          </p:nvSpPr>
          <p:spPr bwMode="auto">
            <a:xfrm>
              <a:off x="4145" y="1970"/>
              <a:ext cx="333"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9" name="Rectangle 89"/>
            <p:cNvSpPr>
              <a:spLocks noChangeArrowheads="1"/>
            </p:cNvSpPr>
            <p:nvPr/>
          </p:nvSpPr>
          <p:spPr bwMode="auto">
            <a:xfrm>
              <a:off x="4145" y="1970"/>
              <a:ext cx="333"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0" name="Rectangle 90"/>
            <p:cNvSpPr>
              <a:spLocks noChangeArrowheads="1"/>
            </p:cNvSpPr>
            <p:nvPr/>
          </p:nvSpPr>
          <p:spPr bwMode="auto">
            <a:xfrm>
              <a:off x="4507" y="1790"/>
              <a:ext cx="137"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1" name="Rectangle 91"/>
            <p:cNvSpPr>
              <a:spLocks noChangeArrowheads="1"/>
            </p:cNvSpPr>
            <p:nvPr/>
          </p:nvSpPr>
          <p:spPr bwMode="auto">
            <a:xfrm>
              <a:off x="4507" y="179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2" name="Rectangle 92"/>
            <p:cNvSpPr>
              <a:spLocks noChangeArrowheads="1"/>
            </p:cNvSpPr>
            <p:nvPr/>
          </p:nvSpPr>
          <p:spPr bwMode="auto">
            <a:xfrm>
              <a:off x="4507" y="1970"/>
              <a:ext cx="137"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3" name="Rectangle 93"/>
            <p:cNvSpPr>
              <a:spLocks noChangeArrowheads="1"/>
            </p:cNvSpPr>
            <p:nvPr/>
          </p:nvSpPr>
          <p:spPr bwMode="auto">
            <a:xfrm>
              <a:off x="4507" y="197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4" name="Rectangle 94"/>
            <p:cNvSpPr>
              <a:spLocks noChangeArrowheads="1"/>
            </p:cNvSpPr>
            <p:nvPr/>
          </p:nvSpPr>
          <p:spPr bwMode="auto">
            <a:xfrm>
              <a:off x="3731" y="2280"/>
              <a:ext cx="1294" cy="15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5" name="Rectangle 95"/>
            <p:cNvSpPr>
              <a:spLocks noChangeArrowheads="1"/>
            </p:cNvSpPr>
            <p:nvPr/>
          </p:nvSpPr>
          <p:spPr bwMode="auto">
            <a:xfrm>
              <a:off x="4429" y="2434"/>
              <a:ext cx="153" cy="5"/>
            </a:xfrm>
            <a:prstGeom prst="rect">
              <a:avLst/>
            </a:prstGeom>
            <a:solidFill>
              <a:srgbClr val="00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6" name="Rectangle 96"/>
            <p:cNvSpPr>
              <a:spLocks noChangeArrowheads="1"/>
            </p:cNvSpPr>
            <p:nvPr/>
          </p:nvSpPr>
          <p:spPr bwMode="auto">
            <a:xfrm>
              <a:off x="4429" y="2434"/>
              <a:ext cx="153" cy="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7" name="Rectangle 97"/>
            <p:cNvSpPr>
              <a:spLocks noChangeArrowheads="1"/>
            </p:cNvSpPr>
            <p:nvPr/>
          </p:nvSpPr>
          <p:spPr bwMode="auto">
            <a:xfrm>
              <a:off x="4095" y="2434"/>
              <a:ext cx="154" cy="5"/>
            </a:xfrm>
            <a:prstGeom prst="rect">
              <a:avLst/>
            </a:prstGeom>
            <a:solidFill>
              <a:srgbClr val="00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8" name="Rectangle 98"/>
            <p:cNvSpPr>
              <a:spLocks noChangeArrowheads="1"/>
            </p:cNvSpPr>
            <p:nvPr/>
          </p:nvSpPr>
          <p:spPr bwMode="auto">
            <a:xfrm>
              <a:off x="4095" y="2434"/>
              <a:ext cx="154" cy="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9" name="Freeform 99"/>
            <p:cNvSpPr>
              <a:spLocks/>
            </p:cNvSpPr>
            <p:nvPr/>
          </p:nvSpPr>
          <p:spPr bwMode="auto">
            <a:xfrm>
              <a:off x="3686" y="2368"/>
              <a:ext cx="1180" cy="66"/>
            </a:xfrm>
            <a:custGeom>
              <a:avLst/>
              <a:gdLst>
                <a:gd name="T0" fmla="*/ 0 w 499"/>
                <a:gd name="T1" fmla="*/ 0 h 28"/>
                <a:gd name="T2" fmla="*/ 0 w 499"/>
                <a:gd name="T3" fmla="*/ 2 h 28"/>
                <a:gd name="T4" fmla="*/ 19 w 499"/>
                <a:gd name="T5" fmla="*/ 28 h 28"/>
                <a:gd name="T6" fmla="*/ 173 w 499"/>
                <a:gd name="T7" fmla="*/ 28 h 28"/>
                <a:gd name="T8" fmla="*/ 238 w 499"/>
                <a:gd name="T9" fmla="*/ 28 h 28"/>
                <a:gd name="T10" fmla="*/ 314 w 499"/>
                <a:gd name="T11" fmla="*/ 28 h 28"/>
                <a:gd name="T12" fmla="*/ 379 w 499"/>
                <a:gd name="T13" fmla="*/ 28 h 28"/>
                <a:gd name="T14" fmla="*/ 499 w 499"/>
                <a:gd name="T15" fmla="*/ 28 h 28"/>
                <a:gd name="T16" fmla="*/ 499 w 499"/>
                <a:gd name="T17" fmla="*/ 28 h 28"/>
                <a:gd name="T18" fmla="*/ 28 w 499"/>
                <a:gd name="T19" fmla="*/ 28 h 28"/>
                <a:gd name="T20" fmla="*/ 0 w 499"/>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9" h="28">
                  <a:moveTo>
                    <a:pt x="0" y="0"/>
                  </a:moveTo>
                  <a:cubicBezTo>
                    <a:pt x="0" y="2"/>
                    <a:pt x="0" y="2"/>
                    <a:pt x="0" y="2"/>
                  </a:cubicBezTo>
                  <a:cubicBezTo>
                    <a:pt x="0" y="19"/>
                    <a:pt x="10" y="26"/>
                    <a:pt x="19" y="28"/>
                  </a:cubicBezTo>
                  <a:cubicBezTo>
                    <a:pt x="173" y="28"/>
                    <a:pt x="173" y="28"/>
                    <a:pt x="173" y="28"/>
                  </a:cubicBezTo>
                  <a:cubicBezTo>
                    <a:pt x="238" y="28"/>
                    <a:pt x="238" y="28"/>
                    <a:pt x="238" y="28"/>
                  </a:cubicBezTo>
                  <a:cubicBezTo>
                    <a:pt x="314" y="28"/>
                    <a:pt x="314" y="28"/>
                    <a:pt x="314" y="28"/>
                  </a:cubicBezTo>
                  <a:cubicBezTo>
                    <a:pt x="379" y="28"/>
                    <a:pt x="379" y="28"/>
                    <a:pt x="379" y="28"/>
                  </a:cubicBezTo>
                  <a:cubicBezTo>
                    <a:pt x="499" y="28"/>
                    <a:pt x="499" y="28"/>
                    <a:pt x="499" y="28"/>
                  </a:cubicBezTo>
                  <a:cubicBezTo>
                    <a:pt x="499" y="28"/>
                    <a:pt x="499" y="28"/>
                    <a:pt x="499" y="28"/>
                  </a:cubicBezTo>
                  <a:cubicBezTo>
                    <a:pt x="28" y="28"/>
                    <a:pt x="28" y="28"/>
                    <a:pt x="28" y="28"/>
                  </a:cubicBezTo>
                  <a:cubicBezTo>
                    <a:pt x="28" y="28"/>
                    <a:pt x="0" y="28"/>
                    <a:pt x="0"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0" name="Freeform 100"/>
            <p:cNvSpPr>
              <a:spLocks/>
            </p:cNvSpPr>
            <p:nvPr/>
          </p:nvSpPr>
          <p:spPr bwMode="auto">
            <a:xfrm>
              <a:off x="3686" y="1501"/>
              <a:ext cx="1339" cy="933"/>
            </a:xfrm>
            <a:custGeom>
              <a:avLst/>
              <a:gdLst>
                <a:gd name="T0" fmla="*/ 566 w 566"/>
                <a:gd name="T1" fmla="*/ 0 h 394"/>
                <a:gd name="T2" fmla="*/ 537 w 566"/>
                <a:gd name="T3" fmla="*/ 17 h 394"/>
                <a:gd name="T4" fmla="*/ 537 w 566"/>
                <a:gd name="T5" fmla="*/ 310 h 394"/>
                <a:gd name="T6" fmla="*/ 50 w 566"/>
                <a:gd name="T7" fmla="*/ 310 h 394"/>
                <a:gd name="T8" fmla="*/ 0 w 566"/>
                <a:gd name="T9" fmla="*/ 340 h 394"/>
                <a:gd name="T10" fmla="*/ 0 w 566"/>
                <a:gd name="T11" fmla="*/ 366 h 394"/>
                <a:gd name="T12" fmla="*/ 28 w 566"/>
                <a:gd name="T13" fmla="*/ 394 h 394"/>
                <a:gd name="T14" fmla="*/ 499 w 566"/>
                <a:gd name="T15" fmla="*/ 394 h 394"/>
                <a:gd name="T16" fmla="*/ 537 w 566"/>
                <a:gd name="T17" fmla="*/ 394 h 394"/>
                <a:gd name="T18" fmla="*/ 566 w 566"/>
                <a:gd name="T19" fmla="*/ 366 h 394"/>
                <a:gd name="T20" fmla="*/ 566 w 566"/>
                <a:gd name="T21" fmla="*/ 329 h 394"/>
                <a:gd name="T22" fmla="*/ 566 w 566"/>
                <a:gd name="T23"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394">
                  <a:moveTo>
                    <a:pt x="566" y="0"/>
                  </a:moveTo>
                  <a:cubicBezTo>
                    <a:pt x="537" y="17"/>
                    <a:pt x="537" y="17"/>
                    <a:pt x="537" y="17"/>
                  </a:cubicBezTo>
                  <a:cubicBezTo>
                    <a:pt x="537" y="310"/>
                    <a:pt x="537" y="310"/>
                    <a:pt x="537" y="310"/>
                  </a:cubicBezTo>
                  <a:cubicBezTo>
                    <a:pt x="50" y="310"/>
                    <a:pt x="50" y="310"/>
                    <a:pt x="50" y="310"/>
                  </a:cubicBezTo>
                  <a:cubicBezTo>
                    <a:pt x="0" y="340"/>
                    <a:pt x="0" y="340"/>
                    <a:pt x="0" y="340"/>
                  </a:cubicBezTo>
                  <a:cubicBezTo>
                    <a:pt x="0" y="366"/>
                    <a:pt x="0" y="366"/>
                    <a:pt x="0" y="366"/>
                  </a:cubicBezTo>
                  <a:cubicBezTo>
                    <a:pt x="0" y="394"/>
                    <a:pt x="28" y="394"/>
                    <a:pt x="28" y="394"/>
                  </a:cubicBezTo>
                  <a:cubicBezTo>
                    <a:pt x="499" y="394"/>
                    <a:pt x="499" y="394"/>
                    <a:pt x="499" y="394"/>
                  </a:cubicBezTo>
                  <a:cubicBezTo>
                    <a:pt x="537" y="394"/>
                    <a:pt x="537" y="394"/>
                    <a:pt x="537" y="394"/>
                  </a:cubicBezTo>
                  <a:cubicBezTo>
                    <a:pt x="566" y="394"/>
                    <a:pt x="566" y="366"/>
                    <a:pt x="566" y="366"/>
                  </a:cubicBezTo>
                  <a:cubicBezTo>
                    <a:pt x="566" y="329"/>
                    <a:pt x="566" y="329"/>
                    <a:pt x="566" y="329"/>
                  </a:cubicBezTo>
                  <a:cubicBezTo>
                    <a:pt x="566" y="0"/>
                    <a:pt x="566" y="0"/>
                    <a:pt x="566"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1" name="Freeform 101"/>
            <p:cNvSpPr>
              <a:spLocks noEditPoints="1"/>
            </p:cNvSpPr>
            <p:nvPr/>
          </p:nvSpPr>
          <p:spPr bwMode="auto">
            <a:xfrm>
              <a:off x="3804" y="1541"/>
              <a:ext cx="1152" cy="694"/>
            </a:xfrm>
            <a:custGeom>
              <a:avLst/>
              <a:gdLst>
                <a:gd name="T0" fmla="*/ 703 w 1152"/>
                <a:gd name="T1" fmla="*/ 581 h 694"/>
                <a:gd name="T2" fmla="*/ 703 w 1152"/>
                <a:gd name="T3" fmla="*/ 429 h 694"/>
                <a:gd name="T4" fmla="*/ 840 w 1152"/>
                <a:gd name="T5" fmla="*/ 429 h 694"/>
                <a:gd name="T6" fmla="*/ 840 w 1152"/>
                <a:gd name="T7" fmla="*/ 581 h 694"/>
                <a:gd name="T8" fmla="*/ 703 w 1152"/>
                <a:gd name="T9" fmla="*/ 581 h 694"/>
                <a:gd name="T10" fmla="*/ 866 w 1152"/>
                <a:gd name="T11" fmla="*/ 581 h 694"/>
                <a:gd name="T12" fmla="*/ 866 w 1152"/>
                <a:gd name="T13" fmla="*/ 429 h 694"/>
                <a:gd name="T14" fmla="*/ 1124 w 1152"/>
                <a:gd name="T15" fmla="*/ 429 h 694"/>
                <a:gd name="T16" fmla="*/ 1124 w 1152"/>
                <a:gd name="T17" fmla="*/ 581 h 694"/>
                <a:gd name="T18" fmla="*/ 866 w 1152"/>
                <a:gd name="T19" fmla="*/ 581 h 694"/>
                <a:gd name="T20" fmla="*/ 1152 w 1152"/>
                <a:gd name="T21" fmla="*/ 0 h 694"/>
                <a:gd name="T22" fmla="*/ 1058 w 1152"/>
                <a:gd name="T23" fmla="*/ 57 h 694"/>
                <a:gd name="T24" fmla="*/ 1124 w 1152"/>
                <a:gd name="T25" fmla="*/ 57 h 694"/>
                <a:gd name="T26" fmla="*/ 1124 w 1152"/>
                <a:gd name="T27" fmla="*/ 401 h 694"/>
                <a:gd name="T28" fmla="*/ 866 w 1152"/>
                <a:gd name="T29" fmla="*/ 401 h 694"/>
                <a:gd name="T30" fmla="*/ 866 w 1152"/>
                <a:gd name="T31" fmla="*/ 173 h 694"/>
                <a:gd name="T32" fmla="*/ 840 w 1152"/>
                <a:gd name="T33" fmla="*/ 187 h 694"/>
                <a:gd name="T34" fmla="*/ 840 w 1152"/>
                <a:gd name="T35" fmla="*/ 218 h 694"/>
                <a:gd name="T36" fmla="*/ 790 w 1152"/>
                <a:gd name="T37" fmla="*/ 218 h 694"/>
                <a:gd name="T38" fmla="*/ 741 w 1152"/>
                <a:gd name="T39" fmla="*/ 249 h 694"/>
                <a:gd name="T40" fmla="*/ 840 w 1152"/>
                <a:gd name="T41" fmla="*/ 249 h 694"/>
                <a:gd name="T42" fmla="*/ 840 w 1152"/>
                <a:gd name="T43" fmla="*/ 401 h 694"/>
                <a:gd name="T44" fmla="*/ 703 w 1152"/>
                <a:gd name="T45" fmla="*/ 401 h 694"/>
                <a:gd name="T46" fmla="*/ 703 w 1152"/>
                <a:gd name="T47" fmla="*/ 270 h 694"/>
                <a:gd name="T48" fmla="*/ 674 w 1152"/>
                <a:gd name="T49" fmla="*/ 289 h 694"/>
                <a:gd name="T50" fmla="*/ 674 w 1152"/>
                <a:gd name="T51" fmla="*/ 401 h 694"/>
                <a:gd name="T52" fmla="*/ 487 w 1152"/>
                <a:gd name="T53" fmla="*/ 401 h 694"/>
                <a:gd name="T54" fmla="*/ 440 w 1152"/>
                <a:gd name="T55" fmla="*/ 429 h 694"/>
                <a:gd name="T56" fmla="*/ 674 w 1152"/>
                <a:gd name="T57" fmla="*/ 429 h 694"/>
                <a:gd name="T58" fmla="*/ 674 w 1152"/>
                <a:gd name="T59" fmla="*/ 581 h 694"/>
                <a:gd name="T60" fmla="*/ 341 w 1152"/>
                <a:gd name="T61" fmla="*/ 581 h 694"/>
                <a:gd name="T62" fmla="*/ 341 w 1152"/>
                <a:gd name="T63" fmla="*/ 488 h 694"/>
                <a:gd name="T64" fmla="*/ 310 w 1152"/>
                <a:gd name="T65" fmla="*/ 507 h 694"/>
                <a:gd name="T66" fmla="*/ 310 w 1152"/>
                <a:gd name="T67" fmla="*/ 581 h 694"/>
                <a:gd name="T68" fmla="*/ 187 w 1152"/>
                <a:gd name="T69" fmla="*/ 581 h 694"/>
                <a:gd name="T70" fmla="*/ 0 w 1152"/>
                <a:gd name="T71" fmla="*/ 694 h 694"/>
                <a:gd name="T72" fmla="*/ 1152 w 1152"/>
                <a:gd name="T73" fmla="*/ 694 h 694"/>
                <a:gd name="T74" fmla="*/ 1152 w 1152"/>
                <a:gd name="T75"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2" h="694">
                  <a:moveTo>
                    <a:pt x="703" y="581"/>
                  </a:moveTo>
                  <a:lnTo>
                    <a:pt x="703" y="429"/>
                  </a:lnTo>
                  <a:lnTo>
                    <a:pt x="840" y="429"/>
                  </a:lnTo>
                  <a:lnTo>
                    <a:pt x="840" y="581"/>
                  </a:lnTo>
                  <a:lnTo>
                    <a:pt x="703" y="581"/>
                  </a:lnTo>
                  <a:close/>
                  <a:moveTo>
                    <a:pt x="866" y="581"/>
                  </a:moveTo>
                  <a:lnTo>
                    <a:pt x="866" y="429"/>
                  </a:lnTo>
                  <a:lnTo>
                    <a:pt x="1124" y="429"/>
                  </a:lnTo>
                  <a:lnTo>
                    <a:pt x="1124" y="581"/>
                  </a:lnTo>
                  <a:lnTo>
                    <a:pt x="866" y="581"/>
                  </a:lnTo>
                  <a:close/>
                  <a:moveTo>
                    <a:pt x="1152" y="0"/>
                  </a:moveTo>
                  <a:lnTo>
                    <a:pt x="1058" y="57"/>
                  </a:lnTo>
                  <a:lnTo>
                    <a:pt x="1124" y="57"/>
                  </a:lnTo>
                  <a:lnTo>
                    <a:pt x="1124" y="401"/>
                  </a:lnTo>
                  <a:lnTo>
                    <a:pt x="866" y="401"/>
                  </a:lnTo>
                  <a:lnTo>
                    <a:pt x="866" y="173"/>
                  </a:lnTo>
                  <a:lnTo>
                    <a:pt x="840" y="187"/>
                  </a:lnTo>
                  <a:lnTo>
                    <a:pt x="840" y="218"/>
                  </a:lnTo>
                  <a:lnTo>
                    <a:pt x="790" y="218"/>
                  </a:lnTo>
                  <a:lnTo>
                    <a:pt x="741" y="249"/>
                  </a:lnTo>
                  <a:lnTo>
                    <a:pt x="840" y="249"/>
                  </a:lnTo>
                  <a:lnTo>
                    <a:pt x="840" y="401"/>
                  </a:lnTo>
                  <a:lnTo>
                    <a:pt x="703" y="401"/>
                  </a:lnTo>
                  <a:lnTo>
                    <a:pt x="703" y="270"/>
                  </a:lnTo>
                  <a:lnTo>
                    <a:pt x="674" y="289"/>
                  </a:lnTo>
                  <a:lnTo>
                    <a:pt x="674" y="401"/>
                  </a:lnTo>
                  <a:lnTo>
                    <a:pt x="487" y="401"/>
                  </a:lnTo>
                  <a:lnTo>
                    <a:pt x="440" y="429"/>
                  </a:lnTo>
                  <a:lnTo>
                    <a:pt x="674" y="429"/>
                  </a:lnTo>
                  <a:lnTo>
                    <a:pt x="674" y="581"/>
                  </a:lnTo>
                  <a:lnTo>
                    <a:pt x="341" y="581"/>
                  </a:lnTo>
                  <a:lnTo>
                    <a:pt x="341" y="488"/>
                  </a:lnTo>
                  <a:lnTo>
                    <a:pt x="310" y="507"/>
                  </a:lnTo>
                  <a:lnTo>
                    <a:pt x="310" y="581"/>
                  </a:lnTo>
                  <a:lnTo>
                    <a:pt x="187" y="581"/>
                  </a:lnTo>
                  <a:lnTo>
                    <a:pt x="0" y="694"/>
                  </a:lnTo>
                  <a:lnTo>
                    <a:pt x="1152" y="694"/>
                  </a:lnTo>
                  <a:lnTo>
                    <a:pt x="1152" y="0"/>
                  </a:lnTo>
                  <a:close/>
                </a:path>
              </a:pathLst>
            </a:custGeom>
            <a:solidFill>
              <a:srgbClr val="00A9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2" name="Freeform 102"/>
            <p:cNvSpPr>
              <a:spLocks noEditPoints="1"/>
            </p:cNvSpPr>
            <p:nvPr/>
          </p:nvSpPr>
          <p:spPr bwMode="auto">
            <a:xfrm>
              <a:off x="3804" y="1541"/>
              <a:ext cx="1152" cy="694"/>
            </a:xfrm>
            <a:custGeom>
              <a:avLst/>
              <a:gdLst>
                <a:gd name="T0" fmla="*/ 703 w 1152"/>
                <a:gd name="T1" fmla="*/ 581 h 694"/>
                <a:gd name="T2" fmla="*/ 703 w 1152"/>
                <a:gd name="T3" fmla="*/ 429 h 694"/>
                <a:gd name="T4" fmla="*/ 840 w 1152"/>
                <a:gd name="T5" fmla="*/ 429 h 694"/>
                <a:gd name="T6" fmla="*/ 840 w 1152"/>
                <a:gd name="T7" fmla="*/ 581 h 694"/>
                <a:gd name="T8" fmla="*/ 703 w 1152"/>
                <a:gd name="T9" fmla="*/ 581 h 694"/>
                <a:gd name="T10" fmla="*/ 866 w 1152"/>
                <a:gd name="T11" fmla="*/ 581 h 694"/>
                <a:gd name="T12" fmla="*/ 866 w 1152"/>
                <a:gd name="T13" fmla="*/ 429 h 694"/>
                <a:gd name="T14" fmla="*/ 1124 w 1152"/>
                <a:gd name="T15" fmla="*/ 429 h 694"/>
                <a:gd name="T16" fmla="*/ 1124 w 1152"/>
                <a:gd name="T17" fmla="*/ 581 h 694"/>
                <a:gd name="T18" fmla="*/ 866 w 1152"/>
                <a:gd name="T19" fmla="*/ 581 h 694"/>
                <a:gd name="T20" fmla="*/ 1152 w 1152"/>
                <a:gd name="T21" fmla="*/ 0 h 694"/>
                <a:gd name="T22" fmla="*/ 1058 w 1152"/>
                <a:gd name="T23" fmla="*/ 57 h 694"/>
                <a:gd name="T24" fmla="*/ 1124 w 1152"/>
                <a:gd name="T25" fmla="*/ 57 h 694"/>
                <a:gd name="T26" fmla="*/ 1124 w 1152"/>
                <a:gd name="T27" fmla="*/ 401 h 694"/>
                <a:gd name="T28" fmla="*/ 866 w 1152"/>
                <a:gd name="T29" fmla="*/ 401 h 694"/>
                <a:gd name="T30" fmla="*/ 866 w 1152"/>
                <a:gd name="T31" fmla="*/ 173 h 694"/>
                <a:gd name="T32" fmla="*/ 840 w 1152"/>
                <a:gd name="T33" fmla="*/ 187 h 694"/>
                <a:gd name="T34" fmla="*/ 840 w 1152"/>
                <a:gd name="T35" fmla="*/ 218 h 694"/>
                <a:gd name="T36" fmla="*/ 790 w 1152"/>
                <a:gd name="T37" fmla="*/ 218 h 694"/>
                <a:gd name="T38" fmla="*/ 741 w 1152"/>
                <a:gd name="T39" fmla="*/ 249 h 694"/>
                <a:gd name="T40" fmla="*/ 840 w 1152"/>
                <a:gd name="T41" fmla="*/ 249 h 694"/>
                <a:gd name="T42" fmla="*/ 840 w 1152"/>
                <a:gd name="T43" fmla="*/ 401 h 694"/>
                <a:gd name="T44" fmla="*/ 703 w 1152"/>
                <a:gd name="T45" fmla="*/ 401 h 694"/>
                <a:gd name="T46" fmla="*/ 703 w 1152"/>
                <a:gd name="T47" fmla="*/ 270 h 694"/>
                <a:gd name="T48" fmla="*/ 674 w 1152"/>
                <a:gd name="T49" fmla="*/ 289 h 694"/>
                <a:gd name="T50" fmla="*/ 674 w 1152"/>
                <a:gd name="T51" fmla="*/ 401 h 694"/>
                <a:gd name="T52" fmla="*/ 487 w 1152"/>
                <a:gd name="T53" fmla="*/ 401 h 694"/>
                <a:gd name="T54" fmla="*/ 440 w 1152"/>
                <a:gd name="T55" fmla="*/ 429 h 694"/>
                <a:gd name="T56" fmla="*/ 674 w 1152"/>
                <a:gd name="T57" fmla="*/ 429 h 694"/>
                <a:gd name="T58" fmla="*/ 674 w 1152"/>
                <a:gd name="T59" fmla="*/ 581 h 694"/>
                <a:gd name="T60" fmla="*/ 341 w 1152"/>
                <a:gd name="T61" fmla="*/ 581 h 694"/>
                <a:gd name="T62" fmla="*/ 341 w 1152"/>
                <a:gd name="T63" fmla="*/ 488 h 694"/>
                <a:gd name="T64" fmla="*/ 310 w 1152"/>
                <a:gd name="T65" fmla="*/ 507 h 694"/>
                <a:gd name="T66" fmla="*/ 310 w 1152"/>
                <a:gd name="T67" fmla="*/ 581 h 694"/>
                <a:gd name="T68" fmla="*/ 187 w 1152"/>
                <a:gd name="T69" fmla="*/ 581 h 694"/>
                <a:gd name="T70" fmla="*/ 0 w 1152"/>
                <a:gd name="T71" fmla="*/ 694 h 694"/>
                <a:gd name="T72" fmla="*/ 1152 w 1152"/>
                <a:gd name="T73" fmla="*/ 694 h 694"/>
                <a:gd name="T74" fmla="*/ 1152 w 1152"/>
                <a:gd name="T75"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2" h="694">
                  <a:moveTo>
                    <a:pt x="703" y="581"/>
                  </a:moveTo>
                  <a:lnTo>
                    <a:pt x="703" y="429"/>
                  </a:lnTo>
                  <a:lnTo>
                    <a:pt x="840" y="429"/>
                  </a:lnTo>
                  <a:lnTo>
                    <a:pt x="840" y="581"/>
                  </a:lnTo>
                  <a:lnTo>
                    <a:pt x="703" y="581"/>
                  </a:lnTo>
                  <a:moveTo>
                    <a:pt x="866" y="581"/>
                  </a:moveTo>
                  <a:lnTo>
                    <a:pt x="866" y="429"/>
                  </a:lnTo>
                  <a:lnTo>
                    <a:pt x="1124" y="429"/>
                  </a:lnTo>
                  <a:lnTo>
                    <a:pt x="1124" y="581"/>
                  </a:lnTo>
                  <a:lnTo>
                    <a:pt x="866" y="581"/>
                  </a:lnTo>
                  <a:moveTo>
                    <a:pt x="1152" y="0"/>
                  </a:moveTo>
                  <a:lnTo>
                    <a:pt x="1058" y="57"/>
                  </a:lnTo>
                  <a:lnTo>
                    <a:pt x="1124" y="57"/>
                  </a:lnTo>
                  <a:lnTo>
                    <a:pt x="1124" y="401"/>
                  </a:lnTo>
                  <a:lnTo>
                    <a:pt x="866" y="401"/>
                  </a:lnTo>
                  <a:lnTo>
                    <a:pt x="866" y="173"/>
                  </a:lnTo>
                  <a:lnTo>
                    <a:pt x="840" y="187"/>
                  </a:lnTo>
                  <a:lnTo>
                    <a:pt x="840" y="218"/>
                  </a:lnTo>
                  <a:lnTo>
                    <a:pt x="790" y="218"/>
                  </a:lnTo>
                  <a:lnTo>
                    <a:pt x="741" y="249"/>
                  </a:lnTo>
                  <a:lnTo>
                    <a:pt x="840" y="249"/>
                  </a:lnTo>
                  <a:lnTo>
                    <a:pt x="840" y="401"/>
                  </a:lnTo>
                  <a:lnTo>
                    <a:pt x="703" y="401"/>
                  </a:lnTo>
                  <a:lnTo>
                    <a:pt x="703" y="270"/>
                  </a:lnTo>
                  <a:lnTo>
                    <a:pt x="674" y="289"/>
                  </a:lnTo>
                  <a:lnTo>
                    <a:pt x="674" y="401"/>
                  </a:lnTo>
                  <a:lnTo>
                    <a:pt x="487" y="401"/>
                  </a:lnTo>
                  <a:lnTo>
                    <a:pt x="440" y="429"/>
                  </a:lnTo>
                  <a:lnTo>
                    <a:pt x="674" y="429"/>
                  </a:lnTo>
                  <a:lnTo>
                    <a:pt x="674" y="581"/>
                  </a:lnTo>
                  <a:lnTo>
                    <a:pt x="341" y="581"/>
                  </a:lnTo>
                  <a:lnTo>
                    <a:pt x="341" y="488"/>
                  </a:lnTo>
                  <a:lnTo>
                    <a:pt x="310" y="507"/>
                  </a:lnTo>
                  <a:lnTo>
                    <a:pt x="310" y="581"/>
                  </a:lnTo>
                  <a:lnTo>
                    <a:pt x="187" y="581"/>
                  </a:lnTo>
                  <a:lnTo>
                    <a:pt x="0" y="694"/>
                  </a:lnTo>
                  <a:lnTo>
                    <a:pt x="1152" y="694"/>
                  </a:lnTo>
                  <a:lnTo>
                    <a:pt x="1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3" name="Freeform 103"/>
            <p:cNvSpPr>
              <a:spLocks/>
            </p:cNvSpPr>
            <p:nvPr/>
          </p:nvSpPr>
          <p:spPr bwMode="auto">
            <a:xfrm>
              <a:off x="4594" y="1728"/>
              <a:ext cx="50" cy="31"/>
            </a:xfrm>
            <a:custGeom>
              <a:avLst/>
              <a:gdLst>
                <a:gd name="T0" fmla="*/ 50 w 50"/>
                <a:gd name="T1" fmla="*/ 0 h 31"/>
                <a:gd name="T2" fmla="*/ 0 w 50"/>
                <a:gd name="T3" fmla="*/ 31 h 31"/>
                <a:gd name="T4" fmla="*/ 50 w 50"/>
                <a:gd name="T5" fmla="*/ 31 h 31"/>
                <a:gd name="T6" fmla="*/ 50 w 50"/>
                <a:gd name="T7" fmla="*/ 0 h 31"/>
              </a:gdLst>
              <a:ahLst/>
              <a:cxnLst>
                <a:cxn ang="0">
                  <a:pos x="T0" y="T1"/>
                </a:cxn>
                <a:cxn ang="0">
                  <a:pos x="T2" y="T3"/>
                </a:cxn>
                <a:cxn ang="0">
                  <a:pos x="T4" y="T5"/>
                </a:cxn>
                <a:cxn ang="0">
                  <a:pos x="T6" y="T7"/>
                </a:cxn>
              </a:cxnLst>
              <a:rect l="0" t="0" r="r" b="b"/>
              <a:pathLst>
                <a:path w="50" h="31">
                  <a:moveTo>
                    <a:pt x="50" y="0"/>
                  </a:moveTo>
                  <a:lnTo>
                    <a:pt x="0" y="31"/>
                  </a:lnTo>
                  <a:lnTo>
                    <a:pt x="50" y="31"/>
                  </a:lnTo>
                  <a:lnTo>
                    <a:pt x="5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4" name="Freeform 104"/>
            <p:cNvSpPr>
              <a:spLocks/>
            </p:cNvSpPr>
            <p:nvPr/>
          </p:nvSpPr>
          <p:spPr bwMode="auto">
            <a:xfrm>
              <a:off x="4594" y="1728"/>
              <a:ext cx="50" cy="31"/>
            </a:xfrm>
            <a:custGeom>
              <a:avLst/>
              <a:gdLst>
                <a:gd name="T0" fmla="*/ 50 w 50"/>
                <a:gd name="T1" fmla="*/ 0 h 31"/>
                <a:gd name="T2" fmla="*/ 0 w 50"/>
                <a:gd name="T3" fmla="*/ 31 h 31"/>
                <a:gd name="T4" fmla="*/ 50 w 50"/>
                <a:gd name="T5" fmla="*/ 31 h 31"/>
                <a:gd name="T6" fmla="*/ 50 w 50"/>
                <a:gd name="T7" fmla="*/ 0 h 31"/>
              </a:gdLst>
              <a:ahLst/>
              <a:cxnLst>
                <a:cxn ang="0">
                  <a:pos x="T0" y="T1"/>
                </a:cxn>
                <a:cxn ang="0">
                  <a:pos x="T2" y="T3"/>
                </a:cxn>
                <a:cxn ang="0">
                  <a:pos x="T4" y="T5"/>
                </a:cxn>
                <a:cxn ang="0">
                  <a:pos x="T6" y="T7"/>
                </a:cxn>
              </a:cxnLst>
              <a:rect l="0" t="0" r="r" b="b"/>
              <a:pathLst>
                <a:path w="50" h="31">
                  <a:moveTo>
                    <a:pt x="50" y="0"/>
                  </a:moveTo>
                  <a:lnTo>
                    <a:pt x="0" y="31"/>
                  </a:lnTo>
                  <a:lnTo>
                    <a:pt x="50" y="31"/>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5" name="Freeform 105"/>
            <p:cNvSpPr>
              <a:spLocks/>
            </p:cNvSpPr>
            <p:nvPr/>
          </p:nvSpPr>
          <p:spPr bwMode="auto">
            <a:xfrm>
              <a:off x="4670" y="1598"/>
              <a:ext cx="258" cy="344"/>
            </a:xfrm>
            <a:custGeom>
              <a:avLst/>
              <a:gdLst>
                <a:gd name="T0" fmla="*/ 258 w 258"/>
                <a:gd name="T1" fmla="*/ 0 h 344"/>
                <a:gd name="T2" fmla="*/ 192 w 258"/>
                <a:gd name="T3" fmla="*/ 0 h 344"/>
                <a:gd name="T4" fmla="*/ 0 w 258"/>
                <a:gd name="T5" fmla="*/ 116 h 344"/>
                <a:gd name="T6" fmla="*/ 0 w 258"/>
                <a:gd name="T7" fmla="*/ 344 h 344"/>
                <a:gd name="T8" fmla="*/ 258 w 258"/>
                <a:gd name="T9" fmla="*/ 344 h 344"/>
                <a:gd name="T10" fmla="*/ 258 w 258"/>
                <a:gd name="T11" fmla="*/ 0 h 344"/>
              </a:gdLst>
              <a:ahLst/>
              <a:cxnLst>
                <a:cxn ang="0">
                  <a:pos x="T0" y="T1"/>
                </a:cxn>
                <a:cxn ang="0">
                  <a:pos x="T2" y="T3"/>
                </a:cxn>
                <a:cxn ang="0">
                  <a:pos x="T4" y="T5"/>
                </a:cxn>
                <a:cxn ang="0">
                  <a:pos x="T6" y="T7"/>
                </a:cxn>
                <a:cxn ang="0">
                  <a:pos x="T8" y="T9"/>
                </a:cxn>
                <a:cxn ang="0">
                  <a:pos x="T10" y="T11"/>
                </a:cxn>
              </a:cxnLst>
              <a:rect l="0" t="0" r="r" b="b"/>
              <a:pathLst>
                <a:path w="258" h="344">
                  <a:moveTo>
                    <a:pt x="258" y="0"/>
                  </a:moveTo>
                  <a:lnTo>
                    <a:pt x="192" y="0"/>
                  </a:lnTo>
                  <a:lnTo>
                    <a:pt x="0" y="116"/>
                  </a:lnTo>
                  <a:lnTo>
                    <a:pt x="0" y="344"/>
                  </a:lnTo>
                  <a:lnTo>
                    <a:pt x="258" y="344"/>
                  </a:lnTo>
                  <a:lnTo>
                    <a:pt x="258"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6" name="Freeform 106"/>
            <p:cNvSpPr>
              <a:spLocks/>
            </p:cNvSpPr>
            <p:nvPr/>
          </p:nvSpPr>
          <p:spPr bwMode="auto">
            <a:xfrm>
              <a:off x="4670" y="1598"/>
              <a:ext cx="258" cy="344"/>
            </a:xfrm>
            <a:custGeom>
              <a:avLst/>
              <a:gdLst>
                <a:gd name="T0" fmla="*/ 258 w 258"/>
                <a:gd name="T1" fmla="*/ 0 h 344"/>
                <a:gd name="T2" fmla="*/ 192 w 258"/>
                <a:gd name="T3" fmla="*/ 0 h 344"/>
                <a:gd name="T4" fmla="*/ 0 w 258"/>
                <a:gd name="T5" fmla="*/ 116 h 344"/>
                <a:gd name="T6" fmla="*/ 0 w 258"/>
                <a:gd name="T7" fmla="*/ 344 h 344"/>
                <a:gd name="T8" fmla="*/ 258 w 258"/>
                <a:gd name="T9" fmla="*/ 344 h 344"/>
                <a:gd name="T10" fmla="*/ 258 w 258"/>
                <a:gd name="T11" fmla="*/ 0 h 344"/>
              </a:gdLst>
              <a:ahLst/>
              <a:cxnLst>
                <a:cxn ang="0">
                  <a:pos x="T0" y="T1"/>
                </a:cxn>
                <a:cxn ang="0">
                  <a:pos x="T2" y="T3"/>
                </a:cxn>
                <a:cxn ang="0">
                  <a:pos x="T4" y="T5"/>
                </a:cxn>
                <a:cxn ang="0">
                  <a:pos x="T6" y="T7"/>
                </a:cxn>
                <a:cxn ang="0">
                  <a:pos x="T8" y="T9"/>
                </a:cxn>
                <a:cxn ang="0">
                  <a:pos x="T10" y="T11"/>
                </a:cxn>
              </a:cxnLst>
              <a:rect l="0" t="0" r="r" b="b"/>
              <a:pathLst>
                <a:path w="258" h="344">
                  <a:moveTo>
                    <a:pt x="258" y="0"/>
                  </a:moveTo>
                  <a:lnTo>
                    <a:pt x="192" y="0"/>
                  </a:lnTo>
                  <a:lnTo>
                    <a:pt x="0" y="116"/>
                  </a:lnTo>
                  <a:lnTo>
                    <a:pt x="0" y="344"/>
                  </a:lnTo>
                  <a:lnTo>
                    <a:pt x="258" y="344"/>
                  </a:lnTo>
                  <a:lnTo>
                    <a:pt x="2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7" name="Freeform 107"/>
            <p:cNvSpPr>
              <a:spLocks/>
            </p:cNvSpPr>
            <p:nvPr/>
          </p:nvSpPr>
          <p:spPr bwMode="auto">
            <a:xfrm>
              <a:off x="3991" y="2048"/>
              <a:ext cx="123" cy="74"/>
            </a:xfrm>
            <a:custGeom>
              <a:avLst/>
              <a:gdLst>
                <a:gd name="T0" fmla="*/ 123 w 123"/>
                <a:gd name="T1" fmla="*/ 0 h 74"/>
                <a:gd name="T2" fmla="*/ 0 w 123"/>
                <a:gd name="T3" fmla="*/ 74 h 74"/>
                <a:gd name="T4" fmla="*/ 123 w 123"/>
                <a:gd name="T5" fmla="*/ 74 h 74"/>
                <a:gd name="T6" fmla="*/ 123 w 123"/>
                <a:gd name="T7" fmla="*/ 0 h 74"/>
              </a:gdLst>
              <a:ahLst/>
              <a:cxnLst>
                <a:cxn ang="0">
                  <a:pos x="T0" y="T1"/>
                </a:cxn>
                <a:cxn ang="0">
                  <a:pos x="T2" y="T3"/>
                </a:cxn>
                <a:cxn ang="0">
                  <a:pos x="T4" y="T5"/>
                </a:cxn>
                <a:cxn ang="0">
                  <a:pos x="T6" y="T7"/>
                </a:cxn>
              </a:cxnLst>
              <a:rect l="0" t="0" r="r" b="b"/>
              <a:pathLst>
                <a:path w="123" h="74">
                  <a:moveTo>
                    <a:pt x="123" y="0"/>
                  </a:moveTo>
                  <a:lnTo>
                    <a:pt x="0" y="74"/>
                  </a:lnTo>
                  <a:lnTo>
                    <a:pt x="123" y="74"/>
                  </a:lnTo>
                  <a:lnTo>
                    <a:pt x="12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8" name="Freeform 108"/>
            <p:cNvSpPr>
              <a:spLocks/>
            </p:cNvSpPr>
            <p:nvPr/>
          </p:nvSpPr>
          <p:spPr bwMode="auto">
            <a:xfrm>
              <a:off x="3991" y="2048"/>
              <a:ext cx="123" cy="74"/>
            </a:xfrm>
            <a:custGeom>
              <a:avLst/>
              <a:gdLst>
                <a:gd name="T0" fmla="*/ 123 w 123"/>
                <a:gd name="T1" fmla="*/ 0 h 74"/>
                <a:gd name="T2" fmla="*/ 0 w 123"/>
                <a:gd name="T3" fmla="*/ 74 h 74"/>
                <a:gd name="T4" fmla="*/ 123 w 123"/>
                <a:gd name="T5" fmla="*/ 74 h 74"/>
                <a:gd name="T6" fmla="*/ 123 w 123"/>
                <a:gd name="T7" fmla="*/ 0 h 74"/>
              </a:gdLst>
              <a:ahLst/>
              <a:cxnLst>
                <a:cxn ang="0">
                  <a:pos x="T0" y="T1"/>
                </a:cxn>
                <a:cxn ang="0">
                  <a:pos x="T2" y="T3"/>
                </a:cxn>
                <a:cxn ang="0">
                  <a:pos x="T4" y="T5"/>
                </a:cxn>
                <a:cxn ang="0">
                  <a:pos x="T6" y="T7"/>
                </a:cxn>
              </a:cxnLst>
              <a:rect l="0" t="0" r="r" b="b"/>
              <a:pathLst>
                <a:path w="123" h="74">
                  <a:moveTo>
                    <a:pt x="123" y="0"/>
                  </a:moveTo>
                  <a:lnTo>
                    <a:pt x="0" y="74"/>
                  </a:lnTo>
                  <a:lnTo>
                    <a:pt x="123" y="74"/>
                  </a:lnTo>
                  <a:lnTo>
                    <a:pt x="1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9" name="Rectangle 109"/>
            <p:cNvSpPr>
              <a:spLocks noChangeArrowheads="1"/>
            </p:cNvSpPr>
            <p:nvPr/>
          </p:nvSpPr>
          <p:spPr bwMode="auto">
            <a:xfrm>
              <a:off x="4670" y="1970"/>
              <a:ext cx="258" cy="152"/>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0" name="Rectangle 110"/>
            <p:cNvSpPr>
              <a:spLocks noChangeArrowheads="1"/>
            </p:cNvSpPr>
            <p:nvPr/>
          </p:nvSpPr>
          <p:spPr bwMode="auto">
            <a:xfrm>
              <a:off x="4670" y="1970"/>
              <a:ext cx="25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1" name="Freeform 111"/>
            <p:cNvSpPr>
              <a:spLocks/>
            </p:cNvSpPr>
            <p:nvPr/>
          </p:nvSpPr>
          <p:spPr bwMode="auto">
            <a:xfrm>
              <a:off x="4291" y="1830"/>
              <a:ext cx="187" cy="112"/>
            </a:xfrm>
            <a:custGeom>
              <a:avLst/>
              <a:gdLst>
                <a:gd name="T0" fmla="*/ 187 w 187"/>
                <a:gd name="T1" fmla="*/ 0 h 112"/>
                <a:gd name="T2" fmla="*/ 0 w 187"/>
                <a:gd name="T3" fmla="*/ 112 h 112"/>
                <a:gd name="T4" fmla="*/ 187 w 187"/>
                <a:gd name="T5" fmla="*/ 112 h 112"/>
                <a:gd name="T6" fmla="*/ 187 w 187"/>
                <a:gd name="T7" fmla="*/ 0 h 112"/>
              </a:gdLst>
              <a:ahLst/>
              <a:cxnLst>
                <a:cxn ang="0">
                  <a:pos x="T0" y="T1"/>
                </a:cxn>
                <a:cxn ang="0">
                  <a:pos x="T2" y="T3"/>
                </a:cxn>
                <a:cxn ang="0">
                  <a:pos x="T4" y="T5"/>
                </a:cxn>
                <a:cxn ang="0">
                  <a:pos x="T6" y="T7"/>
                </a:cxn>
              </a:cxnLst>
              <a:rect l="0" t="0" r="r" b="b"/>
              <a:pathLst>
                <a:path w="187" h="112">
                  <a:moveTo>
                    <a:pt x="187" y="0"/>
                  </a:moveTo>
                  <a:lnTo>
                    <a:pt x="0" y="112"/>
                  </a:lnTo>
                  <a:lnTo>
                    <a:pt x="187" y="112"/>
                  </a:lnTo>
                  <a:lnTo>
                    <a:pt x="187"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2" name="Freeform 112"/>
            <p:cNvSpPr>
              <a:spLocks/>
            </p:cNvSpPr>
            <p:nvPr/>
          </p:nvSpPr>
          <p:spPr bwMode="auto">
            <a:xfrm>
              <a:off x="4291" y="1830"/>
              <a:ext cx="187" cy="112"/>
            </a:xfrm>
            <a:custGeom>
              <a:avLst/>
              <a:gdLst>
                <a:gd name="T0" fmla="*/ 187 w 187"/>
                <a:gd name="T1" fmla="*/ 0 h 112"/>
                <a:gd name="T2" fmla="*/ 0 w 187"/>
                <a:gd name="T3" fmla="*/ 112 h 112"/>
                <a:gd name="T4" fmla="*/ 187 w 187"/>
                <a:gd name="T5" fmla="*/ 112 h 112"/>
                <a:gd name="T6" fmla="*/ 187 w 187"/>
                <a:gd name="T7" fmla="*/ 0 h 112"/>
              </a:gdLst>
              <a:ahLst/>
              <a:cxnLst>
                <a:cxn ang="0">
                  <a:pos x="T0" y="T1"/>
                </a:cxn>
                <a:cxn ang="0">
                  <a:pos x="T2" y="T3"/>
                </a:cxn>
                <a:cxn ang="0">
                  <a:pos x="T4" y="T5"/>
                </a:cxn>
                <a:cxn ang="0">
                  <a:pos x="T6" y="T7"/>
                </a:cxn>
              </a:cxnLst>
              <a:rect l="0" t="0" r="r" b="b"/>
              <a:pathLst>
                <a:path w="187" h="112">
                  <a:moveTo>
                    <a:pt x="187" y="0"/>
                  </a:moveTo>
                  <a:lnTo>
                    <a:pt x="0" y="112"/>
                  </a:lnTo>
                  <a:lnTo>
                    <a:pt x="187" y="112"/>
                  </a:lnTo>
                  <a:lnTo>
                    <a:pt x="1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3" name="Freeform 113"/>
            <p:cNvSpPr>
              <a:spLocks/>
            </p:cNvSpPr>
            <p:nvPr/>
          </p:nvSpPr>
          <p:spPr bwMode="auto">
            <a:xfrm>
              <a:off x="4145" y="1970"/>
              <a:ext cx="333" cy="152"/>
            </a:xfrm>
            <a:custGeom>
              <a:avLst/>
              <a:gdLst>
                <a:gd name="T0" fmla="*/ 333 w 333"/>
                <a:gd name="T1" fmla="*/ 0 h 152"/>
                <a:gd name="T2" fmla="*/ 99 w 333"/>
                <a:gd name="T3" fmla="*/ 0 h 152"/>
                <a:gd name="T4" fmla="*/ 0 w 333"/>
                <a:gd name="T5" fmla="*/ 59 h 152"/>
                <a:gd name="T6" fmla="*/ 0 w 333"/>
                <a:gd name="T7" fmla="*/ 152 h 152"/>
                <a:gd name="T8" fmla="*/ 333 w 333"/>
                <a:gd name="T9" fmla="*/ 152 h 152"/>
                <a:gd name="T10" fmla="*/ 333 w 333"/>
                <a:gd name="T11" fmla="*/ 0 h 152"/>
              </a:gdLst>
              <a:ahLst/>
              <a:cxnLst>
                <a:cxn ang="0">
                  <a:pos x="T0" y="T1"/>
                </a:cxn>
                <a:cxn ang="0">
                  <a:pos x="T2" y="T3"/>
                </a:cxn>
                <a:cxn ang="0">
                  <a:pos x="T4" y="T5"/>
                </a:cxn>
                <a:cxn ang="0">
                  <a:pos x="T6" y="T7"/>
                </a:cxn>
                <a:cxn ang="0">
                  <a:pos x="T8" y="T9"/>
                </a:cxn>
                <a:cxn ang="0">
                  <a:pos x="T10" y="T11"/>
                </a:cxn>
              </a:cxnLst>
              <a:rect l="0" t="0" r="r" b="b"/>
              <a:pathLst>
                <a:path w="333" h="152">
                  <a:moveTo>
                    <a:pt x="333" y="0"/>
                  </a:moveTo>
                  <a:lnTo>
                    <a:pt x="99" y="0"/>
                  </a:lnTo>
                  <a:lnTo>
                    <a:pt x="0" y="59"/>
                  </a:lnTo>
                  <a:lnTo>
                    <a:pt x="0" y="152"/>
                  </a:lnTo>
                  <a:lnTo>
                    <a:pt x="333" y="152"/>
                  </a:lnTo>
                  <a:lnTo>
                    <a:pt x="33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4" name="Freeform 114"/>
            <p:cNvSpPr>
              <a:spLocks/>
            </p:cNvSpPr>
            <p:nvPr/>
          </p:nvSpPr>
          <p:spPr bwMode="auto">
            <a:xfrm>
              <a:off x="4145" y="1970"/>
              <a:ext cx="333" cy="152"/>
            </a:xfrm>
            <a:custGeom>
              <a:avLst/>
              <a:gdLst>
                <a:gd name="T0" fmla="*/ 333 w 333"/>
                <a:gd name="T1" fmla="*/ 0 h 152"/>
                <a:gd name="T2" fmla="*/ 99 w 333"/>
                <a:gd name="T3" fmla="*/ 0 h 152"/>
                <a:gd name="T4" fmla="*/ 0 w 333"/>
                <a:gd name="T5" fmla="*/ 59 h 152"/>
                <a:gd name="T6" fmla="*/ 0 w 333"/>
                <a:gd name="T7" fmla="*/ 152 h 152"/>
                <a:gd name="T8" fmla="*/ 333 w 333"/>
                <a:gd name="T9" fmla="*/ 152 h 152"/>
                <a:gd name="T10" fmla="*/ 333 w 333"/>
                <a:gd name="T11" fmla="*/ 0 h 152"/>
              </a:gdLst>
              <a:ahLst/>
              <a:cxnLst>
                <a:cxn ang="0">
                  <a:pos x="T0" y="T1"/>
                </a:cxn>
                <a:cxn ang="0">
                  <a:pos x="T2" y="T3"/>
                </a:cxn>
                <a:cxn ang="0">
                  <a:pos x="T4" y="T5"/>
                </a:cxn>
                <a:cxn ang="0">
                  <a:pos x="T6" y="T7"/>
                </a:cxn>
                <a:cxn ang="0">
                  <a:pos x="T8" y="T9"/>
                </a:cxn>
                <a:cxn ang="0">
                  <a:pos x="T10" y="T11"/>
                </a:cxn>
              </a:cxnLst>
              <a:rect l="0" t="0" r="r" b="b"/>
              <a:pathLst>
                <a:path w="333" h="152">
                  <a:moveTo>
                    <a:pt x="333" y="0"/>
                  </a:moveTo>
                  <a:lnTo>
                    <a:pt x="99" y="0"/>
                  </a:lnTo>
                  <a:lnTo>
                    <a:pt x="0" y="59"/>
                  </a:lnTo>
                  <a:lnTo>
                    <a:pt x="0" y="152"/>
                  </a:lnTo>
                  <a:lnTo>
                    <a:pt x="333" y="152"/>
                  </a:lnTo>
                  <a:lnTo>
                    <a:pt x="3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5" name="Freeform 115"/>
            <p:cNvSpPr>
              <a:spLocks/>
            </p:cNvSpPr>
            <p:nvPr/>
          </p:nvSpPr>
          <p:spPr bwMode="auto">
            <a:xfrm>
              <a:off x="4507" y="1790"/>
              <a:ext cx="137" cy="152"/>
            </a:xfrm>
            <a:custGeom>
              <a:avLst/>
              <a:gdLst>
                <a:gd name="T0" fmla="*/ 137 w 137"/>
                <a:gd name="T1" fmla="*/ 0 h 152"/>
                <a:gd name="T2" fmla="*/ 38 w 137"/>
                <a:gd name="T3" fmla="*/ 0 h 152"/>
                <a:gd name="T4" fmla="*/ 0 w 137"/>
                <a:gd name="T5" fmla="*/ 21 h 152"/>
                <a:gd name="T6" fmla="*/ 0 w 137"/>
                <a:gd name="T7" fmla="*/ 152 h 152"/>
                <a:gd name="T8" fmla="*/ 137 w 137"/>
                <a:gd name="T9" fmla="*/ 152 h 152"/>
                <a:gd name="T10" fmla="*/ 137 w 137"/>
                <a:gd name="T11" fmla="*/ 0 h 152"/>
              </a:gdLst>
              <a:ahLst/>
              <a:cxnLst>
                <a:cxn ang="0">
                  <a:pos x="T0" y="T1"/>
                </a:cxn>
                <a:cxn ang="0">
                  <a:pos x="T2" y="T3"/>
                </a:cxn>
                <a:cxn ang="0">
                  <a:pos x="T4" y="T5"/>
                </a:cxn>
                <a:cxn ang="0">
                  <a:pos x="T6" y="T7"/>
                </a:cxn>
                <a:cxn ang="0">
                  <a:pos x="T8" y="T9"/>
                </a:cxn>
                <a:cxn ang="0">
                  <a:pos x="T10" y="T11"/>
                </a:cxn>
              </a:cxnLst>
              <a:rect l="0" t="0" r="r" b="b"/>
              <a:pathLst>
                <a:path w="137" h="152">
                  <a:moveTo>
                    <a:pt x="137" y="0"/>
                  </a:moveTo>
                  <a:lnTo>
                    <a:pt x="38" y="0"/>
                  </a:lnTo>
                  <a:lnTo>
                    <a:pt x="0" y="21"/>
                  </a:lnTo>
                  <a:lnTo>
                    <a:pt x="0" y="152"/>
                  </a:lnTo>
                  <a:lnTo>
                    <a:pt x="137" y="152"/>
                  </a:lnTo>
                  <a:lnTo>
                    <a:pt x="137"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6" name="Freeform 116"/>
            <p:cNvSpPr>
              <a:spLocks/>
            </p:cNvSpPr>
            <p:nvPr/>
          </p:nvSpPr>
          <p:spPr bwMode="auto">
            <a:xfrm>
              <a:off x="4507" y="1790"/>
              <a:ext cx="137" cy="152"/>
            </a:xfrm>
            <a:custGeom>
              <a:avLst/>
              <a:gdLst>
                <a:gd name="T0" fmla="*/ 137 w 137"/>
                <a:gd name="T1" fmla="*/ 0 h 152"/>
                <a:gd name="T2" fmla="*/ 38 w 137"/>
                <a:gd name="T3" fmla="*/ 0 h 152"/>
                <a:gd name="T4" fmla="*/ 0 w 137"/>
                <a:gd name="T5" fmla="*/ 21 h 152"/>
                <a:gd name="T6" fmla="*/ 0 w 137"/>
                <a:gd name="T7" fmla="*/ 152 h 152"/>
                <a:gd name="T8" fmla="*/ 137 w 137"/>
                <a:gd name="T9" fmla="*/ 152 h 152"/>
                <a:gd name="T10" fmla="*/ 137 w 137"/>
                <a:gd name="T11" fmla="*/ 0 h 152"/>
              </a:gdLst>
              <a:ahLst/>
              <a:cxnLst>
                <a:cxn ang="0">
                  <a:pos x="T0" y="T1"/>
                </a:cxn>
                <a:cxn ang="0">
                  <a:pos x="T2" y="T3"/>
                </a:cxn>
                <a:cxn ang="0">
                  <a:pos x="T4" y="T5"/>
                </a:cxn>
                <a:cxn ang="0">
                  <a:pos x="T6" y="T7"/>
                </a:cxn>
                <a:cxn ang="0">
                  <a:pos x="T8" y="T9"/>
                </a:cxn>
                <a:cxn ang="0">
                  <a:pos x="T10" y="T11"/>
                </a:cxn>
              </a:cxnLst>
              <a:rect l="0" t="0" r="r" b="b"/>
              <a:pathLst>
                <a:path w="137" h="152">
                  <a:moveTo>
                    <a:pt x="137" y="0"/>
                  </a:moveTo>
                  <a:lnTo>
                    <a:pt x="38" y="0"/>
                  </a:lnTo>
                  <a:lnTo>
                    <a:pt x="0" y="21"/>
                  </a:lnTo>
                  <a:lnTo>
                    <a:pt x="0" y="152"/>
                  </a:lnTo>
                  <a:lnTo>
                    <a:pt x="137" y="152"/>
                  </a:lnTo>
                  <a:lnTo>
                    <a:pt x="1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7" name="Rectangle 117"/>
            <p:cNvSpPr>
              <a:spLocks noChangeArrowheads="1"/>
            </p:cNvSpPr>
            <p:nvPr/>
          </p:nvSpPr>
          <p:spPr bwMode="auto">
            <a:xfrm>
              <a:off x="4507" y="1970"/>
              <a:ext cx="137" cy="152"/>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8" name="Rectangle 118"/>
            <p:cNvSpPr>
              <a:spLocks noChangeArrowheads="1"/>
            </p:cNvSpPr>
            <p:nvPr/>
          </p:nvSpPr>
          <p:spPr bwMode="auto">
            <a:xfrm>
              <a:off x="4507" y="197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9" name="Rectangle 119"/>
            <p:cNvSpPr>
              <a:spLocks noChangeArrowheads="1"/>
            </p:cNvSpPr>
            <p:nvPr/>
          </p:nvSpPr>
          <p:spPr bwMode="auto">
            <a:xfrm>
              <a:off x="7013" y="1885"/>
              <a:ext cx="160" cy="163"/>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0" name="Rectangle 120"/>
            <p:cNvSpPr>
              <a:spLocks noChangeArrowheads="1"/>
            </p:cNvSpPr>
            <p:nvPr/>
          </p:nvSpPr>
          <p:spPr bwMode="auto">
            <a:xfrm>
              <a:off x="7013" y="1885"/>
              <a:ext cx="160"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1" name="Rectangle 121"/>
            <p:cNvSpPr>
              <a:spLocks noChangeArrowheads="1"/>
            </p:cNvSpPr>
            <p:nvPr/>
          </p:nvSpPr>
          <p:spPr bwMode="auto">
            <a:xfrm>
              <a:off x="6828" y="1885"/>
              <a:ext cx="163" cy="163"/>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2" name="Rectangle 122"/>
            <p:cNvSpPr>
              <a:spLocks noChangeArrowheads="1"/>
            </p:cNvSpPr>
            <p:nvPr/>
          </p:nvSpPr>
          <p:spPr bwMode="auto">
            <a:xfrm>
              <a:off x="6828" y="1885"/>
              <a:ext cx="163"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3" name="Rectangle 123"/>
            <p:cNvSpPr>
              <a:spLocks noChangeArrowheads="1"/>
            </p:cNvSpPr>
            <p:nvPr/>
          </p:nvSpPr>
          <p:spPr bwMode="auto">
            <a:xfrm>
              <a:off x="7013" y="1702"/>
              <a:ext cx="160" cy="157"/>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4" name="Rectangle 124"/>
            <p:cNvSpPr>
              <a:spLocks noChangeArrowheads="1"/>
            </p:cNvSpPr>
            <p:nvPr/>
          </p:nvSpPr>
          <p:spPr bwMode="auto">
            <a:xfrm>
              <a:off x="7013" y="1702"/>
              <a:ext cx="16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5" name="Rectangle 125"/>
            <p:cNvSpPr>
              <a:spLocks noChangeArrowheads="1"/>
            </p:cNvSpPr>
            <p:nvPr/>
          </p:nvSpPr>
          <p:spPr bwMode="auto">
            <a:xfrm>
              <a:off x="6828" y="1702"/>
              <a:ext cx="163" cy="157"/>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6" name="Rectangle 126"/>
            <p:cNvSpPr>
              <a:spLocks noChangeArrowheads="1"/>
            </p:cNvSpPr>
            <p:nvPr/>
          </p:nvSpPr>
          <p:spPr bwMode="auto">
            <a:xfrm>
              <a:off x="6828" y="1702"/>
              <a:ext cx="163"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7" name="Rectangle 127"/>
            <p:cNvSpPr>
              <a:spLocks noChangeArrowheads="1"/>
            </p:cNvSpPr>
            <p:nvPr/>
          </p:nvSpPr>
          <p:spPr bwMode="auto">
            <a:xfrm>
              <a:off x="6828" y="1487"/>
              <a:ext cx="345" cy="194"/>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8" name="Freeform 128"/>
            <p:cNvSpPr>
              <a:spLocks/>
            </p:cNvSpPr>
            <p:nvPr/>
          </p:nvSpPr>
          <p:spPr bwMode="auto">
            <a:xfrm>
              <a:off x="7013" y="2067"/>
              <a:ext cx="160" cy="107"/>
            </a:xfrm>
            <a:custGeom>
              <a:avLst/>
              <a:gdLst>
                <a:gd name="T0" fmla="*/ 61 w 160"/>
                <a:gd name="T1" fmla="*/ 0 h 107"/>
                <a:gd name="T2" fmla="*/ 0 w 160"/>
                <a:gd name="T3" fmla="*/ 0 h 107"/>
                <a:gd name="T4" fmla="*/ 0 w 160"/>
                <a:gd name="T5" fmla="*/ 107 h 107"/>
                <a:gd name="T6" fmla="*/ 160 w 160"/>
                <a:gd name="T7" fmla="*/ 107 h 107"/>
                <a:gd name="T8" fmla="*/ 160 w 160"/>
                <a:gd name="T9" fmla="*/ 0 h 107"/>
                <a:gd name="T10" fmla="*/ 71 w 160"/>
                <a:gd name="T11" fmla="*/ 0 h 107"/>
                <a:gd name="T12" fmla="*/ 61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61" y="0"/>
                  </a:moveTo>
                  <a:lnTo>
                    <a:pt x="0" y="0"/>
                  </a:lnTo>
                  <a:lnTo>
                    <a:pt x="0" y="107"/>
                  </a:lnTo>
                  <a:lnTo>
                    <a:pt x="160" y="107"/>
                  </a:lnTo>
                  <a:lnTo>
                    <a:pt x="160" y="0"/>
                  </a:lnTo>
                  <a:lnTo>
                    <a:pt x="71" y="0"/>
                  </a:lnTo>
                  <a:lnTo>
                    <a:pt x="61"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9" name="Freeform 129"/>
            <p:cNvSpPr>
              <a:spLocks/>
            </p:cNvSpPr>
            <p:nvPr/>
          </p:nvSpPr>
          <p:spPr bwMode="auto">
            <a:xfrm>
              <a:off x="7013" y="2067"/>
              <a:ext cx="160" cy="107"/>
            </a:xfrm>
            <a:custGeom>
              <a:avLst/>
              <a:gdLst>
                <a:gd name="T0" fmla="*/ 61 w 160"/>
                <a:gd name="T1" fmla="*/ 0 h 107"/>
                <a:gd name="T2" fmla="*/ 0 w 160"/>
                <a:gd name="T3" fmla="*/ 0 h 107"/>
                <a:gd name="T4" fmla="*/ 0 w 160"/>
                <a:gd name="T5" fmla="*/ 107 h 107"/>
                <a:gd name="T6" fmla="*/ 160 w 160"/>
                <a:gd name="T7" fmla="*/ 107 h 107"/>
                <a:gd name="T8" fmla="*/ 160 w 160"/>
                <a:gd name="T9" fmla="*/ 0 h 107"/>
                <a:gd name="T10" fmla="*/ 71 w 160"/>
                <a:gd name="T11" fmla="*/ 0 h 107"/>
                <a:gd name="T12" fmla="*/ 61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61" y="0"/>
                  </a:moveTo>
                  <a:lnTo>
                    <a:pt x="0" y="0"/>
                  </a:lnTo>
                  <a:lnTo>
                    <a:pt x="0" y="107"/>
                  </a:lnTo>
                  <a:lnTo>
                    <a:pt x="160" y="107"/>
                  </a:lnTo>
                  <a:lnTo>
                    <a:pt x="160" y="0"/>
                  </a:lnTo>
                  <a:lnTo>
                    <a:pt x="71" y="0"/>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0" name="Freeform 130"/>
            <p:cNvSpPr>
              <a:spLocks/>
            </p:cNvSpPr>
            <p:nvPr/>
          </p:nvSpPr>
          <p:spPr bwMode="auto">
            <a:xfrm>
              <a:off x="6828" y="2067"/>
              <a:ext cx="163" cy="107"/>
            </a:xfrm>
            <a:custGeom>
              <a:avLst/>
              <a:gdLst>
                <a:gd name="T0" fmla="*/ 0 w 163"/>
                <a:gd name="T1" fmla="*/ 0 h 107"/>
                <a:gd name="T2" fmla="*/ 0 w 163"/>
                <a:gd name="T3" fmla="*/ 107 h 107"/>
                <a:gd name="T4" fmla="*/ 163 w 163"/>
                <a:gd name="T5" fmla="*/ 107 h 107"/>
                <a:gd name="T6" fmla="*/ 163 w 163"/>
                <a:gd name="T7" fmla="*/ 0 h 107"/>
                <a:gd name="T8" fmla="*/ 78 w 163"/>
                <a:gd name="T9" fmla="*/ 0 h 107"/>
                <a:gd name="T10" fmla="*/ 0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0" y="0"/>
                  </a:moveTo>
                  <a:lnTo>
                    <a:pt x="0" y="107"/>
                  </a:lnTo>
                  <a:lnTo>
                    <a:pt x="163" y="107"/>
                  </a:lnTo>
                  <a:lnTo>
                    <a:pt x="163" y="0"/>
                  </a:lnTo>
                  <a:lnTo>
                    <a:pt x="78" y="0"/>
                  </a:lnTo>
                  <a:lnTo>
                    <a:pt x="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1" name="Freeform 131"/>
            <p:cNvSpPr>
              <a:spLocks/>
            </p:cNvSpPr>
            <p:nvPr/>
          </p:nvSpPr>
          <p:spPr bwMode="auto">
            <a:xfrm>
              <a:off x="6828" y="2067"/>
              <a:ext cx="163" cy="107"/>
            </a:xfrm>
            <a:custGeom>
              <a:avLst/>
              <a:gdLst>
                <a:gd name="T0" fmla="*/ 0 w 163"/>
                <a:gd name="T1" fmla="*/ 0 h 107"/>
                <a:gd name="T2" fmla="*/ 0 w 163"/>
                <a:gd name="T3" fmla="*/ 107 h 107"/>
                <a:gd name="T4" fmla="*/ 163 w 163"/>
                <a:gd name="T5" fmla="*/ 107 h 107"/>
                <a:gd name="T6" fmla="*/ 163 w 163"/>
                <a:gd name="T7" fmla="*/ 0 h 107"/>
                <a:gd name="T8" fmla="*/ 78 w 163"/>
                <a:gd name="T9" fmla="*/ 0 h 107"/>
                <a:gd name="T10" fmla="*/ 0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0" y="0"/>
                  </a:moveTo>
                  <a:lnTo>
                    <a:pt x="0" y="107"/>
                  </a:lnTo>
                  <a:lnTo>
                    <a:pt x="163" y="107"/>
                  </a:lnTo>
                  <a:lnTo>
                    <a:pt x="163" y="0"/>
                  </a:lnTo>
                  <a:lnTo>
                    <a:pt x="7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2" name="Freeform 132"/>
            <p:cNvSpPr>
              <a:spLocks/>
            </p:cNvSpPr>
            <p:nvPr/>
          </p:nvSpPr>
          <p:spPr bwMode="auto">
            <a:xfrm>
              <a:off x="6710" y="1660"/>
              <a:ext cx="582" cy="772"/>
            </a:xfrm>
            <a:custGeom>
              <a:avLst/>
              <a:gdLst>
                <a:gd name="T0" fmla="*/ 0 w 246"/>
                <a:gd name="T1" fmla="*/ 0 h 326"/>
                <a:gd name="T2" fmla="*/ 0 w 246"/>
                <a:gd name="T3" fmla="*/ 298 h 326"/>
                <a:gd name="T4" fmla="*/ 28 w 246"/>
                <a:gd name="T5" fmla="*/ 326 h 326"/>
                <a:gd name="T6" fmla="*/ 218 w 246"/>
                <a:gd name="T7" fmla="*/ 326 h 326"/>
                <a:gd name="T8" fmla="*/ 246 w 246"/>
                <a:gd name="T9" fmla="*/ 298 h 326"/>
                <a:gd name="T10" fmla="*/ 246 w 246"/>
                <a:gd name="T11" fmla="*/ 148 h 326"/>
                <a:gd name="T12" fmla="*/ 218 w 246"/>
                <a:gd name="T13" fmla="*/ 131 h 326"/>
                <a:gd name="T14" fmla="*/ 218 w 246"/>
                <a:gd name="T15" fmla="*/ 242 h 326"/>
                <a:gd name="T16" fmla="*/ 28 w 246"/>
                <a:gd name="T17" fmla="*/ 242 h 326"/>
                <a:gd name="T18" fmla="*/ 28 w 246"/>
                <a:gd name="T19" fmla="*/ 17 h 326"/>
                <a:gd name="T20" fmla="*/ 0 w 246"/>
                <a:gd name="T2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326">
                  <a:moveTo>
                    <a:pt x="0" y="0"/>
                  </a:moveTo>
                  <a:cubicBezTo>
                    <a:pt x="0" y="298"/>
                    <a:pt x="0" y="298"/>
                    <a:pt x="0" y="298"/>
                  </a:cubicBezTo>
                  <a:cubicBezTo>
                    <a:pt x="0" y="298"/>
                    <a:pt x="0" y="326"/>
                    <a:pt x="28" y="326"/>
                  </a:cubicBezTo>
                  <a:cubicBezTo>
                    <a:pt x="218" y="326"/>
                    <a:pt x="218" y="326"/>
                    <a:pt x="218" y="326"/>
                  </a:cubicBezTo>
                  <a:cubicBezTo>
                    <a:pt x="218" y="326"/>
                    <a:pt x="246" y="326"/>
                    <a:pt x="246" y="298"/>
                  </a:cubicBezTo>
                  <a:cubicBezTo>
                    <a:pt x="246" y="148"/>
                    <a:pt x="246" y="148"/>
                    <a:pt x="246" y="148"/>
                  </a:cubicBezTo>
                  <a:cubicBezTo>
                    <a:pt x="218" y="131"/>
                    <a:pt x="218" y="131"/>
                    <a:pt x="218" y="131"/>
                  </a:cubicBezTo>
                  <a:cubicBezTo>
                    <a:pt x="218" y="242"/>
                    <a:pt x="218" y="242"/>
                    <a:pt x="218" y="242"/>
                  </a:cubicBezTo>
                  <a:cubicBezTo>
                    <a:pt x="28" y="242"/>
                    <a:pt x="28" y="242"/>
                    <a:pt x="28" y="242"/>
                  </a:cubicBezTo>
                  <a:cubicBezTo>
                    <a:pt x="28" y="17"/>
                    <a:pt x="28" y="17"/>
                    <a:pt x="28" y="17"/>
                  </a:cubicBezTo>
                  <a:cubicBezTo>
                    <a:pt x="0" y="0"/>
                    <a:pt x="0" y="0"/>
                    <a:pt x="0"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3" name="Freeform 133"/>
            <p:cNvSpPr>
              <a:spLocks noEditPoints="1"/>
            </p:cNvSpPr>
            <p:nvPr/>
          </p:nvSpPr>
          <p:spPr bwMode="auto">
            <a:xfrm>
              <a:off x="6776" y="1700"/>
              <a:ext cx="450" cy="533"/>
            </a:xfrm>
            <a:custGeom>
              <a:avLst/>
              <a:gdLst>
                <a:gd name="T0" fmla="*/ 52 w 450"/>
                <a:gd name="T1" fmla="*/ 474 h 533"/>
                <a:gd name="T2" fmla="*/ 52 w 450"/>
                <a:gd name="T3" fmla="*/ 367 h 533"/>
                <a:gd name="T4" fmla="*/ 130 w 450"/>
                <a:gd name="T5" fmla="*/ 367 h 533"/>
                <a:gd name="T6" fmla="*/ 215 w 450"/>
                <a:gd name="T7" fmla="*/ 367 h 533"/>
                <a:gd name="T8" fmla="*/ 215 w 450"/>
                <a:gd name="T9" fmla="*/ 474 h 533"/>
                <a:gd name="T10" fmla="*/ 52 w 450"/>
                <a:gd name="T11" fmla="*/ 474 h 533"/>
                <a:gd name="T12" fmla="*/ 237 w 450"/>
                <a:gd name="T13" fmla="*/ 474 h 533"/>
                <a:gd name="T14" fmla="*/ 237 w 450"/>
                <a:gd name="T15" fmla="*/ 367 h 533"/>
                <a:gd name="T16" fmla="*/ 298 w 450"/>
                <a:gd name="T17" fmla="*/ 367 h 533"/>
                <a:gd name="T18" fmla="*/ 308 w 450"/>
                <a:gd name="T19" fmla="*/ 367 h 533"/>
                <a:gd name="T20" fmla="*/ 397 w 450"/>
                <a:gd name="T21" fmla="*/ 367 h 533"/>
                <a:gd name="T22" fmla="*/ 397 w 450"/>
                <a:gd name="T23" fmla="*/ 474 h 533"/>
                <a:gd name="T24" fmla="*/ 237 w 450"/>
                <a:gd name="T25" fmla="*/ 474 h 533"/>
                <a:gd name="T26" fmla="*/ 52 w 450"/>
                <a:gd name="T27" fmla="*/ 348 h 533"/>
                <a:gd name="T28" fmla="*/ 52 w 450"/>
                <a:gd name="T29" fmla="*/ 185 h 533"/>
                <a:gd name="T30" fmla="*/ 215 w 450"/>
                <a:gd name="T31" fmla="*/ 185 h 533"/>
                <a:gd name="T32" fmla="*/ 215 w 450"/>
                <a:gd name="T33" fmla="*/ 348 h 533"/>
                <a:gd name="T34" fmla="*/ 52 w 450"/>
                <a:gd name="T35" fmla="*/ 348 h 533"/>
                <a:gd name="T36" fmla="*/ 0 w 450"/>
                <a:gd name="T37" fmla="*/ 0 h 533"/>
                <a:gd name="T38" fmla="*/ 0 w 450"/>
                <a:gd name="T39" fmla="*/ 533 h 533"/>
                <a:gd name="T40" fmla="*/ 450 w 450"/>
                <a:gd name="T41" fmla="*/ 533 h 533"/>
                <a:gd name="T42" fmla="*/ 450 w 450"/>
                <a:gd name="T43" fmla="*/ 270 h 533"/>
                <a:gd name="T44" fmla="*/ 397 w 450"/>
                <a:gd name="T45" fmla="*/ 239 h 533"/>
                <a:gd name="T46" fmla="*/ 397 w 450"/>
                <a:gd name="T47" fmla="*/ 348 h 533"/>
                <a:gd name="T48" fmla="*/ 237 w 450"/>
                <a:gd name="T49" fmla="*/ 348 h 533"/>
                <a:gd name="T50" fmla="*/ 237 w 450"/>
                <a:gd name="T51" fmla="*/ 185 h 533"/>
                <a:gd name="T52" fmla="*/ 310 w 450"/>
                <a:gd name="T53" fmla="*/ 185 h 533"/>
                <a:gd name="T54" fmla="*/ 267 w 450"/>
                <a:gd name="T55" fmla="*/ 159 h 533"/>
                <a:gd name="T56" fmla="*/ 237 w 450"/>
                <a:gd name="T57" fmla="*/ 159 h 533"/>
                <a:gd name="T58" fmla="*/ 237 w 450"/>
                <a:gd name="T59" fmla="*/ 142 h 533"/>
                <a:gd name="T60" fmla="*/ 215 w 450"/>
                <a:gd name="T61" fmla="*/ 128 h 533"/>
                <a:gd name="T62" fmla="*/ 215 w 450"/>
                <a:gd name="T63" fmla="*/ 159 h 533"/>
                <a:gd name="T64" fmla="*/ 52 w 450"/>
                <a:gd name="T65" fmla="*/ 159 h 533"/>
                <a:gd name="T66" fmla="*/ 52 w 450"/>
                <a:gd name="T67" fmla="*/ 31 h 533"/>
                <a:gd name="T68" fmla="*/ 0 w 450"/>
                <a:gd name="T69"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0" h="533">
                  <a:moveTo>
                    <a:pt x="52" y="474"/>
                  </a:moveTo>
                  <a:lnTo>
                    <a:pt x="52" y="367"/>
                  </a:lnTo>
                  <a:lnTo>
                    <a:pt x="130" y="367"/>
                  </a:lnTo>
                  <a:lnTo>
                    <a:pt x="215" y="367"/>
                  </a:lnTo>
                  <a:lnTo>
                    <a:pt x="215" y="474"/>
                  </a:lnTo>
                  <a:lnTo>
                    <a:pt x="52" y="474"/>
                  </a:lnTo>
                  <a:close/>
                  <a:moveTo>
                    <a:pt x="237" y="474"/>
                  </a:moveTo>
                  <a:lnTo>
                    <a:pt x="237" y="367"/>
                  </a:lnTo>
                  <a:lnTo>
                    <a:pt x="298" y="367"/>
                  </a:lnTo>
                  <a:lnTo>
                    <a:pt x="308" y="367"/>
                  </a:lnTo>
                  <a:lnTo>
                    <a:pt x="397" y="367"/>
                  </a:lnTo>
                  <a:lnTo>
                    <a:pt x="397" y="474"/>
                  </a:lnTo>
                  <a:lnTo>
                    <a:pt x="237" y="474"/>
                  </a:lnTo>
                  <a:close/>
                  <a:moveTo>
                    <a:pt x="52" y="348"/>
                  </a:moveTo>
                  <a:lnTo>
                    <a:pt x="52" y="185"/>
                  </a:lnTo>
                  <a:lnTo>
                    <a:pt x="215" y="185"/>
                  </a:lnTo>
                  <a:lnTo>
                    <a:pt x="215" y="348"/>
                  </a:lnTo>
                  <a:lnTo>
                    <a:pt x="52" y="348"/>
                  </a:lnTo>
                  <a:close/>
                  <a:moveTo>
                    <a:pt x="0" y="0"/>
                  </a:moveTo>
                  <a:lnTo>
                    <a:pt x="0" y="533"/>
                  </a:lnTo>
                  <a:lnTo>
                    <a:pt x="450" y="533"/>
                  </a:lnTo>
                  <a:lnTo>
                    <a:pt x="450" y="270"/>
                  </a:lnTo>
                  <a:lnTo>
                    <a:pt x="397" y="239"/>
                  </a:lnTo>
                  <a:lnTo>
                    <a:pt x="397" y="348"/>
                  </a:lnTo>
                  <a:lnTo>
                    <a:pt x="237" y="348"/>
                  </a:lnTo>
                  <a:lnTo>
                    <a:pt x="237" y="185"/>
                  </a:lnTo>
                  <a:lnTo>
                    <a:pt x="310" y="185"/>
                  </a:lnTo>
                  <a:lnTo>
                    <a:pt x="267" y="159"/>
                  </a:lnTo>
                  <a:lnTo>
                    <a:pt x="237" y="159"/>
                  </a:lnTo>
                  <a:lnTo>
                    <a:pt x="237" y="142"/>
                  </a:lnTo>
                  <a:lnTo>
                    <a:pt x="215" y="128"/>
                  </a:lnTo>
                  <a:lnTo>
                    <a:pt x="215" y="159"/>
                  </a:lnTo>
                  <a:lnTo>
                    <a:pt x="52" y="159"/>
                  </a:lnTo>
                  <a:lnTo>
                    <a:pt x="52" y="31"/>
                  </a:lnTo>
                  <a:lnTo>
                    <a:pt x="0" y="0"/>
                  </a:lnTo>
                  <a:close/>
                </a:path>
              </a:pathLst>
            </a:custGeom>
            <a:solidFill>
              <a:srgbClr val="00A9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4" name="Freeform 134"/>
            <p:cNvSpPr>
              <a:spLocks noEditPoints="1"/>
            </p:cNvSpPr>
            <p:nvPr/>
          </p:nvSpPr>
          <p:spPr bwMode="auto">
            <a:xfrm>
              <a:off x="6776" y="1700"/>
              <a:ext cx="450" cy="533"/>
            </a:xfrm>
            <a:custGeom>
              <a:avLst/>
              <a:gdLst>
                <a:gd name="T0" fmla="*/ 52 w 450"/>
                <a:gd name="T1" fmla="*/ 474 h 533"/>
                <a:gd name="T2" fmla="*/ 52 w 450"/>
                <a:gd name="T3" fmla="*/ 367 h 533"/>
                <a:gd name="T4" fmla="*/ 130 w 450"/>
                <a:gd name="T5" fmla="*/ 367 h 533"/>
                <a:gd name="T6" fmla="*/ 215 w 450"/>
                <a:gd name="T7" fmla="*/ 367 h 533"/>
                <a:gd name="T8" fmla="*/ 215 w 450"/>
                <a:gd name="T9" fmla="*/ 474 h 533"/>
                <a:gd name="T10" fmla="*/ 52 w 450"/>
                <a:gd name="T11" fmla="*/ 474 h 533"/>
                <a:gd name="T12" fmla="*/ 237 w 450"/>
                <a:gd name="T13" fmla="*/ 474 h 533"/>
                <a:gd name="T14" fmla="*/ 237 w 450"/>
                <a:gd name="T15" fmla="*/ 367 h 533"/>
                <a:gd name="T16" fmla="*/ 298 w 450"/>
                <a:gd name="T17" fmla="*/ 367 h 533"/>
                <a:gd name="T18" fmla="*/ 308 w 450"/>
                <a:gd name="T19" fmla="*/ 367 h 533"/>
                <a:gd name="T20" fmla="*/ 397 w 450"/>
                <a:gd name="T21" fmla="*/ 367 h 533"/>
                <a:gd name="T22" fmla="*/ 397 w 450"/>
                <a:gd name="T23" fmla="*/ 474 h 533"/>
                <a:gd name="T24" fmla="*/ 237 w 450"/>
                <a:gd name="T25" fmla="*/ 474 h 533"/>
                <a:gd name="T26" fmla="*/ 52 w 450"/>
                <a:gd name="T27" fmla="*/ 348 h 533"/>
                <a:gd name="T28" fmla="*/ 52 w 450"/>
                <a:gd name="T29" fmla="*/ 185 h 533"/>
                <a:gd name="T30" fmla="*/ 215 w 450"/>
                <a:gd name="T31" fmla="*/ 185 h 533"/>
                <a:gd name="T32" fmla="*/ 215 w 450"/>
                <a:gd name="T33" fmla="*/ 348 h 533"/>
                <a:gd name="T34" fmla="*/ 52 w 450"/>
                <a:gd name="T35" fmla="*/ 348 h 533"/>
                <a:gd name="T36" fmla="*/ 0 w 450"/>
                <a:gd name="T37" fmla="*/ 0 h 533"/>
                <a:gd name="T38" fmla="*/ 0 w 450"/>
                <a:gd name="T39" fmla="*/ 533 h 533"/>
                <a:gd name="T40" fmla="*/ 450 w 450"/>
                <a:gd name="T41" fmla="*/ 533 h 533"/>
                <a:gd name="T42" fmla="*/ 450 w 450"/>
                <a:gd name="T43" fmla="*/ 270 h 533"/>
                <a:gd name="T44" fmla="*/ 397 w 450"/>
                <a:gd name="T45" fmla="*/ 239 h 533"/>
                <a:gd name="T46" fmla="*/ 397 w 450"/>
                <a:gd name="T47" fmla="*/ 348 h 533"/>
                <a:gd name="T48" fmla="*/ 237 w 450"/>
                <a:gd name="T49" fmla="*/ 348 h 533"/>
                <a:gd name="T50" fmla="*/ 237 w 450"/>
                <a:gd name="T51" fmla="*/ 185 h 533"/>
                <a:gd name="T52" fmla="*/ 310 w 450"/>
                <a:gd name="T53" fmla="*/ 185 h 533"/>
                <a:gd name="T54" fmla="*/ 267 w 450"/>
                <a:gd name="T55" fmla="*/ 159 h 533"/>
                <a:gd name="T56" fmla="*/ 237 w 450"/>
                <a:gd name="T57" fmla="*/ 159 h 533"/>
                <a:gd name="T58" fmla="*/ 237 w 450"/>
                <a:gd name="T59" fmla="*/ 142 h 533"/>
                <a:gd name="T60" fmla="*/ 215 w 450"/>
                <a:gd name="T61" fmla="*/ 128 h 533"/>
                <a:gd name="T62" fmla="*/ 215 w 450"/>
                <a:gd name="T63" fmla="*/ 159 h 533"/>
                <a:gd name="T64" fmla="*/ 52 w 450"/>
                <a:gd name="T65" fmla="*/ 159 h 533"/>
                <a:gd name="T66" fmla="*/ 52 w 450"/>
                <a:gd name="T67" fmla="*/ 31 h 533"/>
                <a:gd name="T68" fmla="*/ 0 w 450"/>
                <a:gd name="T69"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0" h="533">
                  <a:moveTo>
                    <a:pt x="52" y="474"/>
                  </a:moveTo>
                  <a:lnTo>
                    <a:pt x="52" y="367"/>
                  </a:lnTo>
                  <a:lnTo>
                    <a:pt x="130" y="367"/>
                  </a:lnTo>
                  <a:lnTo>
                    <a:pt x="215" y="367"/>
                  </a:lnTo>
                  <a:lnTo>
                    <a:pt x="215" y="474"/>
                  </a:lnTo>
                  <a:lnTo>
                    <a:pt x="52" y="474"/>
                  </a:lnTo>
                  <a:moveTo>
                    <a:pt x="237" y="474"/>
                  </a:moveTo>
                  <a:lnTo>
                    <a:pt x="237" y="367"/>
                  </a:lnTo>
                  <a:lnTo>
                    <a:pt x="298" y="367"/>
                  </a:lnTo>
                  <a:lnTo>
                    <a:pt x="308" y="367"/>
                  </a:lnTo>
                  <a:lnTo>
                    <a:pt x="397" y="367"/>
                  </a:lnTo>
                  <a:lnTo>
                    <a:pt x="397" y="474"/>
                  </a:lnTo>
                  <a:lnTo>
                    <a:pt x="237" y="474"/>
                  </a:lnTo>
                  <a:moveTo>
                    <a:pt x="52" y="348"/>
                  </a:moveTo>
                  <a:lnTo>
                    <a:pt x="52" y="185"/>
                  </a:lnTo>
                  <a:lnTo>
                    <a:pt x="215" y="185"/>
                  </a:lnTo>
                  <a:lnTo>
                    <a:pt x="215" y="348"/>
                  </a:lnTo>
                  <a:lnTo>
                    <a:pt x="52" y="348"/>
                  </a:lnTo>
                  <a:moveTo>
                    <a:pt x="0" y="0"/>
                  </a:moveTo>
                  <a:lnTo>
                    <a:pt x="0" y="533"/>
                  </a:lnTo>
                  <a:lnTo>
                    <a:pt x="450" y="533"/>
                  </a:lnTo>
                  <a:lnTo>
                    <a:pt x="450" y="270"/>
                  </a:lnTo>
                  <a:lnTo>
                    <a:pt x="397" y="239"/>
                  </a:lnTo>
                  <a:lnTo>
                    <a:pt x="397" y="348"/>
                  </a:lnTo>
                  <a:lnTo>
                    <a:pt x="237" y="348"/>
                  </a:lnTo>
                  <a:lnTo>
                    <a:pt x="237" y="185"/>
                  </a:lnTo>
                  <a:lnTo>
                    <a:pt x="310" y="185"/>
                  </a:lnTo>
                  <a:lnTo>
                    <a:pt x="267" y="159"/>
                  </a:lnTo>
                  <a:lnTo>
                    <a:pt x="237" y="159"/>
                  </a:lnTo>
                  <a:lnTo>
                    <a:pt x="237" y="142"/>
                  </a:lnTo>
                  <a:lnTo>
                    <a:pt x="215" y="128"/>
                  </a:lnTo>
                  <a:lnTo>
                    <a:pt x="215" y="159"/>
                  </a:lnTo>
                  <a:lnTo>
                    <a:pt x="52" y="159"/>
                  </a:lnTo>
                  <a:lnTo>
                    <a:pt x="52"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5" name="Freeform 135"/>
            <p:cNvSpPr>
              <a:spLocks/>
            </p:cNvSpPr>
            <p:nvPr/>
          </p:nvSpPr>
          <p:spPr bwMode="auto">
            <a:xfrm>
              <a:off x="7013" y="1885"/>
              <a:ext cx="160" cy="163"/>
            </a:xfrm>
            <a:custGeom>
              <a:avLst/>
              <a:gdLst>
                <a:gd name="T0" fmla="*/ 73 w 160"/>
                <a:gd name="T1" fmla="*/ 0 h 163"/>
                <a:gd name="T2" fmla="*/ 0 w 160"/>
                <a:gd name="T3" fmla="*/ 0 h 163"/>
                <a:gd name="T4" fmla="*/ 0 w 160"/>
                <a:gd name="T5" fmla="*/ 163 h 163"/>
                <a:gd name="T6" fmla="*/ 160 w 160"/>
                <a:gd name="T7" fmla="*/ 163 h 163"/>
                <a:gd name="T8" fmla="*/ 160 w 160"/>
                <a:gd name="T9" fmla="*/ 54 h 163"/>
                <a:gd name="T10" fmla="*/ 73 w 160"/>
                <a:gd name="T11" fmla="*/ 0 h 163"/>
              </a:gdLst>
              <a:ahLst/>
              <a:cxnLst>
                <a:cxn ang="0">
                  <a:pos x="T0" y="T1"/>
                </a:cxn>
                <a:cxn ang="0">
                  <a:pos x="T2" y="T3"/>
                </a:cxn>
                <a:cxn ang="0">
                  <a:pos x="T4" y="T5"/>
                </a:cxn>
                <a:cxn ang="0">
                  <a:pos x="T6" y="T7"/>
                </a:cxn>
                <a:cxn ang="0">
                  <a:pos x="T8" y="T9"/>
                </a:cxn>
                <a:cxn ang="0">
                  <a:pos x="T10" y="T11"/>
                </a:cxn>
              </a:cxnLst>
              <a:rect l="0" t="0" r="r" b="b"/>
              <a:pathLst>
                <a:path w="160" h="163">
                  <a:moveTo>
                    <a:pt x="73" y="0"/>
                  </a:moveTo>
                  <a:lnTo>
                    <a:pt x="0" y="0"/>
                  </a:lnTo>
                  <a:lnTo>
                    <a:pt x="0" y="163"/>
                  </a:lnTo>
                  <a:lnTo>
                    <a:pt x="160" y="163"/>
                  </a:lnTo>
                  <a:lnTo>
                    <a:pt x="160" y="54"/>
                  </a:lnTo>
                  <a:lnTo>
                    <a:pt x="7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6" name="Freeform 136"/>
            <p:cNvSpPr>
              <a:spLocks/>
            </p:cNvSpPr>
            <p:nvPr/>
          </p:nvSpPr>
          <p:spPr bwMode="auto">
            <a:xfrm>
              <a:off x="7013" y="1885"/>
              <a:ext cx="160" cy="163"/>
            </a:xfrm>
            <a:custGeom>
              <a:avLst/>
              <a:gdLst>
                <a:gd name="T0" fmla="*/ 73 w 160"/>
                <a:gd name="T1" fmla="*/ 0 h 163"/>
                <a:gd name="T2" fmla="*/ 0 w 160"/>
                <a:gd name="T3" fmla="*/ 0 h 163"/>
                <a:gd name="T4" fmla="*/ 0 w 160"/>
                <a:gd name="T5" fmla="*/ 163 h 163"/>
                <a:gd name="T6" fmla="*/ 160 w 160"/>
                <a:gd name="T7" fmla="*/ 163 h 163"/>
                <a:gd name="T8" fmla="*/ 160 w 160"/>
                <a:gd name="T9" fmla="*/ 54 h 163"/>
                <a:gd name="T10" fmla="*/ 73 w 160"/>
                <a:gd name="T11" fmla="*/ 0 h 163"/>
              </a:gdLst>
              <a:ahLst/>
              <a:cxnLst>
                <a:cxn ang="0">
                  <a:pos x="T0" y="T1"/>
                </a:cxn>
                <a:cxn ang="0">
                  <a:pos x="T2" y="T3"/>
                </a:cxn>
                <a:cxn ang="0">
                  <a:pos x="T4" y="T5"/>
                </a:cxn>
                <a:cxn ang="0">
                  <a:pos x="T6" y="T7"/>
                </a:cxn>
                <a:cxn ang="0">
                  <a:pos x="T8" y="T9"/>
                </a:cxn>
                <a:cxn ang="0">
                  <a:pos x="T10" y="T11"/>
                </a:cxn>
              </a:cxnLst>
              <a:rect l="0" t="0" r="r" b="b"/>
              <a:pathLst>
                <a:path w="160" h="163">
                  <a:moveTo>
                    <a:pt x="73" y="0"/>
                  </a:moveTo>
                  <a:lnTo>
                    <a:pt x="0" y="0"/>
                  </a:lnTo>
                  <a:lnTo>
                    <a:pt x="0" y="163"/>
                  </a:lnTo>
                  <a:lnTo>
                    <a:pt x="160" y="163"/>
                  </a:lnTo>
                  <a:lnTo>
                    <a:pt x="160" y="54"/>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7" name="Rectangle 137"/>
            <p:cNvSpPr>
              <a:spLocks noChangeArrowheads="1"/>
            </p:cNvSpPr>
            <p:nvPr/>
          </p:nvSpPr>
          <p:spPr bwMode="auto">
            <a:xfrm>
              <a:off x="6828" y="1885"/>
              <a:ext cx="163" cy="163"/>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8" name="Rectangle 138"/>
            <p:cNvSpPr>
              <a:spLocks noChangeArrowheads="1"/>
            </p:cNvSpPr>
            <p:nvPr/>
          </p:nvSpPr>
          <p:spPr bwMode="auto">
            <a:xfrm>
              <a:off x="6828" y="1885"/>
              <a:ext cx="163"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9" name="Freeform 139"/>
            <p:cNvSpPr>
              <a:spLocks/>
            </p:cNvSpPr>
            <p:nvPr/>
          </p:nvSpPr>
          <p:spPr bwMode="auto">
            <a:xfrm>
              <a:off x="7013" y="1842"/>
              <a:ext cx="30" cy="17"/>
            </a:xfrm>
            <a:custGeom>
              <a:avLst/>
              <a:gdLst>
                <a:gd name="T0" fmla="*/ 0 w 30"/>
                <a:gd name="T1" fmla="*/ 0 h 17"/>
                <a:gd name="T2" fmla="*/ 0 w 30"/>
                <a:gd name="T3" fmla="*/ 17 h 17"/>
                <a:gd name="T4" fmla="*/ 30 w 30"/>
                <a:gd name="T5" fmla="*/ 17 h 17"/>
                <a:gd name="T6" fmla="*/ 0 w 30"/>
                <a:gd name="T7" fmla="*/ 0 h 17"/>
              </a:gdLst>
              <a:ahLst/>
              <a:cxnLst>
                <a:cxn ang="0">
                  <a:pos x="T0" y="T1"/>
                </a:cxn>
                <a:cxn ang="0">
                  <a:pos x="T2" y="T3"/>
                </a:cxn>
                <a:cxn ang="0">
                  <a:pos x="T4" y="T5"/>
                </a:cxn>
                <a:cxn ang="0">
                  <a:pos x="T6" y="T7"/>
                </a:cxn>
              </a:cxnLst>
              <a:rect l="0" t="0" r="r" b="b"/>
              <a:pathLst>
                <a:path w="30" h="17">
                  <a:moveTo>
                    <a:pt x="0" y="0"/>
                  </a:moveTo>
                  <a:lnTo>
                    <a:pt x="0" y="17"/>
                  </a:lnTo>
                  <a:lnTo>
                    <a:pt x="30" y="17"/>
                  </a:lnTo>
                  <a:lnTo>
                    <a:pt x="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0" name="Freeform 140"/>
            <p:cNvSpPr>
              <a:spLocks/>
            </p:cNvSpPr>
            <p:nvPr/>
          </p:nvSpPr>
          <p:spPr bwMode="auto">
            <a:xfrm>
              <a:off x="7013" y="1842"/>
              <a:ext cx="30" cy="17"/>
            </a:xfrm>
            <a:custGeom>
              <a:avLst/>
              <a:gdLst>
                <a:gd name="T0" fmla="*/ 0 w 30"/>
                <a:gd name="T1" fmla="*/ 0 h 17"/>
                <a:gd name="T2" fmla="*/ 0 w 30"/>
                <a:gd name="T3" fmla="*/ 17 h 17"/>
                <a:gd name="T4" fmla="*/ 30 w 30"/>
                <a:gd name="T5" fmla="*/ 17 h 17"/>
                <a:gd name="T6" fmla="*/ 0 w 30"/>
                <a:gd name="T7" fmla="*/ 0 h 17"/>
              </a:gdLst>
              <a:ahLst/>
              <a:cxnLst>
                <a:cxn ang="0">
                  <a:pos x="T0" y="T1"/>
                </a:cxn>
                <a:cxn ang="0">
                  <a:pos x="T2" y="T3"/>
                </a:cxn>
                <a:cxn ang="0">
                  <a:pos x="T4" y="T5"/>
                </a:cxn>
                <a:cxn ang="0">
                  <a:pos x="T6" y="T7"/>
                </a:cxn>
              </a:cxnLst>
              <a:rect l="0" t="0" r="r" b="b"/>
              <a:pathLst>
                <a:path w="30" h="17">
                  <a:moveTo>
                    <a:pt x="0" y="0"/>
                  </a:moveTo>
                  <a:lnTo>
                    <a:pt x="0" y="17"/>
                  </a:lnTo>
                  <a:lnTo>
                    <a:pt x="30"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1" name="Freeform 141"/>
            <p:cNvSpPr>
              <a:spLocks/>
            </p:cNvSpPr>
            <p:nvPr/>
          </p:nvSpPr>
          <p:spPr bwMode="auto">
            <a:xfrm>
              <a:off x="6828" y="1731"/>
              <a:ext cx="163" cy="128"/>
            </a:xfrm>
            <a:custGeom>
              <a:avLst/>
              <a:gdLst>
                <a:gd name="T0" fmla="*/ 0 w 163"/>
                <a:gd name="T1" fmla="*/ 0 h 128"/>
                <a:gd name="T2" fmla="*/ 0 w 163"/>
                <a:gd name="T3" fmla="*/ 128 h 128"/>
                <a:gd name="T4" fmla="*/ 163 w 163"/>
                <a:gd name="T5" fmla="*/ 128 h 128"/>
                <a:gd name="T6" fmla="*/ 163 w 163"/>
                <a:gd name="T7" fmla="*/ 97 h 128"/>
                <a:gd name="T8" fmla="*/ 0 w 163"/>
                <a:gd name="T9" fmla="*/ 0 h 128"/>
              </a:gdLst>
              <a:ahLst/>
              <a:cxnLst>
                <a:cxn ang="0">
                  <a:pos x="T0" y="T1"/>
                </a:cxn>
                <a:cxn ang="0">
                  <a:pos x="T2" y="T3"/>
                </a:cxn>
                <a:cxn ang="0">
                  <a:pos x="T4" y="T5"/>
                </a:cxn>
                <a:cxn ang="0">
                  <a:pos x="T6" y="T7"/>
                </a:cxn>
                <a:cxn ang="0">
                  <a:pos x="T8" y="T9"/>
                </a:cxn>
              </a:cxnLst>
              <a:rect l="0" t="0" r="r" b="b"/>
              <a:pathLst>
                <a:path w="163" h="128">
                  <a:moveTo>
                    <a:pt x="0" y="0"/>
                  </a:moveTo>
                  <a:lnTo>
                    <a:pt x="0" y="128"/>
                  </a:lnTo>
                  <a:lnTo>
                    <a:pt x="163" y="128"/>
                  </a:lnTo>
                  <a:lnTo>
                    <a:pt x="163" y="97"/>
                  </a:lnTo>
                  <a:lnTo>
                    <a:pt x="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2" name="Freeform 142"/>
            <p:cNvSpPr>
              <a:spLocks/>
            </p:cNvSpPr>
            <p:nvPr/>
          </p:nvSpPr>
          <p:spPr bwMode="auto">
            <a:xfrm>
              <a:off x="6828" y="1731"/>
              <a:ext cx="163" cy="128"/>
            </a:xfrm>
            <a:custGeom>
              <a:avLst/>
              <a:gdLst>
                <a:gd name="T0" fmla="*/ 0 w 163"/>
                <a:gd name="T1" fmla="*/ 0 h 128"/>
                <a:gd name="T2" fmla="*/ 0 w 163"/>
                <a:gd name="T3" fmla="*/ 128 h 128"/>
                <a:gd name="T4" fmla="*/ 163 w 163"/>
                <a:gd name="T5" fmla="*/ 128 h 128"/>
                <a:gd name="T6" fmla="*/ 163 w 163"/>
                <a:gd name="T7" fmla="*/ 97 h 128"/>
                <a:gd name="T8" fmla="*/ 0 w 163"/>
                <a:gd name="T9" fmla="*/ 0 h 128"/>
              </a:gdLst>
              <a:ahLst/>
              <a:cxnLst>
                <a:cxn ang="0">
                  <a:pos x="T0" y="T1"/>
                </a:cxn>
                <a:cxn ang="0">
                  <a:pos x="T2" y="T3"/>
                </a:cxn>
                <a:cxn ang="0">
                  <a:pos x="T4" y="T5"/>
                </a:cxn>
                <a:cxn ang="0">
                  <a:pos x="T6" y="T7"/>
                </a:cxn>
                <a:cxn ang="0">
                  <a:pos x="T8" y="T9"/>
                </a:cxn>
              </a:cxnLst>
              <a:rect l="0" t="0" r="r" b="b"/>
              <a:pathLst>
                <a:path w="163" h="128">
                  <a:moveTo>
                    <a:pt x="0" y="0"/>
                  </a:moveTo>
                  <a:lnTo>
                    <a:pt x="0" y="128"/>
                  </a:lnTo>
                  <a:lnTo>
                    <a:pt x="163" y="128"/>
                  </a:lnTo>
                  <a:lnTo>
                    <a:pt x="163" y="9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3" name="Freeform 143"/>
            <p:cNvSpPr>
              <a:spLocks/>
            </p:cNvSpPr>
            <p:nvPr/>
          </p:nvSpPr>
          <p:spPr bwMode="auto">
            <a:xfrm>
              <a:off x="7013" y="2067"/>
              <a:ext cx="160" cy="107"/>
            </a:xfrm>
            <a:custGeom>
              <a:avLst/>
              <a:gdLst>
                <a:gd name="T0" fmla="*/ 160 w 160"/>
                <a:gd name="T1" fmla="*/ 0 h 107"/>
                <a:gd name="T2" fmla="*/ 71 w 160"/>
                <a:gd name="T3" fmla="*/ 0 h 107"/>
                <a:gd name="T4" fmla="*/ 61 w 160"/>
                <a:gd name="T5" fmla="*/ 0 h 107"/>
                <a:gd name="T6" fmla="*/ 0 w 160"/>
                <a:gd name="T7" fmla="*/ 0 h 107"/>
                <a:gd name="T8" fmla="*/ 0 w 160"/>
                <a:gd name="T9" fmla="*/ 107 h 107"/>
                <a:gd name="T10" fmla="*/ 160 w 160"/>
                <a:gd name="T11" fmla="*/ 107 h 107"/>
                <a:gd name="T12" fmla="*/ 160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160" y="0"/>
                  </a:moveTo>
                  <a:lnTo>
                    <a:pt x="71" y="0"/>
                  </a:lnTo>
                  <a:lnTo>
                    <a:pt x="61" y="0"/>
                  </a:lnTo>
                  <a:lnTo>
                    <a:pt x="0" y="0"/>
                  </a:lnTo>
                  <a:lnTo>
                    <a:pt x="0" y="107"/>
                  </a:lnTo>
                  <a:lnTo>
                    <a:pt x="160" y="107"/>
                  </a:lnTo>
                  <a:lnTo>
                    <a:pt x="16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4" name="Freeform 144"/>
            <p:cNvSpPr>
              <a:spLocks/>
            </p:cNvSpPr>
            <p:nvPr/>
          </p:nvSpPr>
          <p:spPr bwMode="auto">
            <a:xfrm>
              <a:off x="7013" y="2067"/>
              <a:ext cx="160" cy="107"/>
            </a:xfrm>
            <a:custGeom>
              <a:avLst/>
              <a:gdLst>
                <a:gd name="T0" fmla="*/ 160 w 160"/>
                <a:gd name="T1" fmla="*/ 0 h 107"/>
                <a:gd name="T2" fmla="*/ 71 w 160"/>
                <a:gd name="T3" fmla="*/ 0 h 107"/>
                <a:gd name="T4" fmla="*/ 61 w 160"/>
                <a:gd name="T5" fmla="*/ 0 h 107"/>
                <a:gd name="T6" fmla="*/ 0 w 160"/>
                <a:gd name="T7" fmla="*/ 0 h 107"/>
                <a:gd name="T8" fmla="*/ 0 w 160"/>
                <a:gd name="T9" fmla="*/ 107 h 107"/>
                <a:gd name="T10" fmla="*/ 160 w 160"/>
                <a:gd name="T11" fmla="*/ 107 h 107"/>
                <a:gd name="T12" fmla="*/ 160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160" y="0"/>
                  </a:moveTo>
                  <a:lnTo>
                    <a:pt x="71" y="0"/>
                  </a:lnTo>
                  <a:lnTo>
                    <a:pt x="61" y="0"/>
                  </a:lnTo>
                  <a:lnTo>
                    <a:pt x="0" y="0"/>
                  </a:lnTo>
                  <a:lnTo>
                    <a:pt x="0" y="107"/>
                  </a:lnTo>
                  <a:lnTo>
                    <a:pt x="160" y="107"/>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5" name="Freeform 145"/>
            <p:cNvSpPr>
              <a:spLocks/>
            </p:cNvSpPr>
            <p:nvPr/>
          </p:nvSpPr>
          <p:spPr bwMode="auto">
            <a:xfrm>
              <a:off x="6828" y="2067"/>
              <a:ext cx="163" cy="107"/>
            </a:xfrm>
            <a:custGeom>
              <a:avLst/>
              <a:gdLst>
                <a:gd name="T0" fmla="*/ 163 w 163"/>
                <a:gd name="T1" fmla="*/ 0 h 107"/>
                <a:gd name="T2" fmla="*/ 78 w 163"/>
                <a:gd name="T3" fmla="*/ 0 h 107"/>
                <a:gd name="T4" fmla="*/ 0 w 163"/>
                <a:gd name="T5" fmla="*/ 0 h 107"/>
                <a:gd name="T6" fmla="*/ 0 w 163"/>
                <a:gd name="T7" fmla="*/ 107 h 107"/>
                <a:gd name="T8" fmla="*/ 163 w 163"/>
                <a:gd name="T9" fmla="*/ 107 h 107"/>
                <a:gd name="T10" fmla="*/ 163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163" y="0"/>
                  </a:moveTo>
                  <a:lnTo>
                    <a:pt x="78" y="0"/>
                  </a:lnTo>
                  <a:lnTo>
                    <a:pt x="0" y="0"/>
                  </a:lnTo>
                  <a:lnTo>
                    <a:pt x="0" y="107"/>
                  </a:lnTo>
                  <a:lnTo>
                    <a:pt x="163" y="107"/>
                  </a:lnTo>
                  <a:lnTo>
                    <a:pt x="16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6" name="Freeform 146"/>
            <p:cNvSpPr>
              <a:spLocks/>
            </p:cNvSpPr>
            <p:nvPr/>
          </p:nvSpPr>
          <p:spPr bwMode="auto">
            <a:xfrm>
              <a:off x="6828" y="2067"/>
              <a:ext cx="163" cy="107"/>
            </a:xfrm>
            <a:custGeom>
              <a:avLst/>
              <a:gdLst>
                <a:gd name="T0" fmla="*/ 163 w 163"/>
                <a:gd name="T1" fmla="*/ 0 h 107"/>
                <a:gd name="T2" fmla="*/ 78 w 163"/>
                <a:gd name="T3" fmla="*/ 0 h 107"/>
                <a:gd name="T4" fmla="*/ 0 w 163"/>
                <a:gd name="T5" fmla="*/ 0 h 107"/>
                <a:gd name="T6" fmla="*/ 0 w 163"/>
                <a:gd name="T7" fmla="*/ 107 h 107"/>
                <a:gd name="T8" fmla="*/ 163 w 163"/>
                <a:gd name="T9" fmla="*/ 107 h 107"/>
                <a:gd name="T10" fmla="*/ 163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163" y="0"/>
                  </a:moveTo>
                  <a:lnTo>
                    <a:pt x="78" y="0"/>
                  </a:lnTo>
                  <a:lnTo>
                    <a:pt x="0" y="0"/>
                  </a:lnTo>
                  <a:lnTo>
                    <a:pt x="0" y="107"/>
                  </a:lnTo>
                  <a:lnTo>
                    <a:pt x="163" y="107"/>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spTree>
    <p:extLst>
      <p:ext uri="{BB962C8B-B14F-4D97-AF65-F5344CB8AC3E}">
        <p14:creationId xmlns:p14="http://schemas.microsoft.com/office/powerpoint/2010/main" val="30229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txBox="1">
            <a:spLocks/>
          </p:cNvSpPr>
          <p:nvPr/>
        </p:nvSpPr>
        <p:spPr>
          <a:xfrm>
            <a:off x="146539" y="4278923"/>
            <a:ext cx="5855676" cy="2579077"/>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buNone/>
              <a:defRPr/>
            </a:pPr>
            <a:r>
              <a:rPr lang="en-US" sz="4800" b="1" dirty="0">
                <a:solidFill>
                  <a:srgbClr val="00B0F0"/>
                </a:solidFill>
              </a:rPr>
              <a:t>Vishesh Oberoi</a:t>
            </a:r>
          </a:p>
          <a:p>
            <a:pPr marL="0" indent="0">
              <a:buNone/>
              <a:defRPr/>
            </a:pPr>
            <a:r>
              <a:rPr lang="en-US" sz="2800" dirty="0">
                <a:solidFill>
                  <a:schemeClr val="tx1"/>
                </a:solidFill>
              </a:rPr>
              <a:t>Technical Evangelist, Microsoft</a:t>
            </a:r>
          </a:p>
          <a:p>
            <a:pPr marL="0" indent="0">
              <a:buNone/>
              <a:defRPr/>
            </a:pPr>
            <a:r>
              <a:rPr lang="en-US" sz="2400" dirty="0">
                <a:solidFill>
                  <a:srgbClr val="92D050"/>
                </a:solidFill>
              </a:rPr>
              <a:t>@</a:t>
            </a:r>
            <a:r>
              <a:rPr lang="en-US" sz="2400" dirty="0" err="1">
                <a:solidFill>
                  <a:srgbClr val="92D050"/>
                </a:solidFill>
              </a:rPr>
              <a:t>ovishesh</a:t>
            </a:r>
            <a:endParaRPr lang="en-US" sz="2400" dirty="0">
              <a:solidFill>
                <a:srgbClr val="92D050"/>
              </a:solidFill>
            </a:endParaRPr>
          </a:p>
          <a:p>
            <a:pPr marL="0" indent="0">
              <a:buNone/>
              <a:defRPr/>
            </a:pPr>
            <a:r>
              <a:rPr lang="en-US" sz="2400" dirty="0" smtClean="0">
                <a:solidFill>
                  <a:srgbClr val="92D050"/>
                </a:solidFill>
              </a:rPr>
              <a:t>visho@microsoft.com</a:t>
            </a:r>
          </a:p>
          <a:p>
            <a:pPr marL="0" indent="0">
              <a:buNone/>
              <a:defRPr/>
            </a:pPr>
            <a:r>
              <a:rPr lang="en-US" sz="2400" dirty="0" smtClean="0">
                <a:solidFill>
                  <a:srgbClr val="92D050"/>
                </a:solidFill>
              </a:rPr>
              <a:t>github.com/</a:t>
            </a:r>
            <a:r>
              <a:rPr lang="en-US" sz="2400" dirty="0" err="1" smtClean="0">
                <a:solidFill>
                  <a:srgbClr val="92D050"/>
                </a:solidFill>
              </a:rPr>
              <a:t>ovishesh</a:t>
            </a:r>
            <a:endParaRPr lang="en-US" sz="2400" dirty="0">
              <a:solidFill>
                <a:srgbClr val="92D050"/>
              </a:solidFill>
            </a:endParaRPr>
          </a:p>
        </p:txBody>
      </p:sp>
      <p:sp>
        <p:nvSpPr>
          <p:cNvPr id="2" name="Title 1"/>
          <p:cNvSpPr>
            <a:spLocks noGrp="1"/>
          </p:cNvSpPr>
          <p:nvPr>
            <p:ph type="title"/>
          </p:nvPr>
        </p:nvSpPr>
        <p:spPr>
          <a:xfrm>
            <a:off x="146539" y="1216871"/>
            <a:ext cx="8964185" cy="2343572"/>
          </a:xfrm>
        </p:spPr>
        <p:txBody>
          <a:bodyPr/>
          <a:lstStyle/>
          <a:p>
            <a:r>
              <a:rPr lang="en-US" sz="7842" dirty="0" smtClean="0"/>
              <a:t>Welcome!</a:t>
            </a:r>
            <a:endParaRPr lang="en-US" sz="7842" dirty="0"/>
          </a:p>
        </p:txBody>
      </p:sp>
      <p:sp>
        <p:nvSpPr>
          <p:cNvPr id="6" name="TextBox 5"/>
          <p:cNvSpPr txBox="1"/>
          <p:nvPr/>
        </p:nvSpPr>
        <p:spPr>
          <a:xfrm>
            <a:off x="9867242" y="-11153"/>
            <a:ext cx="2590800" cy="627864"/>
          </a:xfrm>
          <a:prstGeom prst="rect">
            <a:avLst/>
          </a:prstGeom>
          <a:noFill/>
        </p:spPr>
        <p:txBody>
          <a:bodyPr wrap="square" lIns="182880" tIns="146304" rIns="182880" bIns="146304" rtlCol="0">
            <a:spAutoFit/>
          </a:bodyPr>
          <a:lstStyle/>
          <a:p>
            <a:pPr>
              <a:lnSpc>
                <a:spcPct val="90000"/>
              </a:lnSpc>
              <a:spcAft>
                <a:spcPts val="600"/>
              </a:spcAft>
            </a:pPr>
            <a:r>
              <a:rPr lang="en-NZ" sz="2400" kern="0" spc="-100" dirty="0">
                <a:ln w="3175">
                  <a:noFill/>
                </a:ln>
                <a:cs typeface="Segoe UI" pitchFamily="34" charset="0"/>
              </a:rPr>
              <a:t>November </a:t>
            </a:r>
            <a:r>
              <a:rPr lang="en-NZ" sz="2400" kern="0" spc="-100" dirty="0">
                <a:ln w="3175">
                  <a:noFill/>
                </a:ln>
                <a:cs typeface="Segoe UI" pitchFamily="34" charset="0"/>
              </a:rPr>
              <a:t>2015</a:t>
            </a:r>
            <a:endParaRPr lang="en-NZ" sz="2400" kern="0" spc="-100" dirty="0">
              <a:ln w="3175">
                <a:noFill/>
              </a:ln>
              <a:cs typeface="Segoe UI" pitchFamily="34" charset="0"/>
            </a:endParaRPr>
          </a:p>
        </p:txBody>
      </p:sp>
      <p:sp>
        <p:nvSpPr>
          <p:cNvPr id="9" name="TextBox 8"/>
          <p:cNvSpPr txBox="1"/>
          <p:nvPr/>
        </p:nvSpPr>
        <p:spPr>
          <a:xfrm>
            <a:off x="9867242" y="6230136"/>
            <a:ext cx="2590800" cy="627864"/>
          </a:xfrm>
          <a:prstGeom prst="rect">
            <a:avLst/>
          </a:prstGeom>
          <a:noFill/>
        </p:spPr>
        <p:txBody>
          <a:bodyPr wrap="square" lIns="182880" tIns="146304" rIns="182880" bIns="146304" rtlCol="0">
            <a:spAutoFit/>
          </a:bodyPr>
          <a:lstStyle/>
          <a:p>
            <a:pPr>
              <a:lnSpc>
                <a:spcPct val="90000"/>
              </a:lnSpc>
              <a:spcAft>
                <a:spcPts val="600"/>
              </a:spcAft>
            </a:pPr>
            <a:r>
              <a:rPr lang="en-NZ" sz="2400" kern="0" spc="-100" dirty="0" smtClean="0">
                <a:ln w="3175">
                  <a:noFill/>
                </a:ln>
                <a:cs typeface="Segoe UI" pitchFamily="34" charset="0"/>
              </a:rPr>
              <a:t>Microsoft Azure</a:t>
            </a:r>
            <a:endParaRPr lang="en-NZ" sz="2400" kern="0" spc="-100" dirty="0">
              <a:ln w="3175">
                <a:noFill/>
              </a:ln>
              <a:cs typeface="Segoe UI" pitchFamily="34" charset="0"/>
            </a:endParaRPr>
          </a:p>
        </p:txBody>
      </p:sp>
    </p:spTree>
    <p:extLst>
      <p:ext uri="{BB962C8B-B14F-4D97-AF65-F5344CB8AC3E}">
        <p14:creationId xmlns:p14="http://schemas.microsoft.com/office/powerpoint/2010/main" val="3398617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7A3491"/>
        </a:solidFill>
        <a:effectLst/>
      </p:bgPr>
    </p:bg>
    <p:spTree>
      <p:nvGrpSpPr>
        <p:cNvPr id="1" name=""/>
        <p:cNvGrpSpPr/>
        <p:nvPr/>
      </p:nvGrpSpPr>
      <p:grpSpPr>
        <a:xfrm>
          <a:off x="0" y="0"/>
          <a:ext cx="0" cy="0"/>
          <a:chOff x="0" y="0"/>
          <a:chExt cx="0" cy="0"/>
        </a:xfrm>
      </p:grpSpPr>
      <p:sp>
        <p:nvSpPr>
          <p:cNvPr id="17" name="Rectangle 16"/>
          <p:cNvSpPr/>
          <p:nvPr/>
        </p:nvSpPr>
        <p:spPr bwMode="auto">
          <a:xfrm>
            <a:off x="1" y="487"/>
            <a:ext cx="12192000" cy="6857027"/>
          </a:xfrm>
          <a:prstGeom prst="rect">
            <a:avLst/>
          </a:prstGeom>
          <a:solidFill>
            <a:srgbClr val="7A3491"/>
          </a:solidFill>
          <a:ln w="0">
            <a:solidFill>
              <a:srgbClr val="7A34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bwMode="auto">
          <a:xfrm>
            <a:off x="4757297" y="1640764"/>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316887" y="1640764"/>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2778" y="1956611"/>
            <a:ext cx="2151392" cy="2077898"/>
          </a:xfrm>
          <a:prstGeom prst="rect">
            <a:avLst/>
          </a:prstGeom>
        </p:spPr>
      </p:pic>
      <p:sp>
        <p:nvSpPr>
          <p:cNvPr id="8" name="Oval 7"/>
          <p:cNvSpPr/>
          <p:nvPr/>
        </p:nvSpPr>
        <p:spPr bwMode="auto">
          <a:xfrm>
            <a:off x="1211429" y="1652867"/>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2"/>
          <p:cNvSpPr txBox="1">
            <a:spLocks/>
          </p:cNvSpPr>
          <p:nvPr/>
        </p:nvSpPr>
        <p:spPr>
          <a:xfrm>
            <a:off x="4757297" y="4464558"/>
            <a:ext cx="2803979" cy="896060"/>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Achieve</a:t>
            </a:r>
          </a:p>
          <a:p>
            <a:pPr algn="ctr" defTabSz="1243082">
              <a:defRPr/>
            </a:pPr>
            <a:r>
              <a:rPr lang="en-US" sz="4313" spc="-133" dirty="0">
                <a:solidFill>
                  <a:srgbClr val="FFFFFF"/>
                </a:solidFill>
              </a:rPr>
              <a:t>more</a:t>
            </a:r>
            <a:endParaRPr lang="en-US" sz="4313" spc="-133" dirty="0">
              <a:solidFill>
                <a:srgbClr val="FFFFFF"/>
              </a:solidFill>
            </a:endParaRPr>
          </a:p>
        </p:txBody>
      </p:sp>
      <p:sp>
        <p:nvSpPr>
          <p:cNvPr id="15" name="Title 2"/>
          <p:cNvSpPr txBox="1">
            <a:spLocks/>
          </p:cNvSpPr>
          <p:nvPr/>
        </p:nvSpPr>
        <p:spPr>
          <a:xfrm>
            <a:off x="8316886" y="4464558"/>
            <a:ext cx="2803979" cy="896060"/>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Team</a:t>
            </a:r>
          </a:p>
          <a:p>
            <a:pPr algn="ctr" defTabSz="1243082">
              <a:defRPr/>
            </a:pPr>
            <a:r>
              <a:rPr lang="en-US" sz="4313" spc="-133" dirty="0">
                <a:solidFill>
                  <a:srgbClr val="FFFFFF"/>
                </a:solidFill>
              </a:rPr>
              <a:t>agility</a:t>
            </a:r>
            <a:endParaRPr lang="en-US" sz="4313" spc="-133" dirty="0">
              <a:solidFill>
                <a:srgbClr val="FFFFFF"/>
              </a:solidFill>
            </a:endParaRPr>
          </a:p>
        </p:txBody>
      </p:sp>
      <p:sp>
        <p:nvSpPr>
          <p:cNvPr id="13" name="Title 2"/>
          <p:cNvSpPr txBox="1">
            <a:spLocks/>
          </p:cNvSpPr>
          <p:nvPr/>
        </p:nvSpPr>
        <p:spPr>
          <a:xfrm>
            <a:off x="1211428" y="4456846"/>
            <a:ext cx="2803978" cy="896059"/>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Any</a:t>
            </a:r>
          </a:p>
          <a:p>
            <a:pPr algn="ctr" defTabSz="1243082">
              <a:defRPr/>
            </a:pPr>
            <a:r>
              <a:rPr lang="en-US" sz="4313" spc="-133" dirty="0">
                <a:solidFill>
                  <a:srgbClr val="FFFFFF"/>
                </a:solidFill>
              </a:rPr>
              <a:t>platform</a:t>
            </a:r>
            <a:endParaRPr lang="en-US" sz="4313" spc="-133" dirty="0">
              <a:solidFill>
                <a:srgbClr val="FFFFFF"/>
              </a:solidFill>
            </a:endParaRPr>
          </a:p>
        </p:txBody>
      </p:sp>
      <p:pic>
        <p:nvPicPr>
          <p:cNvPr id="21" name="Picture 20"/>
          <p:cNvPicPr>
            <a:picLocks noChangeAspect="1"/>
          </p:cNvPicPr>
          <p:nvPr/>
        </p:nvPicPr>
        <p:blipFill>
          <a:blip r:embed="rId4"/>
          <a:stretch>
            <a:fillRect/>
          </a:stretch>
        </p:blipFill>
        <p:spPr>
          <a:xfrm>
            <a:off x="4766824" y="2182787"/>
            <a:ext cx="2788563" cy="1734117"/>
          </a:xfrm>
          <a:prstGeom prst="rect">
            <a:avLst/>
          </a:prstGeom>
        </p:spPr>
      </p:pic>
      <p:grpSp>
        <p:nvGrpSpPr>
          <p:cNvPr id="5" name="Group 4"/>
          <p:cNvGrpSpPr/>
          <p:nvPr/>
        </p:nvGrpSpPr>
        <p:grpSpPr>
          <a:xfrm>
            <a:off x="1232507" y="1380460"/>
            <a:ext cx="2693942" cy="2847112"/>
            <a:chOff x="8508241" y="1313051"/>
            <a:chExt cx="2747961" cy="2904203"/>
          </a:xfrm>
        </p:grpSpPr>
        <p:pic>
          <p:nvPicPr>
            <p:cNvPr id="2" name="Picture 1"/>
            <p:cNvPicPr>
              <a:picLocks noChangeAspect="1"/>
            </p:cNvPicPr>
            <p:nvPr/>
          </p:nvPicPr>
          <p:blipFill>
            <a:blip r:embed="rId5"/>
            <a:stretch>
              <a:fillRect/>
            </a:stretch>
          </p:blipFill>
          <p:spPr>
            <a:xfrm>
              <a:off x="9730709" y="1313051"/>
              <a:ext cx="1447390" cy="919767"/>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8241" y="1665576"/>
              <a:ext cx="2747961" cy="2551678"/>
            </a:xfrm>
            <a:prstGeom prst="rect">
              <a:avLst/>
            </a:prstGeom>
          </p:spPr>
        </p:pic>
      </p:grpSp>
    </p:spTree>
    <p:extLst>
      <p:ext uri="{BB962C8B-B14F-4D97-AF65-F5344CB8AC3E}">
        <p14:creationId xmlns:p14="http://schemas.microsoft.com/office/powerpoint/2010/main" val="22450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3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6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7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0" grpId="0" animBg="1"/>
      <p:bldP spid="8" grpId="0" animBg="1"/>
      <p:bldP spid="14" grpId="0"/>
      <p:bldP spid="15"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Emulator </a:t>
            </a:r>
            <a:r>
              <a:rPr lang="en-US" sz="4705" dirty="0">
                <a:solidFill>
                  <a:schemeClr val="bg1"/>
                </a:solidFill>
              </a:rPr>
              <a:t>for Android</a:t>
            </a:r>
            <a:endParaRPr lang="en-US" sz="4705" dirty="0">
              <a:solidFill>
                <a:schemeClr val="bg1"/>
              </a:solidFill>
            </a:endParaRPr>
          </a:p>
        </p:txBody>
      </p:sp>
      <p:sp>
        <p:nvSpPr>
          <p:cNvPr id="11" name="Content Placeholder 2"/>
          <p:cNvSpPr txBox="1">
            <a:spLocks/>
          </p:cNvSpPr>
          <p:nvPr/>
        </p:nvSpPr>
        <p:spPr>
          <a:xfrm>
            <a:off x="282821" y="1202553"/>
            <a:ext cx="6031994" cy="395261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it-IT" sz="2745" dirty="0">
                <a:gradFill>
                  <a:gsLst>
                    <a:gs pos="1250">
                      <a:srgbClr val="FFFFFF"/>
                    </a:gs>
                    <a:gs pos="100000">
                      <a:srgbClr val="FFFFFF"/>
                    </a:gs>
                  </a:gsLst>
                  <a:lin ang="5400000" scaled="0"/>
                </a:gradFill>
              </a:rPr>
              <a:t>D</a:t>
            </a:r>
            <a:r>
              <a:rPr lang="it-IT" sz="2745" dirty="0">
                <a:gradFill>
                  <a:gsLst>
                    <a:gs pos="1250">
                      <a:srgbClr val="FFFFFF"/>
                    </a:gs>
                    <a:gs pos="100000">
                      <a:srgbClr val="FFFFFF"/>
                    </a:gs>
                  </a:gsLst>
                  <a:lin ang="5400000" scaled="0"/>
                </a:gradFill>
              </a:rPr>
              <a:t>ebug Android from Visual Studio</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oes not conflict with Hyper-V so you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don’t waste time reconfiguring your </a:t>
            </a:r>
            <a:r>
              <a:rPr lang="en-US" sz="1568" dirty="0">
                <a:gradFill>
                  <a:gsLst>
                    <a:gs pos="0">
                      <a:srgbClr val="FFFFFF"/>
                    </a:gs>
                    <a:gs pos="86000">
                      <a:srgbClr val="FFFFFF"/>
                    </a:gs>
                  </a:gsLst>
                  <a:path path="circle">
                    <a:fillToRect r="100000" b="100000"/>
                  </a:path>
                </a:gradFill>
                <a:latin typeface="+mn-lt"/>
              </a:rPr>
              <a:t>computer</a:t>
            </a:r>
            <a:endParaRPr lang="en-US" sz="1568" dirty="0">
              <a:gradFill>
                <a:gsLst>
                  <a:gs pos="0">
                    <a:srgbClr val="FFFFFF"/>
                  </a:gs>
                  <a:gs pos="86000">
                    <a:srgbClr val="FFFFFF"/>
                  </a:gs>
                </a:gsLst>
                <a:path path="circle">
                  <a:fillToRect r="100000" b="100000"/>
                </a:path>
              </a:gradFill>
              <a:latin typeface="+mn-lt"/>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Launch from Visual Studio 2015 and can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use </a:t>
            </a:r>
            <a:r>
              <a:rPr lang="en-US" sz="1568" dirty="0">
                <a:gradFill>
                  <a:gsLst>
                    <a:gs pos="0">
                      <a:srgbClr val="FFFFFF"/>
                    </a:gs>
                    <a:gs pos="86000">
                      <a:srgbClr val="FFFFFF"/>
                    </a:gs>
                  </a:gsLst>
                  <a:path path="circle">
                    <a:fillToRect r="100000" b="100000"/>
                  </a:path>
                </a:gradFill>
                <a:latin typeface="+mn-lt"/>
              </a:rPr>
              <a:t>separately</a:t>
            </a:r>
            <a:endParaRPr lang="en-US" sz="1568" dirty="0">
              <a:gradFill>
                <a:gsLst>
                  <a:gs pos="0">
                    <a:srgbClr val="FFFFFF"/>
                  </a:gs>
                  <a:gs pos="86000">
                    <a:srgbClr val="FFFFFF"/>
                  </a:gs>
                </a:gsLst>
                <a:path path="circle">
                  <a:fillToRect r="100000" b="100000"/>
                </a:path>
              </a:gradFill>
              <a:latin typeface="+mn-lt"/>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Works with C++, Apache Cordova and C# with </a:t>
            </a:r>
            <a:r>
              <a:rPr lang="en-US" sz="1568" dirty="0" err="1">
                <a:gradFill>
                  <a:gsLst>
                    <a:gs pos="0">
                      <a:srgbClr val="FFFFFF"/>
                    </a:gs>
                    <a:gs pos="86000">
                      <a:srgbClr val="FFFFFF"/>
                    </a:gs>
                  </a:gsLst>
                  <a:path path="circle">
                    <a:fillToRect r="100000" b="100000"/>
                  </a:path>
                </a:gradFill>
                <a:latin typeface="+mn-lt"/>
              </a:rPr>
              <a:t>Xamarin</a:t>
            </a:r>
            <a:endParaRPr lang="en-US" sz="1568" dirty="0">
              <a:gradFill>
                <a:gsLst>
                  <a:gs pos="0">
                    <a:srgbClr val="FFFFFF"/>
                  </a:gs>
                  <a:gs pos="86000">
                    <a:srgbClr val="FFFFFF"/>
                  </a:gs>
                </a:gsLst>
                <a:path path="circle">
                  <a:fillToRect r="100000" b="100000"/>
                </a:path>
              </a:gradFill>
              <a:latin typeface="+mn-lt"/>
            </a:endParaRP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Capabilities</a:t>
            </a:r>
            <a:endParaRPr lang="en-US" sz="2745" dirty="0">
              <a:gradFill>
                <a:gsLst>
                  <a:gs pos="1250">
                    <a:srgbClr val="FFFFFF"/>
                  </a:gs>
                  <a:gs pos="100000">
                    <a:srgbClr val="FFFFFF"/>
                  </a:gs>
                </a:gsLst>
                <a:lin ang="5400000" scaled="0"/>
              </a:gradFill>
            </a:endParaRPr>
          </a:p>
          <a:p>
            <a:pPr marL="337702" indent="0" defTabSz="914098">
              <a:spcBef>
                <a:spcPts val="1176"/>
              </a:spcBef>
              <a:buNone/>
            </a:pPr>
            <a:r>
              <a:rPr lang="en-US" sz="1568" b="1" dirty="0">
                <a:gradFill>
                  <a:gsLst>
                    <a:gs pos="0">
                      <a:srgbClr val="FFFFFF"/>
                    </a:gs>
                    <a:gs pos="86000">
                      <a:srgbClr val="FFFFFF"/>
                    </a:gs>
                  </a:gsLst>
                  <a:path path="circle">
                    <a:fillToRect r="100000" b="100000"/>
                  </a:path>
                </a:gradFill>
                <a:latin typeface="+mn-lt"/>
              </a:rPr>
              <a:t>Sensor simulation</a:t>
            </a:r>
            <a:r>
              <a:rPr lang="en-US" sz="1568" dirty="0">
                <a:gradFill>
                  <a:gsLst>
                    <a:gs pos="0">
                      <a:srgbClr val="FFFFFF"/>
                    </a:gs>
                    <a:gs pos="86000">
                      <a:srgbClr val="FFFFFF"/>
                    </a:gs>
                  </a:gsLst>
                  <a:path path="circle">
                    <a:fillToRect r="100000" b="100000"/>
                  </a:path>
                </a:gradFill>
                <a:latin typeface="+mn-lt"/>
              </a:rPr>
              <a:t>: zoom, </a:t>
            </a:r>
            <a:r>
              <a:rPr lang="en-US" sz="1568" dirty="0">
                <a:gradFill>
                  <a:gsLst>
                    <a:gs pos="0">
                      <a:srgbClr val="FFFFFF"/>
                    </a:gs>
                    <a:gs pos="86000">
                      <a:srgbClr val="FFFFFF"/>
                    </a:gs>
                  </a:gsLst>
                  <a:path path="circle">
                    <a:fillToRect r="100000" b="100000"/>
                  </a:path>
                </a:gradFill>
                <a:latin typeface="+mn-lt"/>
              </a:rPr>
              <a:t>orientation/rotation</a:t>
            </a:r>
            <a:r>
              <a:rPr lang="en-US" sz="1568" dirty="0">
                <a:gradFill>
                  <a:gsLst>
                    <a:gs pos="0">
                      <a:srgbClr val="FFFFFF"/>
                    </a:gs>
                    <a:gs pos="86000">
                      <a:srgbClr val="FFFFFF"/>
                    </a:gs>
                  </a:gsLst>
                  <a:path path="circle">
                    <a:fillToRect r="100000" b="100000"/>
                  </a:path>
                </a:gradFill>
                <a:latin typeface="+mn-lt"/>
              </a:rPr>
              <a:t>, </a:t>
            </a:r>
            <a:r>
              <a:rPr lang="en-US" sz="1568" dirty="0">
                <a:gradFill>
                  <a:gsLst>
                    <a:gs pos="0">
                      <a:srgbClr val="FFFFFF"/>
                    </a:gs>
                    <a:gs pos="86000">
                      <a:srgbClr val="FFFFFF"/>
                    </a:gs>
                  </a:gsLst>
                  <a:path path="circle">
                    <a:fillToRect r="100000" b="100000"/>
                  </a:path>
                </a:gradFill>
                <a:latin typeface="+mn-lt"/>
              </a:rPr>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ccelerometer</a:t>
            </a:r>
            <a:endParaRPr lang="en-US" sz="1568" dirty="0">
              <a:gradFill>
                <a:gsLst>
                  <a:gs pos="0">
                    <a:srgbClr val="FFFFFF"/>
                  </a:gs>
                  <a:gs pos="86000">
                    <a:srgbClr val="FFFFFF"/>
                  </a:gs>
                </a:gsLst>
                <a:path path="circle">
                  <a:fillToRect r="100000" b="100000"/>
                </a:path>
              </a:gradFill>
              <a:latin typeface="+mn-lt"/>
            </a:endParaRPr>
          </a:p>
          <a:p>
            <a:pPr marL="337702" indent="0" defTabSz="914098">
              <a:spcBef>
                <a:spcPts val="1176"/>
              </a:spcBef>
              <a:buNone/>
            </a:pPr>
            <a:r>
              <a:rPr lang="en-US" sz="1568" b="1" dirty="0">
                <a:gradFill>
                  <a:gsLst>
                    <a:gs pos="0">
                      <a:srgbClr val="FFFFFF"/>
                    </a:gs>
                    <a:gs pos="86000">
                      <a:srgbClr val="FFFFFF"/>
                    </a:gs>
                  </a:gsLst>
                  <a:path path="circle">
                    <a:fillToRect r="100000" b="100000"/>
                  </a:path>
                </a:gradFill>
                <a:latin typeface="+mn-lt"/>
              </a:rPr>
              <a:t>Hardware simulation</a:t>
            </a:r>
            <a:r>
              <a:rPr lang="en-US" sz="1568" dirty="0">
                <a:gradFill>
                  <a:gsLst>
                    <a:gs pos="0">
                      <a:srgbClr val="FFFFFF"/>
                    </a:gs>
                    <a:gs pos="86000">
                      <a:srgbClr val="FFFFFF"/>
                    </a:gs>
                  </a:gsLst>
                  <a:path path="circle">
                    <a:fillToRect r="100000" b="100000"/>
                  </a:path>
                </a:gradFill>
                <a:latin typeface="+mn-lt"/>
              </a:rPr>
              <a:t>: network info, location,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battery simulation, screenshots, SD card, camera</a:t>
            </a: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44734" t="140" r="3685" b="-140"/>
          <a:stretch/>
        </p:blipFill>
        <p:spPr>
          <a:xfrm>
            <a:off x="6294253" y="-22236"/>
            <a:ext cx="5899051" cy="6902471"/>
          </a:xfrm>
          <a:prstGeom prst="rect">
            <a:avLst/>
          </a:prstGeom>
        </p:spPr>
      </p:pic>
    </p:spTree>
    <p:extLst>
      <p:ext uri="{BB962C8B-B14F-4D97-AF65-F5344CB8AC3E}">
        <p14:creationId xmlns:p14="http://schemas.microsoft.com/office/powerpoint/2010/main" val="260064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Visual Studio Code Preview</a:t>
            </a:r>
            <a:endParaRPr lang="en-US" sz="4705" dirty="0">
              <a:solidFill>
                <a:schemeClr val="bg1"/>
              </a:solidFill>
            </a:endParaRPr>
          </a:p>
        </p:txBody>
      </p:sp>
      <p:sp>
        <p:nvSpPr>
          <p:cNvPr id="12" name="Content Placeholder 2"/>
          <p:cNvSpPr txBox="1">
            <a:spLocks/>
          </p:cNvSpPr>
          <p:nvPr/>
        </p:nvSpPr>
        <p:spPr>
          <a:xfrm>
            <a:off x="282821" y="1803157"/>
            <a:ext cx="6031994" cy="3083643"/>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en-US" sz="2745" dirty="0">
                <a:gradFill>
                  <a:gsLst>
                    <a:gs pos="1250">
                      <a:srgbClr val="FFFFFF"/>
                    </a:gs>
                    <a:gs pos="100000">
                      <a:srgbClr val="FFFFFF"/>
                    </a:gs>
                  </a:gsLst>
                  <a:lin ang="5400000" scaled="0"/>
                </a:gradFill>
              </a:rPr>
              <a:t>Lightweight and </a:t>
            </a:r>
            <a:r>
              <a:rPr lang="en-US" sz="2745" dirty="0">
                <a:gradFill>
                  <a:gsLst>
                    <a:gs pos="1250">
                      <a:srgbClr val="FFFFFF"/>
                    </a:gs>
                    <a:gs pos="100000">
                      <a:srgbClr val="FFFFFF"/>
                    </a:gs>
                  </a:gsLst>
                  <a:lin ang="5400000" scaled="0"/>
                </a:gradFill>
              </a:rPr>
              <a:t>powerful</a:t>
            </a:r>
            <a:endParaRPr lang="it-IT" sz="2745" dirty="0">
              <a:gradFill>
                <a:gsLst>
                  <a:gs pos="1250">
                    <a:srgbClr val="FFFFFF"/>
                  </a:gs>
                  <a:gs pos="100000">
                    <a:srgbClr val="FFFFFF"/>
                  </a:gs>
                </a:gsLst>
                <a:lin ang="5400000" scaled="0"/>
              </a:gradFill>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First class support for ASP.NET and Node.js</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Write code in your favorite programming languag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Intelligent code authoring, understanding and navigation</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ebugging and </a:t>
            </a:r>
            <a:r>
              <a:rPr lang="en-US" sz="1568" dirty="0" err="1">
                <a:gradFill>
                  <a:gsLst>
                    <a:gs pos="0">
                      <a:srgbClr val="FFFFFF"/>
                    </a:gs>
                    <a:gs pos="86000">
                      <a:srgbClr val="FFFFFF"/>
                    </a:gs>
                  </a:gsLst>
                  <a:path path="circle">
                    <a:fillToRect r="100000" b="100000"/>
                  </a:path>
                </a:gradFill>
                <a:latin typeface="+mn-lt"/>
              </a:rPr>
              <a:t>Git</a:t>
            </a:r>
            <a:r>
              <a:rPr lang="en-US" sz="1568" dirty="0">
                <a:gradFill>
                  <a:gsLst>
                    <a:gs pos="0">
                      <a:srgbClr val="FFFFFF"/>
                    </a:gs>
                    <a:gs pos="86000">
                      <a:srgbClr val="FFFFFF"/>
                    </a:gs>
                  </a:gsLst>
                  <a:path path="circle">
                    <a:fillToRect r="100000" b="100000"/>
                  </a:path>
                </a:gradFill>
                <a:latin typeface="+mn-lt"/>
              </a:rPr>
              <a:t> support at your fingertips</a:t>
            </a:r>
            <a:endParaRPr lang="en-US" sz="1568" dirty="0">
              <a:gradFill>
                <a:gsLst>
                  <a:gs pos="0">
                    <a:srgbClr val="FFFFFF"/>
                  </a:gs>
                  <a:gs pos="86000">
                    <a:srgbClr val="FFFFFF"/>
                  </a:gs>
                </a:gsLst>
                <a:path path="circle">
                  <a:fillToRect r="100000" b="100000"/>
                </a:path>
              </a:gradFill>
              <a:latin typeface="+mn-lt"/>
            </a:endParaRPr>
          </a:p>
          <a:p>
            <a:pPr marL="336145" indent="-336145" defTabSz="914367">
              <a:spcBef>
                <a:spcPts val="2353"/>
              </a:spcBef>
              <a:buClr>
                <a:srgbClr val="FFFFFF"/>
              </a:buClr>
              <a:defRPr/>
            </a:pPr>
            <a:r>
              <a:rPr lang="it-IT" sz="2745" dirty="0">
                <a:gradFill>
                  <a:gsLst>
                    <a:gs pos="1250">
                      <a:srgbClr val="FFFFFF"/>
                    </a:gs>
                    <a:gs pos="100000">
                      <a:srgbClr val="FFFFFF"/>
                    </a:gs>
                  </a:gsLst>
                  <a:lin ang="5400000" scaled="0"/>
                </a:gradFill>
              </a:rPr>
              <a:t>Cross-platform</a:t>
            </a:r>
            <a:endParaRPr lang="en-US" sz="2745" dirty="0">
              <a:gradFill>
                <a:gsLst>
                  <a:gs pos="1250">
                    <a:srgbClr val="FFFFFF"/>
                  </a:gs>
                  <a:gs pos="100000">
                    <a:srgbClr val="FFFFFF"/>
                  </a:gs>
                </a:gsLst>
                <a:lin ang="5400000" scaled="0"/>
              </a:gradFill>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vailable for Mac OS X, Linux and </a:t>
            </a:r>
            <a:r>
              <a:rPr lang="en-US" sz="1568" dirty="0">
                <a:gradFill>
                  <a:gsLst>
                    <a:gs pos="0">
                      <a:srgbClr val="FFFFFF"/>
                    </a:gs>
                    <a:gs pos="86000">
                      <a:srgbClr val="FFFFFF"/>
                    </a:gs>
                  </a:gsLst>
                  <a:path path="circle">
                    <a:fillToRect r="100000" b="100000"/>
                  </a:path>
                </a:gradFill>
                <a:latin typeface="+mn-lt"/>
              </a:rPr>
              <a:t>Windows</a:t>
            </a:r>
            <a:endParaRPr lang="en-US" sz="1568" dirty="0">
              <a:gradFill>
                <a:gsLst>
                  <a:gs pos="0">
                    <a:srgbClr val="FFFFFF"/>
                  </a:gs>
                  <a:gs pos="86000">
                    <a:srgbClr val="FFFFFF"/>
                  </a:gs>
                </a:gsLst>
                <a:path path="circle">
                  <a:fillToRect r="100000" b="100000"/>
                </a:path>
              </a:gradFill>
              <a:latin typeface="+mn-lt"/>
            </a:endParaRP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r="40461"/>
          <a:stretch/>
        </p:blipFill>
        <p:spPr>
          <a:xfrm>
            <a:off x="6314816" y="487"/>
            <a:ext cx="5870960" cy="6857027"/>
          </a:xfrm>
          <a:prstGeom prst="rect">
            <a:avLst/>
          </a:prstGeom>
        </p:spPr>
      </p:pic>
    </p:spTree>
    <p:extLst>
      <p:ext uri="{BB962C8B-B14F-4D97-AF65-F5344CB8AC3E}">
        <p14:creationId xmlns:p14="http://schemas.microsoft.com/office/powerpoint/2010/main" val="136581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425" r="52552" b="11689"/>
          <a:stretch/>
        </p:blipFill>
        <p:spPr>
          <a:xfrm>
            <a:off x="6320107" y="486"/>
            <a:ext cx="5871893" cy="6853916"/>
          </a:xfrm>
          <a:prstGeom prst="rect">
            <a:avLst/>
          </a:prstGeom>
        </p:spPr>
      </p:pic>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ASP.NET</a:t>
            </a:r>
            <a:endParaRPr lang="en-US" sz="4705" dirty="0">
              <a:solidFill>
                <a:schemeClr val="bg1"/>
              </a:solidFill>
            </a:endParaRPr>
          </a:p>
        </p:txBody>
      </p:sp>
      <p:sp>
        <p:nvSpPr>
          <p:cNvPr id="12" name="Content Placeholder 2"/>
          <p:cNvSpPr txBox="1">
            <a:spLocks/>
          </p:cNvSpPr>
          <p:nvPr/>
        </p:nvSpPr>
        <p:spPr>
          <a:xfrm>
            <a:off x="282821" y="1202553"/>
            <a:ext cx="6031994" cy="336726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it-IT" sz="2745" dirty="0">
                <a:gradFill>
                  <a:gsLst>
                    <a:gs pos="1250">
                      <a:srgbClr val="FFFFFF"/>
                    </a:gs>
                    <a:gs pos="100000">
                      <a:srgbClr val="FFFFFF"/>
                    </a:gs>
                  </a:gsLst>
                  <a:lin ang="5400000" scaled="0"/>
                </a:gradFill>
              </a:rPr>
              <a:t>Cross-platform</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Target multiple platforms by deploying your web </a:t>
            </a:r>
            <a:r>
              <a:rPr lang="en-US" sz="1568" dirty="0">
                <a:gradFill>
                  <a:gsLst>
                    <a:gs pos="0">
                      <a:srgbClr val="FFFFFF"/>
                    </a:gs>
                    <a:gs pos="86000">
                      <a:srgbClr val="FFFFFF"/>
                    </a:gs>
                  </a:gsLst>
                  <a:path path="circle">
                    <a:fillToRect r="100000" b="100000"/>
                  </a:path>
                </a:gradFill>
                <a:latin typeface="+mn-lt"/>
              </a:rPr>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pplication </a:t>
            </a:r>
            <a:r>
              <a:rPr lang="en-US" sz="1568" dirty="0">
                <a:gradFill>
                  <a:gsLst>
                    <a:gs pos="0">
                      <a:srgbClr val="FFFFFF"/>
                    </a:gs>
                    <a:gs pos="86000">
                      <a:srgbClr val="FFFFFF"/>
                    </a:gs>
                  </a:gsLst>
                  <a:path path="circle">
                    <a:fillToRect r="100000" b="100000"/>
                  </a:path>
                </a:gradFill>
                <a:latin typeface="+mn-lt"/>
              </a:rPr>
              <a:t>to Windows, Linux or </a:t>
            </a:r>
            <a:r>
              <a:rPr lang="en-US" sz="1568" dirty="0">
                <a:gradFill>
                  <a:gsLst>
                    <a:gs pos="0">
                      <a:srgbClr val="FFFFFF"/>
                    </a:gs>
                    <a:gs pos="86000">
                      <a:srgbClr val="FFFFFF"/>
                    </a:gs>
                  </a:gsLst>
                  <a:path path="circle">
                    <a:fillToRect r="100000" b="100000"/>
                  </a:path>
                </a:gradFill>
                <a:latin typeface="+mn-lt"/>
              </a:rPr>
              <a:t>Mac</a:t>
            </a:r>
            <a:endParaRPr lang="en-US" sz="1568" dirty="0">
              <a:gradFill>
                <a:gsLst>
                  <a:gs pos="0">
                    <a:srgbClr val="FFFFFF"/>
                  </a:gs>
                  <a:gs pos="86000">
                    <a:srgbClr val="FFFFFF"/>
                  </a:gs>
                </a:gsLst>
                <a:path path="circle">
                  <a:fillToRect r="100000" b="100000"/>
                </a:path>
              </a:gradFill>
              <a:latin typeface="+mn-lt"/>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evelop applications on Windows, </a:t>
            </a:r>
            <a:r>
              <a:rPr lang="en-US" sz="1568" dirty="0">
                <a:gradFill>
                  <a:gsLst>
                    <a:gs pos="0">
                      <a:srgbClr val="FFFFFF"/>
                    </a:gs>
                    <a:gs pos="86000">
                      <a:srgbClr val="FFFFFF"/>
                    </a:gs>
                  </a:gsLst>
                  <a:path path="circle">
                    <a:fillToRect r="100000" b="100000"/>
                  </a:path>
                </a:gradFill>
                <a:latin typeface="+mn-lt"/>
              </a:rPr>
              <a:t>Linux, </a:t>
            </a:r>
            <a:r>
              <a:rPr lang="en-US" sz="1568" dirty="0">
                <a:gradFill>
                  <a:gsLst>
                    <a:gs pos="0">
                      <a:srgbClr val="FFFFFF"/>
                    </a:gs>
                    <a:gs pos="86000">
                      <a:srgbClr val="FFFFFF"/>
                    </a:gs>
                  </a:gsLst>
                  <a:path path="circle">
                    <a:fillToRect r="100000" b="100000"/>
                  </a:path>
                </a:gradFill>
                <a:latin typeface="+mn-lt"/>
              </a:rPr>
              <a:t>or Mac </a:t>
            </a:r>
            <a:r>
              <a:rPr lang="en-US" sz="1568" dirty="0">
                <a:gradFill>
                  <a:gsLst>
                    <a:gs pos="0">
                      <a:srgbClr val="FFFFFF"/>
                    </a:gs>
                    <a:gs pos="86000">
                      <a:srgbClr val="FFFFFF"/>
                    </a:gs>
                  </a:gsLst>
                  <a:path path="circle">
                    <a:fillToRect r="100000" b="100000"/>
                  </a:path>
                </a:gradFill>
                <a:latin typeface="+mn-lt"/>
              </a:rPr>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nd </a:t>
            </a:r>
            <a:r>
              <a:rPr lang="en-US" sz="1568" dirty="0">
                <a:gradFill>
                  <a:gsLst>
                    <a:gs pos="0">
                      <a:srgbClr val="FFFFFF"/>
                    </a:gs>
                    <a:gs pos="86000">
                      <a:srgbClr val="FFFFFF"/>
                    </a:gs>
                  </a:gsLst>
                  <a:path path="circle">
                    <a:fillToRect r="100000" b="100000"/>
                  </a:path>
                </a:gradFill>
                <a:latin typeface="+mn-lt"/>
              </a:rPr>
              <a:t>use any code editor for quick editing</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Open</a:t>
            </a:r>
            <a:endParaRPr lang="en-US" sz="2745" dirty="0">
              <a:gradFill>
                <a:gsLst>
                  <a:gs pos="1250">
                    <a:srgbClr val="FFFFFF"/>
                  </a:gs>
                  <a:gs pos="100000">
                    <a:srgbClr val="FFFFFF"/>
                  </a:gs>
                </a:gsLst>
                <a:lin ang="5400000" scaled="0"/>
              </a:gradFill>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Contribute to the evolution of ASP.NET 5 on </a:t>
            </a:r>
            <a:r>
              <a:rPr lang="en-US" sz="1568" dirty="0">
                <a:gradFill>
                  <a:gsLst>
                    <a:gs pos="0">
                      <a:srgbClr val="FFFFFF"/>
                    </a:gs>
                    <a:gs pos="86000">
                      <a:srgbClr val="FFFFFF"/>
                    </a:gs>
                  </a:gsLst>
                  <a:path path="circle">
                    <a:fillToRect r="100000" b="100000"/>
                  </a:path>
                </a:gradFill>
                <a:latin typeface="+mn-lt"/>
              </a:rPr>
              <a:t>GitHub</a:t>
            </a:r>
            <a:endParaRPr lang="en-US" sz="1568" dirty="0">
              <a:gradFill>
                <a:gsLst>
                  <a:gs pos="0">
                    <a:srgbClr val="FFFFFF"/>
                  </a:gs>
                  <a:gs pos="86000">
                    <a:srgbClr val="FFFFFF"/>
                  </a:gs>
                </a:gsLst>
                <a:path path="circle">
                  <a:fillToRect r="100000" b="100000"/>
                </a:path>
              </a:gradFill>
              <a:latin typeface="+mn-lt"/>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ll developers can use ASP.NET from Visual Studio C</a:t>
            </a:r>
            <a:r>
              <a:rPr lang="en-US" sz="1568" dirty="0">
                <a:gradFill>
                  <a:gsLst>
                    <a:gs pos="0">
                      <a:srgbClr val="FFFFFF"/>
                    </a:gs>
                    <a:gs pos="86000">
                      <a:srgbClr val="FFFFFF"/>
                    </a:gs>
                  </a:gsLst>
                  <a:path path="circle">
                    <a:fillToRect r="100000" b="100000"/>
                  </a:path>
                </a:gradFill>
                <a:latin typeface="+mn-lt"/>
              </a:rPr>
              <a:t>ommunity </a:t>
            </a:r>
            <a:r>
              <a:rPr lang="en-US" sz="1568" dirty="0">
                <a:gradFill>
                  <a:gsLst>
                    <a:gs pos="0">
                      <a:srgbClr val="FFFFFF"/>
                    </a:gs>
                    <a:gs pos="86000">
                      <a:srgbClr val="FFFFFF"/>
                    </a:gs>
                  </a:gsLst>
                  <a:path path="circle">
                    <a:fillToRect r="100000" b="100000"/>
                  </a:path>
                </a:gradFill>
                <a:latin typeface="+mn-lt"/>
              </a:rPr>
              <a:t>and higher versions</a:t>
            </a:r>
          </a:p>
        </p:txBody>
      </p:sp>
    </p:spTree>
    <p:extLst>
      <p:ext uri="{BB962C8B-B14F-4D97-AF65-F5344CB8AC3E}">
        <p14:creationId xmlns:p14="http://schemas.microsoft.com/office/powerpoint/2010/main" val="3463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3083992" y="486"/>
            <a:ext cx="2925857" cy="6857028"/>
          </a:xfrm>
          <a:prstGeom prst="rect">
            <a:avLst/>
          </a:prstGeom>
          <a:solidFill>
            <a:srgbClr val="4472C4">
              <a:lumMod val="75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260" name="Picture 259"/>
          <p:cNvPicPr>
            <a:picLocks noChangeAspect="1"/>
          </p:cNvPicPr>
          <p:nvPr/>
        </p:nvPicPr>
        <p:blipFill rotWithShape="1">
          <a:blip r:embed="rId3"/>
          <a:srcRect r="66202"/>
          <a:stretch/>
        </p:blipFill>
        <p:spPr>
          <a:xfrm>
            <a:off x="3399199" y="5849321"/>
            <a:ext cx="366122" cy="669857"/>
          </a:xfrm>
          <a:prstGeom prst="rect">
            <a:avLst/>
          </a:prstGeom>
        </p:spPr>
      </p:pic>
      <p:sp>
        <p:nvSpPr>
          <p:cNvPr id="261" name="TextBox 260"/>
          <p:cNvSpPr txBox="1"/>
          <p:nvPr/>
        </p:nvSpPr>
        <p:spPr>
          <a:xfrm>
            <a:off x="3399198" y="6224352"/>
            <a:ext cx="336844" cy="95044"/>
          </a:xfrm>
          <a:prstGeom prst="rect">
            <a:avLst/>
          </a:prstGeom>
          <a:noFill/>
        </p:spPr>
        <p:txBody>
          <a:bodyPr wrap="square" lIns="0" tIns="0" rIns="0" bIns="0" rtlCol="0">
            <a:spAutoFit/>
          </a:bodyPr>
          <a:lstStyle/>
          <a:p>
            <a:pPr defTabSz="914049">
              <a:lnSpc>
                <a:spcPct val="90000"/>
              </a:lnSpc>
            </a:pPr>
            <a:r>
              <a:rPr lang="en-US" sz="686"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r>
              <a:rPr lang="en-US" sz="686" dirty="0">
                <a:solidFill>
                  <a:srgbClr val="FFFFFF"/>
                </a:solidFill>
                <a:latin typeface="Calibri" panose="020F0502020204030204"/>
                <a:ea typeface="Segoe UI" pitchFamily="34" charset="0"/>
                <a:cs typeface="Segoe UI" pitchFamily="34" charset="0"/>
              </a:rPr>
              <a:t>TFS</a:t>
            </a:r>
            <a:endParaRPr lang="en-US" sz="686" dirty="0">
              <a:solidFill>
                <a:srgbClr val="FFFFFF"/>
              </a:solidFill>
              <a:latin typeface="Calibri" panose="020F0502020204030204"/>
              <a:ea typeface="Segoe UI" pitchFamily="34" charset="0"/>
              <a:cs typeface="Segoe UI" pitchFamily="34" charset="0"/>
            </a:endParaRPr>
          </a:p>
        </p:txBody>
      </p:sp>
      <p:sp>
        <p:nvSpPr>
          <p:cNvPr id="117" name="Rectangle 116"/>
          <p:cNvSpPr/>
          <p:nvPr/>
        </p:nvSpPr>
        <p:spPr>
          <a:xfrm>
            <a:off x="1" y="486"/>
            <a:ext cx="2938269" cy="6857028"/>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3208" y="5670038"/>
            <a:ext cx="807118" cy="530956"/>
          </a:xfrm>
          <a:prstGeom prst="rect">
            <a:avLst/>
          </a:prstGeom>
        </p:spPr>
      </p:pic>
      <p:sp>
        <p:nvSpPr>
          <p:cNvPr id="119" name="Rectangle 118"/>
          <p:cNvSpPr/>
          <p:nvPr/>
        </p:nvSpPr>
        <p:spPr>
          <a:xfrm>
            <a:off x="9266144" y="486"/>
            <a:ext cx="2925857" cy="6857028"/>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7" name="Rectangle 126"/>
          <p:cNvSpPr/>
          <p:nvPr/>
        </p:nvSpPr>
        <p:spPr>
          <a:xfrm>
            <a:off x="10272732" y="3137057"/>
            <a:ext cx="1919269" cy="3070830"/>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2" name="Freeform 6"/>
          <p:cNvSpPr>
            <a:spLocks/>
          </p:cNvSpPr>
          <p:nvPr/>
        </p:nvSpPr>
        <p:spPr bwMode="auto">
          <a:xfrm>
            <a:off x="10936641" y="5849321"/>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chemeClr val="bg1">
              <a:alpha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29" name="Rectangle 128"/>
          <p:cNvSpPr/>
          <p:nvPr/>
        </p:nvSpPr>
        <p:spPr>
          <a:xfrm>
            <a:off x="1019000" y="2240641"/>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3" name="Picture 2"/>
          <p:cNvPicPr>
            <a:picLocks noChangeAspect="1"/>
          </p:cNvPicPr>
          <p:nvPr/>
        </p:nvPicPr>
        <p:blipFill rotWithShape="1">
          <a:blip r:embed="rId5"/>
          <a:srcRect l="36309" r="1" b="29163"/>
          <a:stretch/>
        </p:blipFill>
        <p:spPr>
          <a:xfrm>
            <a:off x="378" y="5137804"/>
            <a:ext cx="1792830" cy="1719710"/>
          </a:xfrm>
          <a:prstGeom prst="rect">
            <a:avLst/>
          </a:prstGeom>
        </p:spPr>
      </p:pic>
      <p:sp>
        <p:nvSpPr>
          <p:cNvPr id="114" name="Rectangle 113"/>
          <p:cNvSpPr/>
          <p:nvPr/>
        </p:nvSpPr>
        <p:spPr>
          <a:xfrm>
            <a:off x="6181566" y="486"/>
            <a:ext cx="2925857" cy="6857028"/>
          </a:xfrm>
          <a:prstGeom prst="rect">
            <a:avLst/>
          </a:prstGeom>
          <a:solidFill>
            <a:srgbClr val="4472C4">
              <a:lumMod val="50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6" name="Rectangle 175"/>
          <p:cNvSpPr/>
          <p:nvPr/>
        </p:nvSpPr>
        <p:spPr>
          <a:xfrm rot="18900000">
            <a:off x="820140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5" name="Rectangle 174"/>
          <p:cNvSpPr/>
          <p:nvPr/>
        </p:nvSpPr>
        <p:spPr>
          <a:xfrm rot="18900000">
            <a:off x="5140260"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0" name="TextBox 119"/>
          <p:cNvSpPr txBox="1"/>
          <p:nvPr/>
        </p:nvSpPr>
        <p:spPr>
          <a:xfrm>
            <a:off x="991431" y="1546314"/>
            <a:ext cx="1926917" cy="693970"/>
          </a:xfrm>
          <a:prstGeom prst="rect">
            <a:avLst/>
          </a:prstGeom>
          <a:noFill/>
        </p:spPr>
        <p:txBody>
          <a:bodyPr wrap="square" rtlCol="0">
            <a:spAutoFit/>
          </a:bodyPr>
          <a:lstStyle/>
          <a:p>
            <a:pPr defTabSz="896386"/>
            <a:r>
              <a:rPr lang="en-US" sz="3921" spc="-78" dirty="0">
                <a:ln w="3175">
                  <a:solidFill>
                    <a:prstClr val="white"/>
                  </a:solidFill>
                </a:ln>
                <a:solidFill>
                  <a:prstClr val="white"/>
                </a:solidFill>
                <a:latin typeface="Arial" panose="020B0604020202020204" pitchFamily="34" charset="0"/>
                <a:cs typeface="Arial" panose="020B0604020202020204" pitchFamily="34" charset="0"/>
              </a:rPr>
              <a:t>01</a:t>
            </a:r>
          </a:p>
        </p:txBody>
      </p:sp>
      <p:sp>
        <p:nvSpPr>
          <p:cNvPr id="130" name="TextBox 129"/>
          <p:cNvSpPr txBox="1"/>
          <p:nvPr/>
        </p:nvSpPr>
        <p:spPr>
          <a:xfrm>
            <a:off x="1142897" y="4558964"/>
            <a:ext cx="1686958" cy="180819"/>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31" name="Picture 1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60563" y="4854527"/>
            <a:ext cx="1651626" cy="330451"/>
          </a:xfrm>
          <a:prstGeom prst="rect">
            <a:avLst/>
          </a:prstGeom>
        </p:spPr>
      </p:pic>
      <p:sp>
        <p:nvSpPr>
          <p:cNvPr id="132" name="TextBox 131"/>
          <p:cNvSpPr txBox="1"/>
          <p:nvPr/>
        </p:nvSpPr>
        <p:spPr>
          <a:xfrm rot="16200000">
            <a:off x="-183167" y="3007046"/>
            <a:ext cx="1919723" cy="392245"/>
          </a:xfrm>
          <a:prstGeom prst="rect">
            <a:avLst/>
          </a:prstGeom>
          <a:noFill/>
        </p:spPr>
        <p:txBody>
          <a:bodyPr wrap="square" rtlCol="0">
            <a:spAutoFit/>
          </a:bodyPr>
          <a:lstStyle/>
          <a:p>
            <a:pPr algn="r" defTabSz="896386"/>
            <a:r>
              <a:rPr lang="en-US" sz="1961" spc="49" dirty="0">
                <a:solidFill>
                  <a:prstClr val="white"/>
                </a:solidFill>
                <a:latin typeface="Segoe UI Light" panose="020B0502040204020203" pitchFamily="34" charset="0"/>
                <a:cs typeface="Segoe UI Light" panose="020B0502040204020203" pitchFamily="34" charset="0"/>
              </a:rPr>
              <a:t>Develop</a:t>
            </a:r>
            <a:endParaRPr lang="en-US" sz="1961" spc="49" dirty="0">
              <a:solidFill>
                <a:prstClr val="white"/>
              </a:solidFill>
              <a:latin typeface="Segoe UI Light" panose="020B0502040204020203" pitchFamily="34" charset="0"/>
              <a:cs typeface="Segoe UI Light" panose="020B0502040204020203" pitchFamily="34" charset="0"/>
            </a:endParaRPr>
          </a:p>
        </p:txBody>
      </p:sp>
      <p:sp>
        <p:nvSpPr>
          <p:cNvPr id="133" name="Rectangle 4"/>
          <p:cNvSpPr/>
          <p:nvPr/>
        </p:nvSpPr>
        <p:spPr bwMode="gray">
          <a:xfrm>
            <a:off x="1019000" y="2240642"/>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Developer Workstation</a:t>
            </a:r>
          </a:p>
        </p:txBody>
      </p:sp>
      <p:sp>
        <p:nvSpPr>
          <p:cNvPr id="140" name="Rectangle 4"/>
          <p:cNvSpPr/>
          <p:nvPr/>
        </p:nvSpPr>
        <p:spPr bwMode="gray">
          <a:xfrm>
            <a:off x="1019000" y="3966850"/>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am Collaboration</a:t>
            </a:r>
          </a:p>
        </p:txBody>
      </p:sp>
      <p:grpSp>
        <p:nvGrpSpPr>
          <p:cNvPr id="6" name="Group 5"/>
          <p:cNvGrpSpPr/>
          <p:nvPr/>
        </p:nvGrpSpPr>
        <p:grpSpPr>
          <a:xfrm>
            <a:off x="3727008" y="1815595"/>
            <a:ext cx="2295839" cy="3854442"/>
            <a:chOff x="3716867" y="1661609"/>
            <a:chExt cx="2341875" cy="3931732"/>
          </a:xfrm>
        </p:grpSpPr>
        <p:sp>
          <p:nvSpPr>
            <p:cNvPr id="121" name="TextBox 120"/>
            <p:cNvSpPr txBox="1"/>
            <p:nvPr/>
          </p:nvSpPr>
          <p:spPr>
            <a:xfrm>
              <a:off x="4061143" y="1661609"/>
              <a:ext cx="1965556" cy="707886"/>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2</a:t>
              </a:r>
            </a:p>
          </p:txBody>
        </p:sp>
        <p:sp>
          <p:nvSpPr>
            <p:cNvPr id="124" name="Rectangle 123"/>
            <p:cNvSpPr/>
            <p:nvPr/>
          </p:nvSpPr>
          <p:spPr>
            <a:xfrm>
              <a:off x="4100988" y="2369495"/>
              <a:ext cx="1957754" cy="3223846"/>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5" name="TextBox 124"/>
            <p:cNvSpPr txBox="1"/>
            <p:nvPr/>
          </p:nvSpPr>
          <p:spPr>
            <a:xfrm rot="16200000">
              <a:off x="2922424" y="3171085"/>
              <a:ext cx="1958217" cy="36933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Build &amp; Test</a:t>
              </a:r>
              <a:endParaRPr lang="en-US" sz="1765" spc="49" dirty="0">
                <a:solidFill>
                  <a:prstClr val="white"/>
                </a:solidFill>
                <a:latin typeface="Segoe UI Light" panose="020B0502040204020203" pitchFamily="34" charset="0"/>
                <a:cs typeface="Segoe UI Light" panose="020B0502040204020203" pitchFamily="34" charset="0"/>
              </a:endParaRPr>
            </a:p>
          </p:txBody>
        </p:sp>
        <p:sp>
          <p:nvSpPr>
            <p:cNvPr id="141" name="Rectangle 4"/>
            <p:cNvSpPr/>
            <p:nvPr/>
          </p:nvSpPr>
          <p:spPr bwMode="gray">
            <a:xfrm>
              <a:off x="4100988" y="2369495"/>
              <a:ext cx="1957754"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Build/CI</a:t>
              </a:r>
            </a:p>
          </p:txBody>
        </p:sp>
        <p:sp>
          <p:nvSpPr>
            <p:cNvPr id="142" name="TextBox 141"/>
            <p:cNvSpPr txBox="1"/>
            <p:nvPr/>
          </p:nvSpPr>
          <p:spPr>
            <a:xfrm>
              <a:off x="4207898" y="2970372"/>
              <a:ext cx="1720785" cy="184445"/>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43" name="Pictur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4167" y="3239822"/>
              <a:ext cx="1684745" cy="337077"/>
            </a:xfrm>
            <a:prstGeom prst="rect">
              <a:avLst/>
            </a:prstGeom>
          </p:spPr>
        </p:pic>
        <p:sp>
          <p:nvSpPr>
            <p:cNvPr id="144" name="Rectangle 4"/>
            <p:cNvSpPr/>
            <p:nvPr/>
          </p:nvSpPr>
          <p:spPr bwMode="gray">
            <a:xfrm>
              <a:off x="4103950" y="4119414"/>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st</a:t>
              </a:r>
            </a:p>
          </p:txBody>
        </p:sp>
        <p:sp>
          <p:nvSpPr>
            <p:cNvPr id="145" name="TextBox 144"/>
            <p:cNvSpPr txBox="1"/>
            <p:nvPr/>
          </p:nvSpPr>
          <p:spPr>
            <a:xfrm>
              <a:off x="4304583" y="3657839"/>
              <a:ext cx="1389874" cy="332000"/>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ease Management </a:t>
              </a:r>
              <a:b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b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for Visual Studio</a:t>
              </a:r>
            </a:p>
          </p:txBody>
        </p:sp>
        <p:sp>
          <p:nvSpPr>
            <p:cNvPr id="146" name="Rectangle 145"/>
            <p:cNvSpPr/>
            <p:nvPr/>
          </p:nvSpPr>
          <p:spPr>
            <a:xfrm>
              <a:off x="4255909" y="5257951"/>
              <a:ext cx="1669047" cy="261610"/>
            </a:xfrm>
            <a:prstGeom prst="rect">
              <a:avLst/>
            </a:prstGeom>
          </p:spPr>
          <p:txBody>
            <a:bodyPr wrap="none">
              <a:spAutoFit/>
            </a:bodyPr>
            <a:lstStyle/>
            <a:p>
              <a:pPr defTabSz="896386"/>
              <a:r>
                <a:rPr lang="en-US" sz="1078" kern="0" dirty="0">
                  <a:gradFill>
                    <a:gsLst>
                      <a:gs pos="0">
                        <a:srgbClr val="FFFFFF"/>
                      </a:gs>
                      <a:gs pos="100000">
                        <a:srgbClr val="FFFFFF"/>
                      </a:gs>
                    </a:gsLst>
                    <a:lin ang="5400000" scaled="0"/>
                  </a:gradFill>
                  <a:ea typeface="Segoe UI" pitchFamily="34" charset="0"/>
                  <a:cs typeface="Segoe UI" pitchFamily="34" charset="0"/>
                </a:rPr>
                <a:t>Microsoft Test Manager</a:t>
              </a:r>
              <a:endParaRPr lang="en-US" sz="1765" kern="0" dirty="0">
                <a:solidFill>
                  <a:sysClr val="windowText" lastClr="000000"/>
                </a:solidFill>
                <a:latin typeface="Calibri" panose="020F0502020204030204"/>
              </a:endParaRPr>
            </a:p>
          </p:txBody>
        </p:sp>
        <p:grpSp>
          <p:nvGrpSpPr>
            <p:cNvPr id="147" name="Group 146"/>
            <p:cNvGrpSpPr/>
            <p:nvPr/>
          </p:nvGrpSpPr>
          <p:grpSpPr>
            <a:xfrm>
              <a:off x="4219473" y="4667092"/>
              <a:ext cx="1721014" cy="586207"/>
              <a:chOff x="4371873" y="4785234"/>
              <a:chExt cx="1721014" cy="586207"/>
            </a:xfrm>
          </p:grpSpPr>
          <p:sp>
            <p:nvSpPr>
              <p:cNvPr id="148" name="TextBox 147"/>
              <p:cNvSpPr txBox="1"/>
              <p:nvPr/>
            </p:nvSpPr>
            <p:spPr>
              <a:xfrm>
                <a:off x="4371873" y="4785234"/>
                <a:ext cx="1720786" cy="184445"/>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49" name="Picture 1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142" y="5034364"/>
                <a:ext cx="1684745" cy="337077"/>
              </a:xfrm>
              <a:prstGeom prst="rect">
                <a:avLst/>
              </a:prstGeom>
            </p:spPr>
          </p:pic>
        </p:grpSp>
      </p:grpSp>
      <p:grpSp>
        <p:nvGrpSpPr>
          <p:cNvPr id="9" name="Group 8"/>
          <p:cNvGrpSpPr/>
          <p:nvPr/>
        </p:nvGrpSpPr>
        <p:grpSpPr>
          <a:xfrm>
            <a:off x="6796841" y="2073085"/>
            <a:ext cx="2310582" cy="3865877"/>
            <a:chOff x="6753641" y="1813101"/>
            <a:chExt cx="2356914" cy="3943396"/>
          </a:xfrm>
        </p:grpSpPr>
        <p:sp>
          <p:nvSpPr>
            <p:cNvPr id="116" name="Rectangle 115"/>
            <p:cNvSpPr/>
            <p:nvPr/>
          </p:nvSpPr>
          <p:spPr>
            <a:xfrm>
              <a:off x="7152801" y="2532651"/>
              <a:ext cx="1957754" cy="3223846"/>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2" name="TextBox 121"/>
            <p:cNvSpPr txBox="1"/>
            <p:nvPr/>
          </p:nvSpPr>
          <p:spPr>
            <a:xfrm>
              <a:off x="7136276" y="1813101"/>
              <a:ext cx="1965556" cy="707886"/>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3</a:t>
              </a:r>
            </a:p>
          </p:txBody>
        </p:sp>
        <p:sp>
          <p:nvSpPr>
            <p:cNvPr id="126" name="TextBox 125"/>
            <p:cNvSpPr txBox="1"/>
            <p:nvPr/>
          </p:nvSpPr>
          <p:spPr>
            <a:xfrm rot="16200000">
              <a:off x="5959198" y="3358713"/>
              <a:ext cx="1958217" cy="36933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Deploy</a:t>
              </a:r>
              <a:endParaRPr lang="en-US" sz="1765" spc="49" dirty="0">
                <a:solidFill>
                  <a:prstClr val="white"/>
                </a:solidFill>
                <a:latin typeface="Segoe UI Light" panose="020B0502040204020203" pitchFamily="34" charset="0"/>
                <a:cs typeface="Segoe UI Light" panose="020B0502040204020203" pitchFamily="34" charset="0"/>
              </a:endParaRPr>
            </a:p>
          </p:txBody>
        </p:sp>
        <p:pic>
          <p:nvPicPr>
            <p:cNvPr id="150" name="Picture 1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74032" y="2920541"/>
              <a:ext cx="1407328" cy="559714"/>
            </a:xfrm>
            <a:prstGeom prst="rect">
              <a:avLst/>
            </a:prstGeom>
          </p:spPr>
        </p:pic>
        <p:sp>
          <p:nvSpPr>
            <p:cNvPr id="151" name="TextBox 150"/>
            <p:cNvSpPr txBox="1"/>
            <p:nvPr/>
          </p:nvSpPr>
          <p:spPr>
            <a:xfrm>
              <a:off x="7375632" y="3542531"/>
              <a:ext cx="1389874" cy="332000"/>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ease Management </a:t>
              </a:r>
              <a:b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b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for Visual Studio</a:t>
              </a:r>
            </a:p>
          </p:txBody>
        </p:sp>
        <p:sp>
          <p:nvSpPr>
            <p:cNvPr id="152" name="Rectangle 4"/>
            <p:cNvSpPr/>
            <p:nvPr/>
          </p:nvSpPr>
          <p:spPr bwMode="gray">
            <a:xfrm>
              <a:off x="7152801" y="2532651"/>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Release</a:t>
              </a:r>
            </a:p>
          </p:txBody>
        </p:sp>
        <p:grpSp>
          <p:nvGrpSpPr>
            <p:cNvPr id="153" name="Group 152"/>
            <p:cNvGrpSpPr/>
            <p:nvPr/>
          </p:nvGrpSpPr>
          <p:grpSpPr>
            <a:xfrm>
              <a:off x="7360708" y="3982831"/>
              <a:ext cx="1598396" cy="438474"/>
              <a:chOff x="6023278" y="2656330"/>
              <a:chExt cx="1598396" cy="438474"/>
            </a:xfrm>
          </p:grpSpPr>
          <p:sp>
            <p:nvSpPr>
              <p:cNvPr id="154" name="Rectangle 153"/>
              <p:cNvSpPr/>
              <p:nvPr/>
            </p:nvSpPr>
            <p:spPr>
              <a:xfrm>
                <a:off x="6500990" y="2663201"/>
                <a:ext cx="1120684" cy="424732"/>
              </a:xfrm>
              <a:prstGeom prst="rect">
                <a:avLst/>
              </a:prstGeom>
            </p:spPr>
            <p:txBody>
              <a:bodyPr wrap="square">
                <a:spAutoFit/>
              </a:bodyPr>
              <a:lstStyle/>
              <a:p>
                <a:pPr defTabSz="914049">
                  <a:lnSpc>
                    <a:spcPct val="90000"/>
                  </a:lnSpc>
                </a:pPr>
                <a:r>
                  <a:rPr lang="en-US" sz="1176" dirty="0">
                    <a:gradFill>
                      <a:gsLst>
                        <a:gs pos="0">
                          <a:srgbClr val="FFFFFF"/>
                        </a:gs>
                        <a:gs pos="100000">
                          <a:srgbClr val="FFFFFF"/>
                        </a:gs>
                      </a:gsLst>
                      <a:lin ang="5400000" scaled="0"/>
                    </a:gradFill>
                    <a:latin typeface="Calibri" panose="020F0502020204030204"/>
                    <a:ea typeface="Segoe UI" pitchFamily="34" charset="0"/>
                    <a:cs typeface="Segoe UI Semibold" panose="020B0702040204020203" pitchFamily="34" charset="0"/>
                  </a:rPr>
                  <a:t>Automation Service</a:t>
                </a:r>
              </a:p>
            </p:txBody>
          </p:sp>
          <p:pic>
            <p:nvPicPr>
              <p:cNvPr id="155" name="Picture 15"/>
              <p:cNvPicPr>
                <a:picLocks noChangeAspect="1"/>
              </p:cNvPicPr>
              <p:nvPr/>
            </p:nvPicPr>
            <p:blipFill>
              <a:blip r:embed="rId8">
                <a:lum bright="100000"/>
                <a:extLst>
                  <a:ext uri="{28A0092B-C50C-407E-A947-70E740481C1C}">
                    <a14:useLocalDpi xmlns:a14="http://schemas.microsoft.com/office/drawing/2010/main" val="0"/>
                  </a:ext>
                </a:extLst>
              </a:blip>
              <a:srcRect/>
              <a:stretch>
                <a:fillRect/>
              </a:stretch>
            </p:blipFill>
            <p:spPr bwMode="auto">
              <a:xfrm>
                <a:off x="6023278" y="2656330"/>
                <a:ext cx="485976" cy="43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6" name="Group 155"/>
            <p:cNvGrpSpPr/>
            <p:nvPr/>
          </p:nvGrpSpPr>
          <p:grpSpPr>
            <a:xfrm>
              <a:off x="7373566" y="4774449"/>
              <a:ext cx="1693288" cy="553998"/>
              <a:chOff x="7349541" y="4635063"/>
              <a:chExt cx="1693288" cy="553998"/>
            </a:xfrm>
          </p:grpSpPr>
          <p:sp>
            <p:nvSpPr>
              <p:cNvPr id="157" name="TextBox 156"/>
              <p:cNvSpPr txBox="1"/>
              <p:nvPr/>
            </p:nvSpPr>
            <p:spPr>
              <a:xfrm>
                <a:off x="8148016" y="4635063"/>
                <a:ext cx="894813" cy="553998"/>
              </a:xfrm>
              <a:prstGeom prst="rect">
                <a:avLst/>
              </a:prstGeom>
              <a:noFill/>
            </p:spPr>
            <p:txBody>
              <a:bodyPr wrap="square" lIns="0" tIns="0" rIns="0" bIns="0" rtlCol="0">
                <a:spAutoFit/>
              </a:bodyPr>
              <a:lstStyle/>
              <a:p>
                <a:pPr defTabSz="914049">
                  <a:defRPr/>
                </a:pPr>
                <a:r>
                  <a:rPr lang="en-US" sz="117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zure Resource Management</a:t>
                </a:r>
              </a:p>
            </p:txBody>
          </p:sp>
          <p:grpSp>
            <p:nvGrpSpPr>
              <p:cNvPr id="158" name="Group 157"/>
              <p:cNvGrpSpPr/>
              <p:nvPr/>
            </p:nvGrpSpPr>
            <p:grpSpPr>
              <a:xfrm>
                <a:off x="7349541" y="4690662"/>
                <a:ext cx="682792" cy="442801"/>
                <a:chOff x="6236727" y="5075466"/>
                <a:chExt cx="1685512" cy="1093080"/>
              </a:xfrm>
            </p:grpSpPr>
            <p:grpSp>
              <p:nvGrpSpPr>
                <p:cNvPr id="159" name="Group 158"/>
                <p:cNvGrpSpPr/>
                <p:nvPr/>
              </p:nvGrpSpPr>
              <p:grpSpPr>
                <a:xfrm>
                  <a:off x="6604927" y="5075466"/>
                  <a:ext cx="1102201" cy="1054928"/>
                  <a:chOff x="6604927" y="5075466"/>
                  <a:chExt cx="1102201" cy="1054928"/>
                </a:xfrm>
              </p:grpSpPr>
              <p:sp>
                <p:nvSpPr>
                  <p:cNvPr id="162" name="Diamond 161"/>
                  <p:cNvSpPr/>
                  <p:nvPr/>
                </p:nvSpPr>
                <p:spPr bwMode="auto">
                  <a:xfrm>
                    <a:off x="6642893" y="5075466"/>
                    <a:ext cx="869548" cy="480973"/>
                  </a:xfrm>
                  <a:prstGeom prst="diamond">
                    <a:avLst/>
                  </a:prstGeom>
                  <a:solidFill>
                    <a:srgbClr val="3999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3" name="Parallelogram 162"/>
                  <p:cNvSpPr/>
                  <p:nvPr/>
                </p:nvSpPr>
                <p:spPr bwMode="auto">
                  <a:xfrm rot="19866714">
                    <a:off x="6966649" y="5556675"/>
                    <a:ext cx="740479" cy="430284"/>
                  </a:xfrm>
                  <a:prstGeom prst="parallelogram">
                    <a:avLst>
                      <a:gd name="adj" fmla="val 57886"/>
                    </a:avLst>
                  </a:prstGeom>
                  <a:solidFill>
                    <a:srgbClr val="ACDAEC"/>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4" name="Parallelogram 163"/>
                  <p:cNvSpPr/>
                  <p:nvPr/>
                </p:nvSpPr>
                <p:spPr bwMode="auto">
                  <a:xfrm rot="5400000">
                    <a:off x="6449829" y="5545013"/>
                    <a:ext cx="740479" cy="430284"/>
                  </a:xfrm>
                  <a:prstGeom prst="parallelogram">
                    <a:avLst>
                      <a:gd name="adj" fmla="val 57886"/>
                    </a:avLst>
                  </a:prstGeom>
                  <a:solidFill>
                    <a:srgbClr val="59B4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60" name="Freeform 159"/>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1" name="Freeform 160"/>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165" name="TextBox 164"/>
            <p:cNvSpPr txBox="1"/>
            <p:nvPr/>
          </p:nvSpPr>
          <p:spPr>
            <a:xfrm>
              <a:off x="7375632" y="4522461"/>
              <a:ext cx="1263166" cy="166071"/>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PowerShell | WAML</a:t>
              </a:r>
              <a:endPar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6" name="TextBox 165"/>
            <p:cNvSpPr txBox="1"/>
            <p:nvPr/>
          </p:nvSpPr>
          <p:spPr>
            <a:xfrm>
              <a:off x="7359602" y="5432955"/>
              <a:ext cx="1279196" cy="166071"/>
            </a:xfrm>
            <a:prstGeom prst="rect">
              <a:avLst/>
            </a:prstGeom>
            <a:noFill/>
          </p:spPr>
          <p:txBody>
            <a:bodyPr wrap="none" lIns="0" tIns="0" rIns="0" bIns="0" rtlCol="0">
              <a:spAutoFit/>
            </a:bodyPr>
            <a:lstStyle/>
            <a:p>
              <a:pPr defTabSz="914049">
                <a:lnSpc>
                  <a:spcPct val="90000"/>
                </a:lnSpc>
              </a:pPr>
              <a:r>
                <a:rPr lang="en-US" sz="1175" dirty="0" err="1">
                  <a:gradFill>
                    <a:gsLst>
                      <a:gs pos="0">
                        <a:srgbClr val="FFFFFF"/>
                      </a:gs>
                      <a:gs pos="100000">
                        <a:srgbClr val="FFFFFF"/>
                      </a:gs>
                    </a:gsLst>
                    <a:lin ang="5400000" scaled="0"/>
                  </a:gradFill>
                  <a:latin typeface="Calibri" panose="020F0502020204030204"/>
                  <a:ea typeface="Segoe UI" pitchFamily="34" charset="0"/>
                  <a:cs typeface="Segoe UI" pitchFamily="34" charset="0"/>
                </a:rPr>
                <a:t>xPlat</a:t>
              </a: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Command Line</a:t>
              </a:r>
              <a:endPar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23" name="TextBox 122"/>
          <p:cNvSpPr txBox="1"/>
          <p:nvPr/>
        </p:nvSpPr>
        <p:spPr>
          <a:xfrm>
            <a:off x="10225541" y="242051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4</a:t>
            </a:r>
          </a:p>
        </p:txBody>
      </p:sp>
      <p:sp>
        <p:nvSpPr>
          <p:cNvPr id="128" name="TextBox 127"/>
          <p:cNvSpPr txBox="1"/>
          <p:nvPr/>
        </p:nvSpPr>
        <p:spPr>
          <a:xfrm rot="16200000">
            <a:off x="9104528" y="3939729"/>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Monitor &amp; Learn</a:t>
            </a:r>
            <a:endParaRPr lang="en-US" sz="1765" spc="49" dirty="0">
              <a:solidFill>
                <a:prstClr val="white"/>
              </a:solidFill>
              <a:latin typeface="Segoe UI Light" panose="020B0502040204020203" pitchFamily="34" charset="0"/>
              <a:cs typeface="Segoe UI Light" panose="020B0502040204020203" pitchFamily="34" charset="0"/>
            </a:endParaRPr>
          </a:p>
        </p:txBody>
      </p:sp>
      <p:sp>
        <p:nvSpPr>
          <p:cNvPr id="170" name="Rectangle 4"/>
          <p:cNvSpPr/>
          <p:nvPr/>
        </p:nvSpPr>
        <p:spPr bwMode="gray">
          <a:xfrm>
            <a:off x="10275636" y="3137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Monitor</a:t>
            </a:r>
          </a:p>
        </p:txBody>
      </p:sp>
      <p:sp>
        <p:nvSpPr>
          <p:cNvPr id="174" name="Rectangle 173"/>
          <p:cNvSpPr/>
          <p:nvPr/>
        </p:nvSpPr>
        <p:spPr>
          <a:xfrm rot="18900000">
            <a:off x="2063227" y="211993"/>
            <a:ext cx="1021244" cy="1021244"/>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7" name="Title 1"/>
          <p:cNvSpPr>
            <a:spLocks noGrp="1"/>
          </p:cNvSpPr>
          <p:nvPr>
            <p:ph type="title"/>
          </p:nvPr>
        </p:nvSpPr>
        <p:spPr>
          <a:xfrm>
            <a:off x="268928" y="291548"/>
            <a:ext cx="11655840" cy="899537"/>
          </a:xfrm>
        </p:spPr>
        <p:txBody>
          <a:bodyPr/>
          <a:lstStyle/>
          <a:p>
            <a:r>
              <a:rPr lang="en-US" sz="3333" dirty="0">
                <a:solidFill>
                  <a:schemeClr val="bg1"/>
                </a:solidFill>
              </a:rPr>
              <a:t>Microsoft</a:t>
            </a:r>
            <a:br>
              <a:rPr lang="en-US" sz="3333" dirty="0">
                <a:solidFill>
                  <a:schemeClr val="bg1"/>
                </a:solidFill>
              </a:rPr>
            </a:br>
            <a:r>
              <a:rPr lang="en-US" sz="3333" dirty="0">
                <a:solidFill>
                  <a:schemeClr val="bg1"/>
                </a:solidFill>
              </a:rPr>
              <a:t>Ecosystem</a:t>
            </a:r>
            <a:endParaRPr lang="en-US" sz="3333" dirty="0">
              <a:solidFill>
                <a:schemeClr val="bg1"/>
              </a:solidFill>
            </a:endParaRPr>
          </a:p>
        </p:txBody>
      </p:sp>
      <p:pic>
        <p:nvPicPr>
          <p:cNvPr id="191" name="Picture 1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06554" y="4235774"/>
            <a:ext cx="1651626" cy="330451"/>
          </a:xfrm>
          <a:prstGeom prst="rect">
            <a:avLst/>
          </a:prstGeom>
        </p:spPr>
      </p:pic>
      <p:sp>
        <p:nvSpPr>
          <p:cNvPr id="192" name="TextBox 191"/>
          <p:cNvSpPr txBox="1"/>
          <p:nvPr/>
        </p:nvSpPr>
        <p:spPr>
          <a:xfrm>
            <a:off x="10501895" y="4683982"/>
            <a:ext cx="1199049" cy="162806"/>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pplication Insights</a:t>
            </a:r>
            <a:endPar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193" name="Picture 1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3858" y="3608283"/>
            <a:ext cx="1379663" cy="548711"/>
          </a:xfrm>
          <a:prstGeom prst="rect">
            <a:avLst/>
          </a:prstGeom>
        </p:spPr>
      </p:pic>
      <p:grpSp>
        <p:nvGrpSpPr>
          <p:cNvPr id="238" name="Group 237"/>
          <p:cNvGrpSpPr/>
          <p:nvPr/>
        </p:nvGrpSpPr>
        <p:grpSpPr>
          <a:xfrm>
            <a:off x="9257063" y="5221735"/>
            <a:ext cx="2934938" cy="1635779"/>
            <a:chOff x="6610350" y="4013200"/>
            <a:chExt cx="3446463" cy="1920876"/>
          </a:xfrm>
        </p:grpSpPr>
        <p:sp>
          <p:nvSpPr>
            <p:cNvPr id="239"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0"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1"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2"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3"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4"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5"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6"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7"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8"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9"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0"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1"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2"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3"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4"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5"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6"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7"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8"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91" name="Freeform 6"/>
          <p:cNvSpPr>
            <a:spLocks/>
          </p:cNvSpPr>
          <p:nvPr/>
        </p:nvSpPr>
        <p:spPr bwMode="auto">
          <a:xfrm>
            <a:off x="1695469" y="2758405"/>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pic>
        <p:nvPicPr>
          <p:cNvPr id="135" name="Picture 134"/>
          <p:cNvPicPr>
            <a:picLocks noChangeAspect="1"/>
          </p:cNvPicPr>
          <p:nvPr/>
        </p:nvPicPr>
        <p:blipFill>
          <a:blip r:embed="rId9"/>
          <a:stretch>
            <a:fillRect/>
          </a:stretch>
        </p:blipFill>
        <p:spPr>
          <a:xfrm>
            <a:off x="1151149" y="2736919"/>
            <a:ext cx="1175775" cy="630433"/>
          </a:xfrm>
          <a:prstGeom prst="rect">
            <a:avLst/>
          </a:prstGeom>
        </p:spPr>
      </p:pic>
      <p:grpSp>
        <p:nvGrpSpPr>
          <p:cNvPr id="136" name="Group 135"/>
          <p:cNvGrpSpPr/>
          <p:nvPr/>
        </p:nvGrpSpPr>
        <p:grpSpPr>
          <a:xfrm>
            <a:off x="2029402" y="3117080"/>
            <a:ext cx="776720" cy="760128"/>
            <a:chOff x="2065191" y="1914181"/>
            <a:chExt cx="883828" cy="864948"/>
          </a:xfrm>
        </p:grpSpPr>
        <p:sp>
          <p:nvSpPr>
            <p:cNvPr id="1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sz="2745" kern="0">
                <a:solidFill>
                  <a:srgbClr val="000000"/>
                </a:solidFill>
                <a:latin typeface="Calibri" panose="020F0502020204030204"/>
              </a:endParaRPr>
            </a:p>
          </p:txBody>
        </p:sp>
        <p:sp>
          <p:nvSpPr>
            <p:cNvPr id="138" name="Rectangle 1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39" name="Picture 138"/>
            <p:cNvPicPr>
              <a:picLocks noChangeAspect="1"/>
            </p:cNvPicPr>
            <p:nvPr/>
          </p:nvPicPr>
          <p:blipFill>
            <a:blip r:embed="rId10">
              <a:biLevel thresh="25000"/>
            </a:blip>
            <a:stretch>
              <a:fillRect/>
            </a:stretch>
          </p:blipFill>
          <p:spPr>
            <a:xfrm>
              <a:off x="2078496" y="2064654"/>
              <a:ext cx="777488" cy="714475"/>
            </a:xfrm>
            <a:prstGeom prst="rect">
              <a:avLst/>
            </a:prstGeom>
          </p:spPr>
        </p:pic>
      </p:grpSp>
      <p:sp>
        <p:nvSpPr>
          <p:cNvPr id="98" name="Rectangle 97"/>
          <p:cNvSpPr/>
          <p:nvPr/>
        </p:nvSpPr>
        <p:spPr>
          <a:xfrm rot="18900000">
            <a:off x="2935867" y="875965"/>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6" name="Rectangle 95"/>
          <p:cNvSpPr/>
          <p:nvPr/>
        </p:nvSpPr>
        <p:spPr>
          <a:xfrm rot="18900000">
            <a:off x="6038579" y="880417"/>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7" name="Rectangle 96"/>
          <p:cNvSpPr/>
          <p:nvPr/>
        </p:nvSpPr>
        <p:spPr>
          <a:xfrm rot="18900000">
            <a:off x="9129955" y="871134"/>
            <a:ext cx="1021244" cy="1021244"/>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9" name="Rounded Rectangle 98"/>
          <p:cNvSpPr/>
          <p:nvPr/>
        </p:nvSpPr>
        <p:spPr bwMode="auto">
          <a:xfrm>
            <a:off x="2599982" y="717318"/>
            <a:ext cx="9100962" cy="732301"/>
          </a:xfrm>
          <a:prstGeom prst="roundRect">
            <a:avLst/>
          </a:prstGeom>
          <a:solidFill>
            <a:schemeClr val="bg1">
              <a:alpha val="20000"/>
            </a:schemeClr>
          </a:solidFill>
          <a:ln w="142875" cap="rnd">
            <a:solidFill>
              <a:schemeClr val="bg1">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a:xfrm>
            <a:off x="3137831" y="912984"/>
            <a:ext cx="2274828" cy="331899"/>
          </a:xfrm>
          <a:prstGeom prst="rect">
            <a:avLst/>
          </a:prstGeom>
        </p:spPr>
        <p:txBody>
          <a:bodyPr wrap="none">
            <a:spAutoFit/>
          </a:bodyPr>
          <a:lstStyle/>
          <a:p>
            <a:r>
              <a:rPr lang="en-US" sz="1568" dirty="0">
                <a:gradFill>
                  <a:gsLst>
                    <a:gs pos="0">
                      <a:srgbClr val="FFFFFF"/>
                    </a:gs>
                    <a:gs pos="100000">
                      <a:srgbClr val="FFFFFF"/>
                    </a:gs>
                  </a:gsLst>
                  <a:lin ang="5400000" scaled="0"/>
                </a:gradFill>
                <a:ea typeface="Segoe UI" pitchFamily="34" charset="0"/>
                <a:cs typeface="Segoe UI" pitchFamily="34" charset="0"/>
              </a:rPr>
              <a:t> People | Process | Tools</a:t>
            </a:r>
            <a:endParaRPr lang="en-US" sz="1568" dirty="0">
              <a:solidFill>
                <a:srgbClr val="505050"/>
              </a:solidFill>
            </a:endParaRPr>
          </a:p>
        </p:txBody>
      </p:sp>
      <p:sp>
        <p:nvSpPr>
          <p:cNvPr id="108" name="Freeform 6"/>
          <p:cNvSpPr>
            <a:spLocks/>
          </p:cNvSpPr>
          <p:nvPr/>
        </p:nvSpPr>
        <p:spPr bwMode="auto">
          <a:xfrm>
            <a:off x="1720284" y="5938962"/>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09" name="Freeform 7"/>
          <p:cNvSpPr>
            <a:spLocks/>
          </p:cNvSpPr>
          <p:nvPr/>
        </p:nvSpPr>
        <p:spPr bwMode="auto">
          <a:xfrm>
            <a:off x="1165718"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10" name="TextBox 109"/>
          <p:cNvSpPr txBox="1"/>
          <p:nvPr/>
        </p:nvSpPr>
        <p:spPr>
          <a:xfrm>
            <a:off x="1" y="6564825"/>
            <a:ext cx="2935365" cy="292688"/>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Workstations - On-Premises | Hybrid | Cloud</a:t>
            </a:r>
            <a:endParaRPr lang="en-US" sz="1175" spc="-29" dirty="0">
              <a:solidFill>
                <a:prstClr val="white"/>
              </a:solidFill>
              <a:latin typeface="Calibri" panose="020F0502020204030204"/>
              <a:ea typeface="Segoe UI" pitchFamily="34" charset="0"/>
              <a:cs typeface="Segoe UI" pitchFamily="34" charset="0"/>
            </a:endParaRPr>
          </a:p>
        </p:txBody>
      </p:sp>
      <p:sp>
        <p:nvSpPr>
          <p:cNvPr id="180" name="Freeform 7"/>
          <p:cNvSpPr>
            <a:spLocks/>
          </p:cNvSpPr>
          <p:nvPr/>
        </p:nvSpPr>
        <p:spPr bwMode="auto">
          <a:xfrm>
            <a:off x="11308526" y="6207887"/>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chemeClr val="accent5">
              <a:alpha val="5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78" name="TextBox 177"/>
          <p:cNvSpPr txBox="1"/>
          <p:nvPr/>
        </p:nvSpPr>
        <p:spPr>
          <a:xfrm>
            <a:off x="9276835" y="6564825"/>
            <a:ext cx="2915166" cy="290888"/>
          </a:xfrm>
          <a:prstGeom prst="rect">
            <a:avLst/>
          </a:prstGeom>
          <a:solidFill>
            <a:srgbClr val="002060">
              <a:alpha val="30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Monitoring - On-Premises | Hybrid | Cloud</a:t>
            </a:r>
            <a:endParaRPr lang="en-US" sz="1175" spc="-29" dirty="0">
              <a:solidFill>
                <a:prstClr val="white"/>
              </a:solidFill>
              <a:latin typeface="Calibri" panose="020F0502020204030204"/>
              <a:ea typeface="Segoe UI" pitchFamily="34" charset="0"/>
              <a:cs typeface="Segoe UI" pitchFamily="34" charset="0"/>
            </a:endParaRPr>
          </a:p>
        </p:txBody>
      </p:sp>
      <p:sp>
        <p:nvSpPr>
          <p:cNvPr id="4" name="Isosceles Triangle 3"/>
          <p:cNvSpPr/>
          <p:nvPr/>
        </p:nvSpPr>
        <p:spPr bwMode="auto">
          <a:xfrm rot="5400000">
            <a:off x="2815910"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Isosceles Triangle 3"/>
          <p:cNvSpPr/>
          <p:nvPr/>
        </p:nvSpPr>
        <p:spPr bwMode="auto">
          <a:xfrm rot="5400000">
            <a:off x="5900487"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Isosceles Triangle 3"/>
          <p:cNvSpPr/>
          <p:nvPr/>
        </p:nvSpPr>
        <p:spPr bwMode="auto">
          <a:xfrm rot="5400000">
            <a:off x="8955036" y="597003"/>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Isosceles Triangle 3"/>
          <p:cNvSpPr/>
          <p:nvPr/>
        </p:nvSpPr>
        <p:spPr bwMode="auto">
          <a:xfrm rot="16200000" flipH="1">
            <a:off x="2715748" y="1266420"/>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Isosceles Triangle 3"/>
          <p:cNvSpPr/>
          <p:nvPr/>
        </p:nvSpPr>
        <p:spPr bwMode="auto">
          <a:xfrm rot="16200000" flipH="1">
            <a:off x="5803471" y="1266421"/>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Isosceles Triangle 3"/>
          <p:cNvSpPr/>
          <p:nvPr/>
        </p:nvSpPr>
        <p:spPr bwMode="auto">
          <a:xfrm rot="16200000" flipH="1">
            <a:off x="8880362" y="126642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9412736" y="33256"/>
            <a:ext cx="2185961" cy="1423631"/>
            <a:chOff x="9698195" y="0"/>
            <a:chExt cx="2229794" cy="1452178"/>
          </a:xfrm>
        </p:grpSpPr>
        <p:pic>
          <p:nvPicPr>
            <p:cNvPr id="5" name="Picture 4"/>
            <p:cNvPicPr>
              <a:picLocks noChangeAspect="1"/>
            </p:cNvPicPr>
            <p:nvPr/>
          </p:nvPicPr>
          <p:blipFill>
            <a:blip r:embed="rId11"/>
            <a:stretch>
              <a:fillRect/>
            </a:stretch>
          </p:blipFill>
          <p:spPr>
            <a:xfrm>
              <a:off x="9698195" y="219347"/>
              <a:ext cx="1695143" cy="1232831"/>
            </a:xfrm>
            <a:prstGeom prst="rect">
              <a:avLst/>
            </a:prstGeom>
          </p:spPr>
        </p:pic>
        <p:grpSp>
          <p:nvGrpSpPr>
            <p:cNvPr id="199" name="Group 198"/>
            <p:cNvGrpSpPr/>
            <p:nvPr/>
          </p:nvGrpSpPr>
          <p:grpSpPr>
            <a:xfrm>
              <a:off x="11080289" y="0"/>
              <a:ext cx="847700" cy="1452178"/>
              <a:chOff x="10147300" y="798513"/>
              <a:chExt cx="1128713" cy="1933575"/>
            </a:xfrm>
          </p:grpSpPr>
          <p:sp>
            <p:nvSpPr>
              <p:cNvPr id="200"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1"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2"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3"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4"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5"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6"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7"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8"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9"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0"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1"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2"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3"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4"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5"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6"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7"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8"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9"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0"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1"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2"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3"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4"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5"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6"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7"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8"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pic>
        <p:nvPicPr>
          <p:cNvPr id="173" name="Picture 1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1019" y="5670038"/>
            <a:ext cx="807118" cy="530956"/>
          </a:xfrm>
          <a:prstGeom prst="rect">
            <a:avLst/>
          </a:prstGeom>
        </p:spPr>
      </p:pic>
      <p:pic>
        <p:nvPicPr>
          <p:cNvPr id="179" name="Picture 17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15501" y="5801103"/>
            <a:ext cx="2301216" cy="822684"/>
          </a:xfrm>
          <a:prstGeom prst="rect">
            <a:avLst/>
          </a:prstGeom>
        </p:spPr>
      </p:pic>
      <p:sp>
        <p:nvSpPr>
          <p:cNvPr id="182" name="Freeform 7"/>
          <p:cNvSpPr>
            <a:spLocks/>
          </p:cNvSpPr>
          <p:nvPr/>
        </p:nvSpPr>
        <p:spPr bwMode="auto">
          <a:xfrm>
            <a:off x="4213529"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83" name="TextBox 182"/>
          <p:cNvSpPr txBox="1"/>
          <p:nvPr/>
        </p:nvSpPr>
        <p:spPr>
          <a:xfrm>
            <a:off x="3079238" y="6564827"/>
            <a:ext cx="2935365" cy="292688"/>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Services - On-Premises | Hybrid | Cloud</a:t>
            </a:r>
            <a:endParaRPr lang="en-US" sz="1175" spc="-29" dirty="0">
              <a:solidFill>
                <a:prstClr val="white"/>
              </a:solidFill>
              <a:latin typeface="Calibri" panose="020F0502020204030204"/>
              <a:ea typeface="Segoe UI" pitchFamily="34" charset="0"/>
              <a:cs typeface="Segoe UI" pitchFamily="34" charset="0"/>
            </a:endParaRPr>
          </a:p>
        </p:txBody>
      </p:sp>
      <p:pic>
        <p:nvPicPr>
          <p:cNvPr id="190" name="Picture 1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8471" y="5849321"/>
            <a:ext cx="807118" cy="530956"/>
          </a:xfrm>
          <a:prstGeom prst="rect">
            <a:avLst/>
          </a:prstGeom>
        </p:spPr>
      </p:pic>
      <p:sp>
        <p:nvSpPr>
          <p:cNvPr id="196" name="Freeform 6"/>
          <p:cNvSpPr>
            <a:spLocks/>
          </p:cNvSpPr>
          <p:nvPr/>
        </p:nvSpPr>
        <p:spPr bwMode="auto">
          <a:xfrm>
            <a:off x="7905548" y="5938962"/>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002060">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97" name="Freeform 7"/>
          <p:cNvSpPr>
            <a:spLocks/>
          </p:cNvSpPr>
          <p:nvPr/>
        </p:nvSpPr>
        <p:spPr bwMode="auto">
          <a:xfrm>
            <a:off x="7350982"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pic>
        <p:nvPicPr>
          <p:cNvPr id="198" name="Picture 197"/>
          <p:cNvPicPr>
            <a:picLocks noChangeAspect="1"/>
          </p:cNvPicPr>
          <p:nvPr/>
        </p:nvPicPr>
        <p:blipFill>
          <a:blip r:embed="rId3"/>
          <a:stretch>
            <a:fillRect/>
          </a:stretch>
        </p:blipFill>
        <p:spPr>
          <a:xfrm>
            <a:off x="6357368" y="5832405"/>
            <a:ext cx="1083254" cy="669857"/>
          </a:xfrm>
          <a:prstGeom prst="rect">
            <a:avLst/>
          </a:prstGeom>
        </p:spPr>
      </p:pic>
      <p:sp>
        <p:nvSpPr>
          <p:cNvPr id="235" name="TextBox 234"/>
          <p:cNvSpPr txBox="1"/>
          <p:nvPr/>
        </p:nvSpPr>
        <p:spPr>
          <a:xfrm>
            <a:off x="6364925" y="6224352"/>
            <a:ext cx="336844" cy="95044"/>
          </a:xfrm>
          <a:prstGeom prst="rect">
            <a:avLst/>
          </a:prstGeom>
          <a:noFill/>
        </p:spPr>
        <p:txBody>
          <a:bodyPr wrap="square" lIns="0" tIns="0" rIns="0" bIns="0" rtlCol="0">
            <a:spAutoFit/>
          </a:bodyPr>
          <a:lstStyle/>
          <a:p>
            <a:pPr defTabSz="914049">
              <a:lnSpc>
                <a:spcPct val="90000"/>
              </a:lnSpc>
            </a:pPr>
            <a:r>
              <a:rPr lang="en-US" sz="686"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r>
              <a:rPr lang="en-US" sz="686" dirty="0">
                <a:solidFill>
                  <a:srgbClr val="D2D2D2">
                    <a:lumMod val="50000"/>
                  </a:srgbClr>
                </a:solidFill>
                <a:latin typeface="Calibri" panose="020F0502020204030204"/>
                <a:ea typeface="Segoe UI" pitchFamily="34" charset="0"/>
                <a:cs typeface="Segoe UI" pitchFamily="34" charset="0"/>
              </a:rPr>
              <a:t>DEV</a:t>
            </a:r>
            <a:endParaRPr lang="en-US" sz="686" dirty="0">
              <a:solidFill>
                <a:srgbClr val="D2D2D2">
                  <a:lumMod val="50000"/>
                </a:srgbClr>
              </a:solidFill>
              <a:latin typeface="Calibri" panose="020F0502020204030204"/>
              <a:ea typeface="Segoe UI" pitchFamily="34" charset="0"/>
              <a:cs typeface="Segoe UI" pitchFamily="34" charset="0"/>
            </a:endParaRPr>
          </a:p>
        </p:txBody>
      </p:sp>
      <p:sp>
        <p:nvSpPr>
          <p:cNvPr id="236" name="TextBox 235"/>
          <p:cNvSpPr txBox="1"/>
          <p:nvPr/>
        </p:nvSpPr>
        <p:spPr>
          <a:xfrm>
            <a:off x="6732861" y="6224352"/>
            <a:ext cx="324345" cy="95044"/>
          </a:xfrm>
          <a:prstGeom prst="rect">
            <a:avLst/>
          </a:prstGeom>
          <a:noFill/>
        </p:spPr>
        <p:txBody>
          <a:bodyPr wrap="square" lIns="0" tIns="0" rIns="0" bIns="0" rtlCol="0">
            <a:spAutoFit/>
          </a:bodyPr>
          <a:lstStyle/>
          <a:p>
            <a:pPr defTabSz="914049">
              <a:lnSpc>
                <a:spcPct val="90000"/>
              </a:lnSpc>
            </a:pPr>
            <a:r>
              <a:rPr lang="en-US" sz="686" dirty="0">
                <a:solidFill>
                  <a:srgbClr val="D2D2D2">
                    <a:lumMod val="50000"/>
                  </a:srgbClr>
                </a:solidFill>
                <a:latin typeface="Calibri" panose="020F0502020204030204"/>
                <a:ea typeface="Segoe UI" pitchFamily="34" charset="0"/>
                <a:cs typeface="Segoe UI" pitchFamily="34" charset="0"/>
              </a:rPr>
              <a:t>  TEST</a:t>
            </a:r>
            <a:endParaRPr lang="en-US" sz="686" dirty="0">
              <a:solidFill>
                <a:srgbClr val="D2D2D2">
                  <a:lumMod val="50000"/>
                </a:srgbClr>
              </a:solidFill>
              <a:latin typeface="Calibri" panose="020F0502020204030204"/>
              <a:ea typeface="Segoe UI" pitchFamily="34" charset="0"/>
              <a:cs typeface="Segoe UI" pitchFamily="34" charset="0"/>
            </a:endParaRPr>
          </a:p>
        </p:txBody>
      </p:sp>
      <p:sp>
        <p:nvSpPr>
          <p:cNvPr id="237" name="TextBox 236"/>
          <p:cNvSpPr txBox="1"/>
          <p:nvPr/>
        </p:nvSpPr>
        <p:spPr>
          <a:xfrm>
            <a:off x="7098132" y="6224352"/>
            <a:ext cx="329982" cy="95044"/>
          </a:xfrm>
          <a:prstGeom prst="rect">
            <a:avLst/>
          </a:prstGeom>
          <a:noFill/>
        </p:spPr>
        <p:txBody>
          <a:bodyPr wrap="square" lIns="0" tIns="0" rIns="0" bIns="0" rtlCol="0">
            <a:spAutoFit/>
          </a:bodyPr>
          <a:lstStyle/>
          <a:p>
            <a:pPr defTabSz="914049">
              <a:lnSpc>
                <a:spcPct val="90000"/>
              </a:lnSpc>
            </a:pPr>
            <a:r>
              <a:rPr lang="en-US" sz="686" dirty="0">
                <a:solidFill>
                  <a:srgbClr val="D2D2D2">
                    <a:lumMod val="50000"/>
                  </a:srgbClr>
                </a:solidFill>
                <a:latin typeface="Calibri" panose="020F0502020204030204"/>
                <a:ea typeface="Segoe UI" pitchFamily="34" charset="0"/>
                <a:cs typeface="Segoe UI" pitchFamily="34" charset="0"/>
              </a:rPr>
              <a:t>   QA</a:t>
            </a:r>
            <a:endParaRPr lang="en-US" sz="686" dirty="0">
              <a:solidFill>
                <a:srgbClr val="D2D2D2">
                  <a:lumMod val="50000"/>
                </a:srgbClr>
              </a:solidFill>
              <a:latin typeface="Calibri" panose="020F0502020204030204"/>
              <a:ea typeface="Segoe UI" pitchFamily="34" charset="0"/>
              <a:cs typeface="Segoe UI" pitchFamily="34" charset="0"/>
            </a:endParaRPr>
          </a:p>
        </p:txBody>
      </p:sp>
      <p:sp>
        <p:nvSpPr>
          <p:cNvPr id="259" name="TextBox 258"/>
          <p:cNvSpPr txBox="1"/>
          <p:nvPr/>
        </p:nvSpPr>
        <p:spPr>
          <a:xfrm>
            <a:off x="6180172" y="6568189"/>
            <a:ext cx="2922776" cy="289325"/>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Environments - On-Premises | Hybrid | Cloud</a:t>
            </a:r>
            <a:endParaRPr lang="en-US" sz="1175" spc="-29" dirty="0">
              <a:solidFill>
                <a:prstClr val="white"/>
              </a:solidFill>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3693652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p:cNvSpPr/>
          <p:nvPr/>
        </p:nvSpPr>
        <p:spPr>
          <a:xfrm>
            <a:off x="1" y="486"/>
            <a:ext cx="2938269" cy="6857028"/>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72" name="Picture 171"/>
          <p:cNvPicPr>
            <a:picLocks noChangeAspect="1"/>
          </p:cNvPicPr>
          <p:nvPr/>
        </p:nvPicPr>
        <p:blipFill rotWithShape="1">
          <a:blip r:embed="rId3"/>
          <a:srcRect l="36309" r="1" b="29163"/>
          <a:stretch/>
        </p:blipFill>
        <p:spPr>
          <a:xfrm>
            <a:off x="378" y="5137804"/>
            <a:ext cx="1792830" cy="1719710"/>
          </a:xfrm>
          <a:prstGeom prst="rect">
            <a:avLst/>
          </a:prstGeom>
        </p:spPr>
      </p:pic>
      <p:sp>
        <p:nvSpPr>
          <p:cNvPr id="118" name="Rectangle 117"/>
          <p:cNvSpPr/>
          <p:nvPr/>
        </p:nvSpPr>
        <p:spPr>
          <a:xfrm>
            <a:off x="3096989" y="486"/>
            <a:ext cx="2925857" cy="6857028"/>
          </a:xfrm>
          <a:prstGeom prst="rect">
            <a:avLst/>
          </a:prstGeom>
          <a:solidFill>
            <a:srgbClr val="4472C4">
              <a:lumMod val="75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14" name="Rectangle 113"/>
          <p:cNvSpPr/>
          <p:nvPr/>
        </p:nvSpPr>
        <p:spPr>
          <a:xfrm>
            <a:off x="6181566" y="486"/>
            <a:ext cx="2925857" cy="6857028"/>
          </a:xfrm>
          <a:prstGeom prst="rect">
            <a:avLst/>
          </a:prstGeom>
          <a:solidFill>
            <a:srgbClr val="4472C4">
              <a:lumMod val="50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1" name="Rectangle 170"/>
          <p:cNvSpPr/>
          <p:nvPr/>
        </p:nvSpPr>
        <p:spPr>
          <a:xfrm rot="18900000">
            <a:off x="9129955" y="871134"/>
            <a:ext cx="1021244" cy="1021244"/>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69" name="Rectangle 168"/>
          <p:cNvSpPr/>
          <p:nvPr/>
        </p:nvSpPr>
        <p:spPr>
          <a:xfrm rot="18900000">
            <a:off x="6038579" y="880417"/>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68" name="Rectangle 167"/>
          <p:cNvSpPr/>
          <p:nvPr/>
        </p:nvSpPr>
        <p:spPr>
          <a:xfrm rot="18900000">
            <a:off x="2935867" y="875965"/>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19" name="Rectangle 118"/>
          <p:cNvSpPr/>
          <p:nvPr/>
        </p:nvSpPr>
        <p:spPr>
          <a:xfrm>
            <a:off x="9266144" y="486"/>
            <a:ext cx="2925857" cy="6857028"/>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6" name="Rectangle 175"/>
          <p:cNvSpPr/>
          <p:nvPr/>
        </p:nvSpPr>
        <p:spPr>
          <a:xfrm rot="18900000">
            <a:off x="822021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5" name="Rectangle 174"/>
          <p:cNvSpPr/>
          <p:nvPr/>
        </p:nvSpPr>
        <p:spPr>
          <a:xfrm rot="18900000">
            <a:off x="5132174"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0" name="TextBox 119"/>
          <p:cNvSpPr txBox="1"/>
          <p:nvPr/>
        </p:nvSpPr>
        <p:spPr>
          <a:xfrm>
            <a:off x="991431" y="1546314"/>
            <a:ext cx="1926917" cy="693970"/>
          </a:xfrm>
          <a:prstGeom prst="rect">
            <a:avLst/>
          </a:prstGeom>
          <a:noFill/>
        </p:spPr>
        <p:txBody>
          <a:bodyPr wrap="square" rtlCol="0">
            <a:spAutoFit/>
          </a:bodyPr>
          <a:lstStyle/>
          <a:p>
            <a:pPr defTabSz="896386"/>
            <a:r>
              <a:rPr lang="en-US" sz="3921" spc="-78" dirty="0">
                <a:ln w="3175">
                  <a:solidFill>
                    <a:prstClr val="white"/>
                  </a:solidFill>
                </a:ln>
                <a:solidFill>
                  <a:prstClr val="white"/>
                </a:solidFill>
                <a:latin typeface="Arial" panose="020B0604020202020204" pitchFamily="34" charset="0"/>
                <a:cs typeface="Arial" panose="020B0604020202020204" pitchFamily="34" charset="0"/>
              </a:rPr>
              <a:t>01</a:t>
            </a:r>
          </a:p>
        </p:txBody>
      </p:sp>
      <p:sp>
        <p:nvSpPr>
          <p:cNvPr id="129" name="Rectangle 128"/>
          <p:cNvSpPr/>
          <p:nvPr/>
        </p:nvSpPr>
        <p:spPr>
          <a:xfrm>
            <a:off x="1019000" y="2240641"/>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32" name="TextBox 131"/>
          <p:cNvSpPr txBox="1"/>
          <p:nvPr/>
        </p:nvSpPr>
        <p:spPr>
          <a:xfrm rot="16200000">
            <a:off x="-183167" y="3007046"/>
            <a:ext cx="1919723" cy="392245"/>
          </a:xfrm>
          <a:prstGeom prst="rect">
            <a:avLst/>
          </a:prstGeom>
          <a:noFill/>
        </p:spPr>
        <p:txBody>
          <a:bodyPr wrap="square" rtlCol="0">
            <a:spAutoFit/>
          </a:bodyPr>
          <a:lstStyle/>
          <a:p>
            <a:pPr algn="r" defTabSz="896386"/>
            <a:r>
              <a:rPr lang="en-US" sz="1961" spc="49" dirty="0">
                <a:solidFill>
                  <a:prstClr val="white"/>
                </a:solidFill>
                <a:latin typeface="Segoe UI Light" panose="020B0502040204020203" pitchFamily="34" charset="0"/>
                <a:cs typeface="Segoe UI Light" panose="020B0502040204020203" pitchFamily="34" charset="0"/>
              </a:rPr>
              <a:t>Develop</a:t>
            </a:r>
            <a:endParaRPr lang="en-US" sz="1961" spc="49" dirty="0">
              <a:solidFill>
                <a:prstClr val="white"/>
              </a:solidFill>
              <a:latin typeface="Segoe UI Light" panose="020B0502040204020203" pitchFamily="34" charset="0"/>
              <a:cs typeface="Segoe UI Light" panose="020B0502040204020203" pitchFamily="34" charset="0"/>
            </a:endParaRPr>
          </a:p>
        </p:txBody>
      </p:sp>
      <p:sp>
        <p:nvSpPr>
          <p:cNvPr id="133" name="Rectangle 4"/>
          <p:cNvSpPr/>
          <p:nvPr/>
        </p:nvSpPr>
        <p:spPr bwMode="gray">
          <a:xfrm>
            <a:off x="1019000" y="2240642"/>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Developer Workstation</a:t>
            </a:r>
          </a:p>
        </p:txBody>
      </p:sp>
      <p:sp>
        <p:nvSpPr>
          <p:cNvPr id="140" name="Rectangle 4"/>
          <p:cNvSpPr/>
          <p:nvPr/>
        </p:nvSpPr>
        <p:spPr bwMode="gray">
          <a:xfrm>
            <a:off x="1019000" y="3966850"/>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am Collaboration</a:t>
            </a:r>
          </a:p>
        </p:txBody>
      </p:sp>
      <p:sp>
        <p:nvSpPr>
          <p:cNvPr id="121" name="TextBox 120"/>
          <p:cNvSpPr txBox="1"/>
          <p:nvPr/>
        </p:nvSpPr>
        <p:spPr>
          <a:xfrm>
            <a:off x="4064516" y="181559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2</a:t>
            </a:r>
          </a:p>
        </p:txBody>
      </p:sp>
      <p:sp>
        <p:nvSpPr>
          <p:cNvPr id="124" name="Rectangle 123"/>
          <p:cNvSpPr/>
          <p:nvPr/>
        </p:nvSpPr>
        <p:spPr>
          <a:xfrm>
            <a:off x="4103577" y="2509566"/>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5" name="TextBox 124"/>
          <p:cNvSpPr txBox="1"/>
          <p:nvPr/>
        </p:nvSpPr>
        <p:spPr>
          <a:xfrm rot="16200000">
            <a:off x="2948182" y="3295398"/>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Build &amp; Test</a:t>
            </a:r>
            <a:endParaRPr lang="en-US" sz="1765" spc="49" dirty="0">
              <a:solidFill>
                <a:prstClr val="white"/>
              </a:solidFill>
              <a:latin typeface="Segoe UI Light" panose="020B0502040204020203" pitchFamily="34" charset="0"/>
              <a:cs typeface="Segoe UI Light" panose="020B0502040204020203" pitchFamily="34" charset="0"/>
            </a:endParaRPr>
          </a:p>
        </p:txBody>
      </p:sp>
      <p:sp>
        <p:nvSpPr>
          <p:cNvPr id="141" name="Rectangle 4"/>
          <p:cNvSpPr/>
          <p:nvPr/>
        </p:nvSpPr>
        <p:spPr bwMode="gray">
          <a:xfrm>
            <a:off x="4103577" y="2509566"/>
            <a:ext cx="1919269"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Build/CI</a:t>
            </a:r>
          </a:p>
        </p:txBody>
      </p:sp>
      <p:sp>
        <p:nvSpPr>
          <p:cNvPr id="144" name="Rectangle 4"/>
          <p:cNvSpPr/>
          <p:nvPr/>
        </p:nvSpPr>
        <p:spPr bwMode="gray">
          <a:xfrm>
            <a:off x="4106481" y="4415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st</a:t>
            </a:r>
          </a:p>
        </p:txBody>
      </p:sp>
      <p:sp>
        <p:nvSpPr>
          <p:cNvPr id="116" name="Rectangle 115"/>
          <p:cNvSpPr/>
          <p:nvPr/>
        </p:nvSpPr>
        <p:spPr>
          <a:xfrm>
            <a:off x="7188154" y="2778490"/>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2" name="TextBox 121"/>
          <p:cNvSpPr txBox="1"/>
          <p:nvPr/>
        </p:nvSpPr>
        <p:spPr>
          <a:xfrm>
            <a:off x="7171954" y="207308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3</a:t>
            </a:r>
          </a:p>
        </p:txBody>
      </p:sp>
      <p:sp>
        <p:nvSpPr>
          <p:cNvPr id="126" name="TextBox 125"/>
          <p:cNvSpPr txBox="1"/>
          <p:nvPr/>
        </p:nvSpPr>
        <p:spPr>
          <a:xfrm rot="16200000">
            <a:off x="6018015" y="3588313"/>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Deploy</a:t>
            </a:r>
            <a:endParaRPr lang="en-US" sz="1765" spc="49" dirty="0">
              <a:solidFill>
                <a:prstClr val="white"/>
              </a:solidFill>
              <a:latin typeface="Segoe UI Light" panose="020B0502040204020203" pitchFamily="34" charset="0"/>
              <a:cs typeface="Segoe UI Light" panose="020B0502040204020203" pitchFamily="34" charset="0"/>
            </a:endParaRPr>
          </a:p>
        </p:txBody>
      </p:sp>
      <p:sp>
        <p:nvSpPr>
          <p:cNvPr id="152" name="Rectangle 4"/>
          <p:cNvSpPr/>
          <p:nvPr/>
        </p:nvSpPr>
        <p:spPr bwMode="gray">
          <a:xfrm>
            <a:off x="7188154" y="2778491"/>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Configuration</a:t>
            </a:r>
          </a:p>
        </p:txBody>
      </p:sp>
      <p:sp>
        <p:nvSpPr>
          <p:cNvPr id="123" name="TextBox 122"/>
          <p:cNvSpPr txBox="1"/>
          <p:nvPr/>
        </p:nvSpPr>
        <p:spPr>
          <a:xfrm>
            <a:off x="10225541" y="242051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4</a:t>
            </a:r>
          </a:p>
        </p:txBody>
      </p:sp>
      <p:sp>
        <p:nvSpPr>
          <p:cNvPr id="127" name="Rectangle 126"/>
          <p:cNvSpPr/>
          <p:nvPr/>
        </p:nvSpPr>
        <p:spPr>
          <a:xfrm>
            <a:off x="10272732" y="3137057"/>
            <a:ext cx="1919269" cy="3070830"/>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8" name="TextBox 127"/>
          <p:cNvSpPr txBox="1"/>
          <p:nvPr/>
        </p:nvSpPr>
        <p:spPr>
          <a:xfrm rot="16200000">
            <a:off x="9104528" y="3939729"/>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Monitor &amp; Learn</a:t>
            </a:r>
            <a:endParaRPr lang="en-US" sz="1765" spc="49" dirty="0">
              <a:solidFill>
                <a:prstClr val="white"/>
              </a:solidFill>
              <a:latin typeface="Segoe UI Light" panose="020B0502040204020203" pitchFamily="34" charset="0"/>
              <a:cs typeface="Segoe UI Light" panose="020B0502040204020203" pitchFamily="34" charset="0"/>
            </a:endParaRPr>
          </a:p>
        </p:txBody>
      </p:sp>
      <p:sp>
        <p:nvSpPr>
          <p:cNvPr id="170" name="Rectangle 4"/>
          <p:cNvSpPr/>
          <p:nvPr/>
        </p:nvSpPr>
        <p:spPr bwMode="gray">
          <a:xfrm>
            <a:off x="10275636" y="3137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Monitor</a:t>
            </a:r>
          </a:p>
        </p:txBody>
      </p:sp>
      <p:pic>
        <p:nvPicPr>
          <p:cNvPr id="80" name="Picture 79"/>
          <p:cNvPicPr>
            <a:picLocks noChangeAspect="1"/>
          </p:cNvPicPr>
          <p:nvPr/>
        </p:nvPicPr>
        <p:blipFill>
          <a:blip r:embed="rId4"/>
          <a:stretch>
            <a:fillRect/>
          </a:stretch>
        </p:blipFill>
        <p:spPr>
          <a:xfrm>
            <a:off x="1151150" y="2736920"/>
            <a:ext cx="1167256" cy="625864"/>
          </a:xfrm>
          <a:prstGeom prst="rect">
            <a:avLst/>
          </a:prstGeom>
        </p:spPr>
      </p:pic>
      <p:grpSp>
        <p:nvGrpSpPr>
          <p:cNvPr id="136" name="Group 135"/>
          <p:cNvGrpSpPr/>
          <p:nvPr/>
        </p:nvGrpSpPr>
        <p:grpSpPr>
          <a:xfrm>
            <a:off x="2029402" y="3117080"/>
            <a:ext cx="776720" cy="760128"/>
            <a:chOff x="2065191" y="1914181"/>
            <a:chExt cx="883828" cy="864948"/>
          </a:xfrm>
        </p:grpSpPr>
        <p:sp>
          <p:nvSpPr>
            <p:cNvPr id="1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sz="2745" kern="0">
                <a:solidFill>
                  <a:srgbClr val="000000"/>
                </a:solidFill>
                <a:latin typeface="Calibri" panose="020F0502020204030204"/>
              </a:endParaRPr>
            </a:p>
          </p:txBody>
        </p:sp>
        <p:sp>
          <p:nvSpPr>
            <p:cNvPr id="138" name="Rectangle 1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39" name="Picture 138"/>
            <p:cNvPicPr>
              <a:picLocks noChangeAspect="1"/>
            </p:cNvPicPr>
            <p:nvPr/>
          </p:nvPicPr>
          <p:blipFill>
            <a:blip r:embed="rId5">
              <a:biLevel thresh="25000"/>
            </a:blip>
            <a:stretch>
              <a:fillRect/>
            </a:stretch>
          </p:blipFill>
          <p:spPr>
            <a:xfrm>
              <a:off x="2078496" y="2064654"/>
              <a:ext cx="777488" cy="714475"/>
            </a:xfrm>
            <a:prstGeom prst="rect">
              <a:avLst/>
            </a:prstGeom>
          </p:spPr>
        </p:pic>
      </p:grpSp>
      <p:pic>
        <p:nvPicPr>
          <p:cNvPr id="8" name="Picture 7"/>
          <p:cNvPicPr>
            <a:picLocks noChangeAspect="1"/>
          </p:cNvPicPr>
          <p:nvPr/>
        </p:nvPicPr>
        <p:blipFill>
          <a:blip r:embed="rId6" cstate="print">
            <a:clrChange>
              <a:clrFrom>
                <a:srgbClr val="EFF1F4"/>
              </a:clrFrom>
              <a:clrTo>
                <a:srgbClr val="EFF1F4">
                  <a:alpha val="0"/>
                </a:srgbClr>
              </a:clrTo>
            </a:clrChange>
            <a:biLevel thresh="25000"/>
            <a:extLst>
              <a:ext uri="{28A0092B-C50C-407E-A947-70E740481C1C}">
                <a14:useLocalDpi xmlns:a14="http://schemas.microsoft.com/office/drawing/2010/main" val="0"/>
              </a:ext>
            </a:extLst>
          </a:blip>
          <a:stretch>
            <a:fillRect/>
          </a:stretch>
        </p:blipFill>
        <p:spPr>
          <a:xfrm>
            <a:off x="1165719" y="4952906"/>
            <a:ext cx="1110149" cy="292339"/>
          </a:xfrm>
          <a:prstGeom prst="rect">
            <a:avLst/>
          </a:prstGeom>
        </p:spPr>
      </p:pic>
      <p:pic>
        <p:nvPicPr>
          <p:cNvPr id="10" name="Picture 9"/>
          <p:cNvPicPr>
            <a:picLocks noChangeAspect="1"/>
          </p:cNvPicPr>
          <p:nvPr/>
        </p:nvPicPr>
        <p:blipFill>
          <a:blip r:embed="rId7"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165718" y="4594340"/>
            <a:ext cx="1254981" cy="268445"/>
          </a:xfrm>
          <a:prstGeom prst="rect">
            <a:avLst/>
          </a:prstGeom>
        </p:spPr>
      </p:pic>
      <p:pic>
        <p:nvPicPr>
          <p:cNvPr id="88" name="Picture 87"/>
          <p:cNvPicPr>
            <a:picLocks noChangeAspect="1"/>
          </p:cNvPicPr>
          <p:nvPr/>
        </p:nvPicPr>
        <p:blipFill rotWithShape="1">
          <a:blip r:embed="rId8"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213733" y="2910183"/>
            <a:ext cx="834744" cy="321054"/>
          </a:xfrm>
          <a:prstGeom prst="rect">
            <a:avLst/>
          </a:prstGeom>
        </p:spPr>
      </p:pic>
      <p:pic>
        <p:nvPicPr>
          <p:cNvPr id="89" name="Picture 8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124871" y="3221576"/>
            <a:ext cx="1035600" cy="376582"/>
          </a:xfrm>
          <a:prstGeom prst="rect">
            <a:avLst/>
          </a:prstGeom>
        </p:spPr>
      </p:pic>
      <p:grpSp>
        <p:nvGrpSpPr>
          <p:cNvPr id="13" name="Group 12"/>
          <p:cNvGrpSpPr/>
          <p:nvPr/>
        </p:nvGrpSpPr>
        <p:grpSpPr>
          <a:xfrm>
            <a:off x="4097716" y="4840512"/>
            <a:ext cx="1101869" cy="739885"/>
            <a:chOff x="4728517" y="4845638"/>
            <a:chExt cx="1123964" cy="754721"/>
          </a:xfrm>
        </p:grpSpPr>
        <p:pic>
          <p:nvPicPr>
            <p:cNvPr id="90" name="Picture 89"/>
            <p:cNvPicPr>
              <a:picLocks noChangeAspect="1"/>
            </p:cNvPicPr>
            <p:nvPr/>
          </p:nvPicPr>
          <p:blipFill rotWithShape="1">
            <a:blip r:embed="rId10"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846861" y="4845638"/>
              <a:ext cx="899620" cy="346007"/>
            </a:xfrm>
            <a:prstGeom prst="rect">
              <a:avLst/>
            </a:prstGeom>
          </p:spPr>
        </p:pic>
        <p:pic>
          <p:nvPicPr>
            <p:cNvPr id="91" name="Picture 90"/>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4728517" y="5191645"/>
              <a:ext cx="1123964" cy="408714"/>
            </a:xfrm>
            <a:prstGeom prst="rect">
              <a:avLst/>
            </a:prstGeom>
          </p:spPr>
        </p:pic>
      </p:grpSp>
      <p:pic>
        <p:nvPicPr>
          <p:cNvPr id="17" name="Picture 16"/>
          <p:cNvPicPr>
            <a:picLocks noChangeAspect="1"/>
          </p:cNvPicPr>
          <p:nvPr/>
        </p:nvPicPr>
        <p:blipFill>
          <a:blip r:embed="rId12"/>
          <a:stretch>
            <a:fillRect/>
          </a:stretch>
        </p:blipFill>
        <p:spPr>
          <a:xfrm>
            <a:off x="4247798" y="3621498"/>
            <a:ext cx="962208" cy="293727"/>
          </a:xfrm>
          <a:prstGeom prst="rect">
            <a:avLst/>
          </a:prstGeom>
        </p:spPr>
      </p:pic>
      <p:sp>
        <p:nvSpPr>
          <p:cNvPr id="99" name="TextBox 98"/>
          <p:cNvSpPr txBox="1"/>
          <p:nvPr/>
        </p:nvSpPr>
        <p:spPr>
          <a:xfrm>
            <a:off x="0" y="6446540"/>
            <a:ext cx="2935365" cy="430825"/>
          </a:xfrm>
          <a:prstGeom prst="rect">
            <a:avLst/>
          </a:prstGeom>
          <a:solidFill>
            <a:srgbClr val="002060">
              <a:alpha val="25000"/>
            </a:srgbClr>
          </a:solidFill>
        </p:spPr>
        <p:txBody>
          <a:bodyPr wrap="square" rtlCol="0" anchor="ctr">
            <a:noAutofit/>
          </a:bodyPr>
          <a:lstStyle/>
          <a:p>
            <a:pPr>
              <a:defRPr/>
            </a:pPr>
            <a:r>
              <a:rPr lang="en-US" sz="784" i="1" kern="0" spc="20" dirty="0">
                <a:solidFill>
                  <a:srgbClr val="0072C6">
                    <a:lumMod val="20000"/>
                    <a:lumOff val="80000"/>
                  </a:srgbClr>
                </a:solidFill>
                <a:cs typeface="Arial" pitchFamily="34" charset="0"/>
              </a:rPr>
              <a:t>This graphic shows OSS and partner</a:t>
            </a:r>
            <a:r>
              <a:rPr lang="en-US" sz="784" i="1" kern="0" dirty="0">
                <a:solidFill>
                  <a:srgbClr val="0072C6">
                    <a:lumMod val="20000"/>
                    <a:lumOff val="80000"/>
                  </a:srgbClr>
                </a:solidFill>
                <a:cs typeface="Arial" pitchFamily="34" charset="0"/>
              </a:rPr>
              <a:t> products that are integrated with the Microsoft </a:t>
            </a:r>
            <a:r>
              <a:rPr lang="en-US" sz="784" i="1" kern="0" dirty="0" err="1">
                <a:solidFill>
                  <a:srgbClr val="0072C6">
                    <a:lumMod val="20000"/>
                    <a:lumOff val="80000"/>
                  </a:srgbClr>
                </a:solidFill>
                <a:cs typeface="Arial" pitchFamily="34" charset="0"/>
              </a:rPr>
              <a:t>DevOps</a:t>
            </a:r>
            <a:r>
              <a:rPr lang="en-US" sz="784" i="1" kern="0" dirty="0">
                <a:solidFill>
                  <a:srgbClr val="0072C6">
                    <a:lumMod val="20000"/>
                    <a:lumOff val="80000"/>
                  </a:srgbClr>
                </a:solidFill>
                <a:cs typeface="Arial" pitchFamily="34" charset="0"/>
              </a:rPr>
              <a:t> solution</a:t>
            </a:r>
          </a:p>
        </p:txBody>
      </p:sp>
      <p:sp>
        <p:nvSpPr>
          <p:cNvPr id="174" name="Rectangle 173"/>
          <p:cNvSpPr/>
          <p:nvPr/>
        </p:nvSpPr>
        <p:spPr>
          <a:xfrm rot="18900000">
            <a:off x="2063227" y="211993"/>
            <a:ext cx="1021244" cy="1021244"/>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7" name="Title 1"/>
          <p:cNvSpPr>
            <a:spLocks noGrp="1"/>
          </p:cNvSpPr>
          <p:nvPr>
            <p:ph type="title"/>
          </p:nvPr>
        </p:nvSpPr>
        <p:spPr>
          <a:xfrm>
            <a:off x="268928" y="291548"/>
            <a:ext cx="11655840" cy="899537"/>
          </a:xfrm>
        </p:spPr>
        <p:txBody>
          <a:bodyPr/>
          <a:lstStyle/>
          <a:p>
            <a:r>
              <a:rPr lang="en-US" sz="3333" dirty="0">
                <a:solidFill>
                  <a:schemeClr val="bg1"/>
                </a:solidFill>
              </a:rPr>
              <a:t>Mixed</a:t>
            </a:r>
            <a:br>
              <a:rPr lang="en-US" sz="3333" dirty="0">
                <a:solidFill>
                  <a:schemeClr val="bg1"/>
                </a:solidFill>
              </a:rPr>
            </a:br>
            <a:r>
              <a:rPr lang="en-US" sz="3333" dirty="0">
                <a:solidFill>
                  <a:schemeClr val="bg1"/>
                </a:solidFill>
              </a:rPr>
              <a:t>Ecosystem</a:t>
            </a:r>
            <a:endParaRPr lang="en-US" sz="3333" dirty="0">
              <a:solidFill>
                <a:schemeClr val="bg1"/>
              </a:solidFill>
            </a:endParaRPr>
          </a:p>
        </p:txBody>
      </p:sp>
      <p:pic>
        <p:nvPicPr>
          <p:cNvPr id="20" name="Picture 19"/>
          <p:cNvPicPr>
            <a:picLocks noChangeAspect="1"/>
          </p:cNvPicPr>
          <p:nvPr/>
        </p:nvPicPr>
        <p:blipFill>
          <a:blip r:embed="rId13"/>
          <a:stretch>
            <a:fillRect/>
          </a:stretch>
        </p:blipFill>
        <p:spPr>
          <a:xfrm>
            <a:off x="4193601" y="3947450"/>
            <a:ext cx="1185268" cy="363795"/>
          </a:xfrm>
          <a:prstGeom prst="rect">
            <a:avLst/>
          </a:prstGeom>
        </p:spPr>
      </p:pic>
      <p:pic>
        <p:nvPicPr>
          <p:cNvPr id="24" name="Picture 23"/>
          <p:cNvPicPr>
            <a:picLocks noChangeAspect="1"/>
          </p:cNvPicPr>
          <p:nvPr/>
        </p:nvPicPr>
        <p:blipFill>
          <a:blip r:embed="rId14"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261340" y="3179041"/>
            <a:ext cx="627890" cy="627890"/>
          </a:xfrm>
          <a:prstGeom prst="rect">
            <a:avLst/>
          </a:prstGeom>
        </p:spPr>
      </p:pic>
      <p:pic>
        <p:nvPicPr>
          <p:cNvPr id="25" name="Picture 24"/>
          <p:cNvPicPr>
            <a:picLocks noChangeAspect="1"/>
          </p:cNvPicPr>
          <p:nvPr/>
        </p:nvPicPr>
        <p:blipFill>
          <a:blip r:embed="rId15" cstate="print">
            <a:lum bright="70000" contrast="-70000"/>
            <a:extLst>
              <a:ext uri="{28A0092B-C50C-407E-A947-70E740481C1C}">
                <a14:useLocalDpi xmlns:a14="http://schemas.microsoft.com/office/drawing/2010/main" val="0"/>
              </a:ext>
            </a:extLst>
          </a:blip>
          <a:stretch>
            <a:fillRect/>
          </a:stretch>
        </p:blipFill>
        <p:spPr>
          <a:xfrm>
            <a:off x="7978472" y="3298799"/>
            <a:ext cx="485049" cy="476637"/>
          </a:xfrm>
          <a:prstGeom prst="rect">
            <a:avLst/>
          </a:prstGeom>
        </p:spPr>
      </p:pic>
      <p:sp>
        <p:nvSpPr>
          <p:cNvPr id="181" name="Rectangle 4"/>
          <p:cNvSpPr/>
          <p:nvPr/>
        </p:nvSpPr>
        <p:spPr bwMode="gray">
          <a:xfrm>
            <a:off x="7188154" y="3877208"/>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Release</a:t>
            </a:r>
          </a:p>
        </p:txBody>
      </p:sp>
      <p:pic>
        <p:nvPicPr>
          <p:cNvPr id="182" name="Picture 181"/>
          <p:cNvPicPr>
            <a:picLocks noChangeAspect="1"/>
          </p:cNvPicPr>
          <p:nvPr/>
        </p:nvPicPr>
        <p:blipFill rotWithShape="1">
          <a:blip r:embed="rId8"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7300658" y="4227399"/>
            <a:ext cx="834744" cy="321054"/>
          </a:xfrm>
          <a:prstGeom prst="rect">
            <a:avLst/>
          </a:prstGeom>
        </p:spPr>
      </p:pic>
      <p:pic>
        <p:nvPicPr>
          <p:cNvPr id="186" name="Picture 18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211796" y="4516440"/>
            <a:ext cx="1035600" cy="376582"/>
          </a:xfrm>
          <a:prstGeom prst="rect">
            <a:avLst/>
          </a:prstGeom>
        </p:spPr>
      </p:pic>
      <p:pic>
        <p:nvPicPr>
          <p:cNvPr id="188" name="Picture 187"/>
          <p:cNvPicPr>
            <a:picLocks noChangeAspect="1"/>
          </p:cNvPicPr>
          <p:nvPr/>
        </p:nvPicPr>
        <p:blipFill>
          <a:blip r:embed="rId12"/>
          <a:stretch>
            <a:fillRect/>
          </a:stretch>
        </p:blipFill>
        <p:spPr>
          <a:xfrm>
            <a:off x="7294625" y="4894460"/>
            <a:ext cx="962208" cy="293727"/>
          </a:xfrm>
          <a:prstGeom prst="rect">
            <a:avLst/>
          </a:prstGeom>
        </p:spPr>
      </p:pic>
      <p:pic>
        <p:nvPicPr>
          <p:cNvPr id="189" name="Picture 188"/>
          <p:cNvPicPr>
            <a:picLocks noChangeAspect="1"/>
          </p:cNvPicPr>
          <p:nvPr/>
        </p:nvPicPr>
        <p:blipFill>
          <a:blip r:embed="rId13"/>
          <a:stretch>
            <a:fillRect/>
          </a:stretch>
        </p:blipFill>
        <p:spPr>
          <a:xfrm>
            <a:off x="7240427" y="5189518"/>
            <a:ext cx="1185268" cy="363795"/>
          </a:xfrm>
          <a:prstGeom prst="rect">
            <a:avLst/>
          </a:prstGeom>
        </p:spPr>
      </p:pic>
      <p:pic>
        <p:nvPicPr>
          <p:cNvPr id="26" name="Picture 2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01729" y="5580396"/>
            <a:ext cx="1074714" cy="295188"/>
          </a:xfrm>
          <a:prstGeom prst="rect">
            <a:avLst/>
          </a:prstGeom>
        </p:spPr>
      </p:pic>
      <p:pic>
        <p:nvPicPr>
          <p:cNvPr id="66" name="Picture 65"/>
          <p:cNvPicPr>
            <a:picLocks noChangeAspect="1"/>
          </p:cNvPicPr>
          <p:nvPr/>
        </p:nvPicPr>
        <p:blipFill>
          <a:blip r:embed="rId17" cstate="print">
            <a:lum bright="70000" contrast="-70000"/>
            <a:extLst>
              <a:ext uri="{28A0092B-C50C-407E-A947-70E740481C1C}">
                <a14:useLocalDpi xmlns:a14="http://schemas.microsoft.com/office/drawing/2010/main" val="0"/>
              </a:ext>
            </a:extLst>
          </a:blip>
          <a:stretch>
            <a:fillRect/>
          </a:stretch>
        </p:blipFill>
        <p:spPr>
          <a:xfrm>
            <a:off x="10390225" y="3497935"/>
            <a:ext cx="1240043" cy="930032"/>
          </a:xfrm>
          <a:prstGeom prst="rect">
            <a:avLst/>
          </a:prstGeom>
        </p:spPr>
      </p:pic>
      <p:pic>
        <p:nvPicPr>
          <p:cNvPr id="67" name="Picture 66"/>
          <p:cNvPicPr>
            <a:picLocks noChangeAspect="1"/>
          </p:cNvPicPr>
          <p:nvPr/>
        </p:nvPicPr>
        <p:blipFill rotWithShape="1">
          <a:blip r:embed="rId18">
            <a:extLst>
              <a:ext uri="{28A0092B-C50C-407E-A947-70E740481C1C}">
                <a14:useLocalDpi xmlns:a14="http://schemas.microsoft.com/office/drawing/2010/main" val="0"/>
              </a:ext>
            </a:extLst>
          </a:blip>
          <a:srcRect b="12758"/>
          <a:stretch/>
        </p:blipFill>
        <p:spPr>
          <a:xfrm>
            <a:off x="10435034" y="3899006"/>
            <a:ext cx="1195233" cy="1042745"/>
          </a:xfrm>
          <a:prstGeom prst="rect">
            <a:avLst/>
          </a:prstGeom>
        </p:spPr>
      </p:pic>
      <p:grpSp>
        <p:nvGrpSpPr>
          <p:cNvPr id="74" name="Group 73"/>
          <p:cNvGrpSpPr/>
          <p:nvPr/>
        </p:nvGrpSpPr>
        <p:grpSpPr>
          <a:xfrm>
            <a:off x="9257063" y="5221735"/>
            <a:ext cx="2934938" cy="1635779"/>
            <a:chOff x="6610350" y="4013200"/>
            <a:chExt cx="3446463" cy="1920876"/>
          </a:xfrm>
        </p:grpSpPr>
        <p:sp>
          <p:nvSpPr>
            <p:cNvPr id="75"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6"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7"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8"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9"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1"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2"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3"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4"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5"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6"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7"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2"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3"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4"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5"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6"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7"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8"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00"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101" name="Rectangle 100"/>
          <p:cNvSpPr/>
          <p:nvPr/>
        </p:nvSpPr>
        <p:spPr>
          <a:xfrm rot="18900000">
            <a:off x="820140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02" name="Rectangle 101"/>
          <p:cNvSpPr/>
          <p:nvPr/>
        </p:nvSpPr>
        <p:spPr>
          <a:xfrm rot="18900000">
            <a:off x="5140260"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03" name="Rounded Rectangle 102"/>
          <p:cNvSpPr/>
          <p:nvPr/>
        </p:nvSpPr>
        <p:spPr bwMode="auto">
          <a:xfrm>
            <a:off x="2599982" y="717318"/>
            <a:ext cx="9100962" cy="732301"/>
          </a:xfrm>
          <a:prstGeom prst="roundRect">
            <a:avLst/>
          </a:prstGeom>
          <a:solidFill>
            <a:schemeClr val="bg1">
              <a:alpha val="20000"/>
            </a:schemeClr>
          </a:solidFill>
          <a:ln w="142875" cap="rnd">
            <a:solidFill>
              <a:schemeClr val="bg1">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a:xfrm>
            <a:off x="3137831" y="912984"/>
            <a:ext cx="2274828" cy="331899"/>
          </a:xfrm>
          <a:prstGeom prst="rect">
            <a:avLst/>
          </a:prstGeom>
        </p:spPr>
        <p:txBody>
          <a:bodyPr wrap="none">
            <a:spAutoFit/>
          </a:bodyPr>
          <a:lstStyle/>
          <a:p>
            <a:r>
              <a:rPr lang="en-US" sz="1568" dirty="0">
                <a:gradFill>
                  <a:gsLst>
                    <a:gs pos="0">
                      <a:srgbClr val="FFFFFF"/>
                    </a:gs>
                    <a:gs pos="100000">
                      <a:srgbClr val="FFFFFF"/>
                    </a:gs>
                  </a:gsLst>
                  <a:lin ang="5400000" scaled="0"/>
                </a:gradFill>
                <a:ea typeface="Segoe UI" pitchFamily="34" charset="0"/>
                <a:cs typeface="Segoe UI" pitchFamily="34" charset="0"/>
              </a:rPr>
              <a:t> People | Process | Tools</a:t>
            </a:r>
            <a:endParaRPr lang="en-US" sz="1568" dirty="0">
              <a:solidFill>
                <a:srgbClr val="505050"/>
              </a:solidFill>
            </a:endParaRPr>
          </a:p>
        </p:txBody>
      </p:sp>
      <p:sp>
        <p:nvSpPr>
          <p:cNvPr id="105" name="Isosceles Triangle 3"/>
          <p:cNvSpPr/>
          <p:nvPr/>
        </p:nvSpPr>
        <p:spPr bwMode="auto">
          <a:xfrm rot="5400000">
            <a:off x="2815910"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Isosceles Triangle 3"/>
          <p:cNvSpPr/>
          <p:nvPr/>
        </p:nvSpPr>
        <p:spPr bwMode="auto">
          <a:xfrm rot="5400000">
            <a:off x="5900487"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Isosceles Triangle 3"/>
          <p:cNvSpPr/>
          <p:nvPr/>
        </p:nvSpPr>
        <p:spPr bwMode="auto">
          <a:xfrm rot="5400000">
            <a:off x="8955036" y="597003"/>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Isosceles Triangle 3"/>
          <p:cNvSpPr/>
          <p:nvPr/>
        </p:nvSpPr>
        <p:spPr bwMode="auto">
          <a:xfrm rot="16200000" flipH="1">
            <a:off x="2715748" y="1266420"/>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Isosceles Triangle 3"/>
          <p:cNvSpPr/>
          <p:nvPr/>
        </p:nvSpPr>
        <p:spPr bwMode="auto">
          <a:xfrm rot="16200000" flipH="1">
            <a:off x="5803471" y="1266421"/>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Isosceles Triangle 3"/>
          <p:cNvSpPr/>
          <p:nvPr/>
        </p:nvSpPr>
        <p:spPr bwMode="auto">
          <a:xfrm rot="16200000" flipH="1">
            <a:off x="8880362" y="126642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p:cNvGrpSpPr/>
          <p:nvPr/>
        </p:nvGrpSpPr>
        <p:grpSpPr>
          <a:xfrm>
            <a:off x="9412736" y="33256"/>
            <a:ext cx="2185961" cy="1423631"/>
            <a:chOff x="9698195" y="0"/>
            <a:chExt cx="2229794" cy="1452178"/>
          </a:xfrm>
        </p:grpSpPr>
        <p:pic>
          <p:nvPicPr>
            <p:cNvPr id="112" name="Picture 111"/>
            <p:cNvPicPr>
              <a:picLocks noChangeAspect="1"/>
            </p:cNvPicPr>
            <p:nvPr/>
          </p:nvPicPr>
          <p:blipFill>
            <a:blip r:embed="rId19"/>
            <a:stretch>
              <a:fillRect/>
            </a:stretch>
          </p:blipFill>
          <p:spPr>
            <a:xfrm>
              <a:off x="9698195" y="219347"/>
              <a:ext cx="1695143" cy="1232831"/>
            </a:xfrm>
            <a:prstGeom prst="rect">
              <a:avLst/>
            </a:prstGeom>
          </p:spPr>
        </p:pic>
        <p:grpSp>
          <p:nvGrpSpPr>
            <p:cNvPr id="113" name="Group 112"/>
            <p:cNvGrpSpPr/>
            <p:nvPr/>
          </p:nvGrpSpPr>
          <p:grpSpPr>
            <a:xfrm>
              <a:off x="11080289" y="0"/>
              <a:ext cx="847700" cy="1452178"/>
              <a:chOff x="10147300" y="798513"/>
              <a:chExt cx="1128713" cy="1933575"/>
            </a:xfrm>
          </p:grpSpPr>
          <p:sp>
            <p:nvSpPr>
              <p:cNvPr id="115"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0"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1"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4"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5"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2"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3"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5"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6"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7"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8"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9"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0"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1"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3"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4"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5"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6"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7"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8"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9"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0"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1"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2"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3"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4"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5"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6"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7"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spTree>
    <p:extLst>
      <p:ext uri="{BB962C8B-B14F-4D97-AF65-F5344CB8AC3E}">
        <p14:creationId xmlns:p14="http://schemas.microsoft.com/office/powerpoint/2010/main" val="425429944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8160373" y="2421263"/>
            <a:ext cx="2411041" cy="2411041"/>
            <a:chOff x="6045400" y="3334963"/>
            <a:chExt cx="1808537" cy="1808537"/>
          </a:xfrm>
        </p:grpSpPr>
        <p:sp>
          <p:nvSpPr>
            <p:cNvPr id="34" name="Oval 33"/>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35" name="Freeform 34"/>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4" name="Group 3"/>
          <p:cNvGrpSpPr/>
          <p:nvPr/>
        </p:nvGrpSpPr>
        <p:grpSpPr>
          <a:xfrm>
            <a:off x="4578459" y="3212620"/>
            <a:ext cx="2824090" cy="2618077"/>
            <a:chOff x="4670046" y="3276509"/>
            <a:chExt cx="2881128" cy="2670954"/>
          </a:xfrm>
        </p:grpSpPr>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228707" y="2884011"/>
            <a:ext cx="11654187" cy="1269895"/>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r>
              <a:rPr lang="en-US" sz="16272" spc="-74" dirty="0">
                <a:solidFill>
                  <a:srgbClr val="0078D7"/>
                </a:solidFill>
              </a:rPr>
              <a:t>Office</a:t>
            </a:r>
            <a:endParaRPr lang="en-US" sz="3920" spc="-74" dirty="0">
              <a:solidFill>
                <a:srgbClr val="0078D7"/>
              </a:solidFill>
            </a:endParaRPr>
          </a:p>
        </p:txBody>
      </p:sp>
      <p:grpSp>
        <p:nvGrpSpPr>
          <p:cNvPr id="25" name="Group 24"/>
          <p:cNvGrpSpPr/>
          <p:nvPr/>
        </p:nvGrpSpPr>
        <p:grpSpPr>
          <a:xfrm>
            <a:off x="1562923" y="2421263"/>
            <a:ext cx="2411041" cy="2411041"/>
            <a:chOff x="156900" y="18108"/>
            <a:chExt cx="1808537" cy="1808537"/>
          </a:xfrm>
        </p:grpSpPr>
        <p:sp>
          <p:nvSpPr>
            <p:cNvPr id="27" name="Oval 26"/>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30" name="TextBox 29"/>
          <p:cNvSpPr txBox="1"/>
          <p:nvPr/>
        </p:nvSpPr>
        <p:spPr>
          <a:xfrm>
            <a:off x="8022717" y="5052032"/>
            <a:ext cx="2688168"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grpSp>
        <p:nvGrpSpPr>
          <p:cNvPr id="36" name="Group 35"/>
          <p:cNvGrpSpPr/>
          <p:nvPr/>
        </p:nvGrpSpPr>
        <p:grpSpPr>
          <a:xfrm>
            <a:off x="4814520" y="2421263"/>
            <a:ext cx="2411041" cy="2411041"/>
            <a:chOff x="5078585" y="3037622"/>
            <a:chExt cx="1808537" cy="1808537"/>
          </a:xfrm>
        </p:grpSpPr>
        <p:sp>
          <p:nvSpPr>
            <p:cNvPr id="37" name="Oval 36"/>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sp>
        <p:nvSpPr>
          <p:cNvPr id="17" name="TextBox 16"/>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spTree>
    <p:extLst>
      <p:ext uri="{BB962C8B-B14F-4D97-AF65-F5344CB8AC3E}">
        <p14:creationId xmlns:p14="http://schemas.microsoft.com/office/powerpoint/2010/main" val="17531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50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xit" presetSubtype="0" fill="hold" grpId="0" nodeType="withEffect">
                                  <p:stCondLst>
                                    <p:cond delay="500"/>
                                  </p:stCondLst>
                                  <p:childTnLst>
                                    <p:animEffect transition="out" filter="fade">
                                      <p:cBhvr>
                                        <p:cTn id="9" dur="500"/>
                                        <p:tgtEl>
                                          <p:spTgt spid="30"/>
                                        </p:tgtEl>
                                      </p:cBhvr>
                                    </p:animEffect>
                                    <p:set>
                                      <p:cBhvr>
                                        <p:cTn id="10" dur="1" fill="hold">
                                          <p:stCondLst>
                                            <p:cond delay="499"/>
                                          </p:stCondLst>
                                        </p:cTn>
                                        <p:tgtEl>
                                          <p:spTgt spid="30"/>
                                        </p:tgtEl>
                                        <p:attrNameLst>
                                          <p:attrName>style.visibility</p:attrName>
                                        </p:attrNameLst>
                                      </p:cBhvr>
                                      <p:to>
                                        <p:strVal val="hidden"/>
                                      </p:to>
                                    </p:set>
                                  </p:childTnLst>
                                </p:cTn>
                              </p:par>
                              <p:par>
                                <p:cTn id="11" presetID="10" presetClass="exit" presetSubtype="0" fill="hold" nodeType="withEffect">
                                  <p:stCondLst>
                                    <p:cond delay="500"/>
                                  </p:stCondLst>
                                  <p:childTnLst>
                                    <p:animEffect transition="out" filter="fade">
                                      <p:cBhvr>
                                        <p:cTn id="12" dur="500"/>
                                        <p:tgtEl>
                                          <p:spTgt spid="25"/>
                                        </p:tgtEl>
                                      </p:cBhvr>
                                    </p:animEffect>
                                    <p:set>
                                      <p:cBhvr>
                                        <p:cTn id="13" dur="1" fill="hold">
                                          <p:stCondLst>
                                            <p:cond delay="499"/>
                                          </p:stCondLst>
                                        </p:cTn>
                                        <p:tgtEl>
                                          <p:spTgt spid="25"/>
                                        </p:tgtEl>
                                        <p:attrNameLst>
                                          <p:attrName>style.visibility</p:attrName>
                                        </p:attrNameLst>
                                      </p:cBhvr>
                                      <p:to>
                                        <p:strVal val="hidden"/>
                                      </p:to>
                                    </p:set>
                                  </p:childTnLst>
                                </p:cTn>
                              </p:par>
                              <p:par>
                                <p:cTn id="14" presetID="10" presetClass="exit" presetSubtype="0" fill="hold" nodeType="withEffect">
                                  <p:stCondLst>
                                    <p:cond delay="500"/>
                                  </p:stCondLst>
                                  <p:childTnLst>
                                    <p:animEffect transition="out" filter="fade">
                                      <p:cBhvr>
                                        <p:cTn id="15" dur="500"/>
                                        <p:tgtEl>
                                          <p:spTgt spid="33"/>
                                        </p:tgtEl>
                                      </p:cBhvr>
                                    </p:animEffect>
                                    <p:set>
                                      <p:cBhvr>
                                        <p:cTn id="16" dur="1" fill="hold">
                                          <p:stCondLst>
                                            <p:cond delay="499"/>
                                          </p:stCondLst>
                                        </p:cTn>
                                        <p:tgtEl>
                                          <p:spTgt spid="33"/>
                                        </p:tgtEl>
                                        <p:attrNameLst>
                                          <p:attrName>style.visibility</p:attrName>
                                        </p:attrNameLst>
                                      </p:cBhvr>
                                      <p:to>
                                        <p:strVal val="hidden"/>
                                      </p:to>
                                    </p:set>
                                  </p:childTnLst>
                                </p:cTn>
                              </p:par>
                            </p:childTnLst>
                          </p:cTn>
                        </p:par>
                        <p:par>
                          <p:cTn id="17" fill="hold">
                            <p:stCondLst>
                              <p:cond delay="1000"/>
                            </p:stCondLst>
                            <p:childTnLst>
                              <p:par>
                                <p:cTn id="18" presetID="35" presetClass="path" presetSubtype="0" decel="100000" fill="hold" nodeType="afterEffect">
                                  <p:stCondLst>
                                    <p:cond delay="0"/>
                                  </p:stCondLst>
                                  <p:childTnLst>
                                    <p:animMotion origin="layout" path="M 0 -3.7037E-6 L -0.33333 -3.7037E-6 " pathEditMode="relative" rAng="0" ptsTypes="AA">
                                      <p:cBhvr>
                                        <p:cTn id="19" dur="750" fill="hold"/>
                                        <p:tgtEl>
                                          <p:spTgt spid="36"/>
                                        </p:tgtEl>
                                        <p:attrNameLst>
                                          <p:attrName>ppt_x</p:attrName>
                                          <p:attrName>ppt_y</p:attrName>
                                        </p:attrNameLst>
                                      </p:cBhvr>
                                      <p:rCtr x="-16667" y="0"/>
                                    </p:animMotion>
                                  </p:childTnLst>
                                </p:cTn>
                              </p:par>
                              <p:par>
                                <p:cTn id="20" presetID="35" presetClass="path" presetSubtype="0" decel="100000" fill="hold" nodeType="withEffect">
                                  <p:stCondLst>
                                    <p:cond delay="0"/>
                                  </p:stCondLst>
                                  <p:childTnLst>
                                    <p:animMotion origin="layout" path="M 0 -3.7037E-6 L -0.33333 -3.7037E-6 " pathEditMode="relative" rAng="0" ptsTypes="AA">
                                      <p:cBhvr>
                                        <p:cTn id="21" dur="750" fill="hold"/>
                                        <p:tgtEl>
                                          <p:spTgt spid="4"/>
                                        </p:tgtEl>
                                        <p:attrNameLst>
                                          <p:attrName>ppt_x</p:attrName>
                                          <p:attrName>ppt_y</p:attrName>
                                        </p:attrNameLst>
                                      </p:cBhvr>
                                      <p:rCtr x="-16667" y="0"/>
                                    </p:animMotion>
                                  </p:childTnLst>
                                </p:cTn>
                              </p:par>
                            </p:childTnLst>
                          </p:cTn>
                        </p:par>
                        <p:par>
                          <p:cTn id="22" fill="hold">
                            <p:stCondLst>
                              <p:cond delay="1750"/>
                            </p:stCondLst>
                            <p:childTnLst>
                              <p:par>
                                <p:cTn id="23" presetID="14" presetClass="entr" presetSubtype="10"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randombar(horizontal)">
                                      <p:cBhvr>
                                        <p:cTn id="25" dur="500"/>
                                        <p:tgtEl>
                                          <p:spTgt spid="26"/>
                                        </p:tgtEl>
                                      </p:cBhvr>
                                    </p:animEffect>
                                  </p:childTnLst>
                                </p:cTn>
                              </p:par>
                              <p:par>
                                <p:cTn id="26" presetID="10" presetClass="exit" presetSubtype="0" fill="hold" grpId="0" nodeType="withEffect">
                                  <p:stCondLst>
                                    <p:cond delay="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p:bldP spid="30" grpId="0"/>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8460" y="150192"/>
            <a:ext cx="12063520" cy="6563676"/>
            <a:chOff x="20477812" y="894310"/>
            <a:chExt cx="7341050" cy="3994213"/>
          </a:xfrm>
        </p:grpSpPr>
        <p:sp>
          <p:nvSpPr>
            <p:cNvPr id="6" name="Rectangle 5"/>
            <p:cNvSpPr/>
            <p:nvPr/>
          </p:nvSpPr>
          <p:spPr bwMode="auto">
            <a:xfrm>
              <a:off x="20477812" y="894310"/>
              <a:ext cx="7341050" cy="3994213"/>
            </a:xfrm>
            <a:prstGeom prst="rect">
              <a:avLst/>
            </a:prstGeom>
            <a:solidFill>
              <a:srgbClr val="1D1D1D"/>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2999547" y="3579554"/>
              <a:ext cx="2317215" cy="1141657"/>
              <a:chOff x="8824878" y="2029499"/>
              <a:chExt cx="2644511" cy="2605824"/>
            </a:xfrm>
          </p:grpSpPr>
          <p:sp>
            <p:nvSpPr>
              <p:cNvPr id="36" name="Rectangle 35"/>
              <p:cNvSpPr/>
              <p:nvPr/>
            </p:nvSpPr>
            <p:spPr bwMode="auto">
              <a:xfrm>
                <a:off x="8824878" y="2029499"/>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2133" kern="0" dirty="0">
                  <a:solidFill>
                    <a:srgbClr val="FFFFFF"/>
                  </a:solidFill>
                </a:endParaRPr>
              </a:p>
              <a:p>
                <a:pPr algn="ctr" defTabSz="913516" fontAlgn="base">
                  <a:spcBef>
                    <a:spcPct val="0"/>
                  </a:spcBef>
                  <a:spcAft>
                    <a:spcPct val="0"/>
                  </a:spcAft>
                  <a:defRPr/>
                </a:pPr>
                <a:r>
                  <a:rPr lang="en-US" sz="2133" kern="0" dirty="0">
                    <a:solidFill>
                      <a:srgbClr val="FFFFFF"/>
                    </a:solidFill>
                  </a:rPr>
                  <a:t>Nearly 50 million Office Online users</a:t>
                </a:r>
                <a:endParaRPr lang="en-US" sz="2133" kern="6000" dirty="0">
                  <a:solidFill>
                    <a:srgbClr val="FFFFFF"/>
                  </a:solidFill>
                  <a:cs typeface="Segoe UI Light" panose="020B0502040204020203" pitchFamily="34" charset="0"/>
                </a:endParaRPr>
              </a:p>
            </p:txBody>
          </p:sp>
          <p:pic>
            <p:nvPicPr>
              <p:cNvPr id="37" name="Picture 36"/>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269867" y="2231895"/>
                <a:ext cx="1576701" cy="1100516"/>
              </a:xfrm>
              <a:prstGeom prst="rect">
                <a:avLst/>
              </a:prstGeom>
            </p:spPr>
          </p:pic>
        </p:grpSp>
        <p:grpSp>
          <p:nvGrpSpPr>
            <p:cNvPr id="8" name="Group 7"/>
            <p:cNvGrpSpPr/>
            <p:nvPr/>
          </p:nvGrpSpPr>
          <p:grpSpPr>
            <a:xfrm>
              <a:off x="22999547" y="1101661"/>
              <a:ext cx="2317215" cy="1141463"/>
              <a:chOff x="9028816" y="3963684"/>
              <a:chExt cx="2644511" cy="2605379"/>
            </a:xfrm>
            <a:solidFill>
              <a:srgbClr val="FF8B00"/>
            </a:solidFill>
          </p:grpSpPr>
          <p:sp>
            <p:nvSpPr>
              <p:cNvPr id="34" name="Rectangle 33"/>
              <p:cNvSpPr/>
              <p:nvPr/>
            </p:nvSpPr>
            <p:spPr bwMode="auto">
              <a:xfrm>
                <a:off x="9028816" y="3963684"/>
                <a:ext cx="2644511" cy="2605379"/>
              </a:xfrm>
              <a:prstGeom prst="rect">
                <a:avLst/>
              </a:prstGeom>
              <a:solidFill>
                <a:srgbClr val="7EB900"/>
              </a:solidFill>
              <a:ln w="9525" cap="flat" cmpd="sng" algn="ctr">
                <a:noFill/>
                <a:prstDash val="solid"/>
                <a:headEnd type="none" w="med" len="med"/>
                <a:tailEnd type="none" w="med" len="med"/>
              </a:ln>
              <a:effectLst/>
            </p:spPr>
            <p:txBody>
              <a:bodyPr lIns="268813" tIns="806325" rIns="179183" bIns="33600" rtlCol="0" anchor="t" anchorCtr="0"/>
              <a:lstStyle/>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8 Million Subscribers in </a:t>
                </a: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1 countries </a:t>
                </a:r>
              </a:p>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5"/>
              <p:cNvPicPr>
                <a:picLocks noChangeAspect="1" noChangeArrowheads="1"/>
              </p:cNvPicPr>
              <p:nvPr/>
            </p:nvPicPr>
            <p:blipFill>
              <a:blip r:embed="rId4"/>
              <a:srcRect/>
              <a:stretch>
                <a:fillRect/>
              </a:stretch>
            </p:blipFill>
            <p:spPr bwMode="black">
              <a:xfrm>
                <a:off x="9587562" y="4720373"/>
                <a:ext cx="1606236" cy="436020"/>
              </a:xfrm>
              <a:prstGeom prst="rect">
                <a:avLst/>
              </a:prstGeom>
              <a:noFill/>
              <a:ln w="9525">
                <a:noFill/>
                <a:miter lim="800000"/>
                <a:headEnd/>
                <a:tailEnd/>
              </a:ln>
              <a:effectLst/>
            </p:spPr>
          </p:pic>
        </p:grpSp>
        <p:sp>
          <p:nvSpPr>
            <p:cNvPr id="9" name="Rectangle 8"/>
            <p:cNvSpPr/>
            <p:nvPr/>
          </p:nvSpPr>
          <p:spPr bwMode="auto">
            <a:xfrm>
              <a:off x="20573516" y="2350021"/>
              <a:ext cx="2317214" cy="1146000"/>
            </a:xfrm>
            <a:prstGeom prst="rect">
              <a:avLst/>
            </a:prstGeom>
            <a:solidFill>
              <a:srgbClr val="00BBF1"/>
            </a:solidFill>
            <a:ln w="9525" cap="flat" cmpd="sng" algn="ctr">
              <a:noFill/>
              <a:prstDash val="solid"/>
              <a:headEnd type="none" w="med" len="med"/>
              <a:tailEnd type="none" w="med" len="med"/>
            </a:ln>
            <a:effectLst/>
          </p:spPr>
          <p:txBody>
            <a:bodyPr lIns="268813" tIns="268813" rIns="179183" bIns="33600" rtlCol="0" anchor="t" anchorCtr="0"/>
            <a:lstStyle/>
            <a:p>
              <a:pPr marL="984086" defTabSz="913691" fontAlgn="base">
                <a:lnSpc>
                  <a:spcPct val="90000"/>
                </a:lnSpc>
                <a:spcBef>
                  <a:spcPct val="0"/>
                </a:spcBef>
                <a:spcAft>
                  <a:spcPct val="0"/>
                </a:spcAft>
                <a:defRPr/>
              </a:pPr>
              <a:r>
                <a:rPr lang="en-US" sz="1866" kern="0" dirty="0">
                  <a:gradFill>
                    <a:gsLst>
                      <a:gs pos="0">
                        <a:srgbClr val="FFFFFF"/>
                      </a:gs>
                      <a:gs pos="100000">
                        <a:srgbClr val="FFFFFF"/>
                      </a:gs>
                    </a:gsLst>
                    <a:lin ang="5400000" scaled="0"/>
                  </a:gradFill>
                  <a:ea typeface="Segoe UI" pitchFamily="34" charset="0"/>
                  <a:cs typeface="Segoe UI" pitchFamily="34" charset="0"/>
                </a:rPr>
                <a:t>Outlook.com has over 400 Million active users and is the world’s fastest growing email service</a:t>
              </a:r>
            </a:p>
          </p:txBody>
        </p:sp>
        <p:grpSp>
          <p:nvGrpSpPr>
            <p:cNvPr id="10" name="Group 9"/>
            <p:cNvGrpSpPr/>
            <p:nvPr/>
          </p:nvGrpSpPr>
          <p:grpSpPr>
            <a:xfrm>
              <a:off x="20573518" y="1101661"/>
              <a:ext cx="1059576" cy="1141463"/>
              <a:chOff x="2802881" y="5351396"/>
              <a:chExt cx="1441301" cy="1552690"/>
            </a:xfrm>
          </p:grpSpPr>
          <p:sp>
            <p:nvSpPr>
              <p:cNvPr id="32" name="Rectangle 31"/>
              <p:cNvSpPr/>
              <p:nvPr/>
            </p:nvSpPr>
            <p:spPr bwMode="auto">
              <a:xfrm>
                <a:off x="2802881" y="5351396"/>
                <a:ext cx="1441301" cy="1552690"/>
              </a:xfrm>
              <a:prstGeom prst="rect">
                <a:avLst/>
              </a:prstGeom>
              <a:solidFill>
                <a:srgbClr val="0072C6"/>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467"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467" kern="0" dirty="0">
                    <a:gradFill>
                      <a:gsLst>
                        <a:gs pos="0">
                          <a:srgbClr val="FFFFFF"/>
                        </a:gs>
                        <a:gs pos="100000">
                          <a:srgbClr val="FFFFFF"/>
                        </a:gs>
                      </a:gsLst>
                      <a:lin ang="5400000" scaled="0"/>
                    </a:gradFill>
                    <a:ea typeface="Segoe UI" pitchFamily="34" charset="0"/>
                    <a:cs typeface="Segoe UI" pitchFamily="34" charset="0"/>
                  </a:rPr>
                  <a:t>1 Billion mobile notifications a month</a:t>
                </a: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6996" y="5537858"/>
                <a:ext cx="922584" cy="354475"/>
              </a:xfrm>
              <a:prstGeom prst="rect">
                <a:avLst/>
              </a:prstGeom>
            </p:spPr>
          </p:pic>
        </p:grpSp>
        <p:grpSp>
          <p:nvGrpSpPr>
            <p:cNvPr id="11" name="Group 10"/>
            <p:cNvGrpSpPr/>
            <p:nvPr/>
          </p:nvGrpSpPr>
          <p:grpSpPr>
            <a:xfrm>
              <a:off x="25427573" y="2342853"/>
              <a:ext cx="2324559" cy="1153167"/>
              <a:chOff x="204198" y="957140"/>
              <a:chExt cx="2324559" cy="1153167"/>
            </a:xfrm>
          </p:grpSpPr>
          <p:sp>
            <p:nvSpPr>
              <p:cNvPr id="30" name="Rectangle 29"/>
              <p:cNvSpPr/>
              <p:nvPr/>
            </p:nvSpPr>
            <p:spPr bwMode="auto">
              <a:xfrm>
                <a:off x="204198" y="957140"/>
                <a:ext cx="2324559" cy="1153167"/>
              </a:xfrm>
              <a:prstGeom prst="rect">
                <a:avLst/>
              </a:prstGeom>
              <a:solidFill>
                <a:srgbClr val="ED008B"/>
              </a:solidFill>
              <a:ln w="9525" cap="flat" cmpd="sng" algn="ctr">
                <a:noFill/>
                <a:prstDash val="solid"/>
                <a:headEnd type="none" w="med" len="med"/>
                <a:tailEnd type="none" w="med" len="med"/>
              </a:ln>
              <a:effectLst/>
            </p:spPr>
            <p:txBody>
              <a:bodyPr lIns="268813" tIns="716834" rIns="179183" bIns="33600" rtlCol="0" anchor="t" anchorCtr="0"/>
              <a:lstStyle/>
              <a:p>
                <a:pPr algn="ctr" defTabSz="913691" fontAlgn="base">
                  <a:lnSpc>
                    <a:spcPct val="90000"/>
                  </a:lnSpc>
                  <a:spcBef>
                    <a:spcPct val="0"/>
                  </a:spcBef>
                  <a:spcAft>
                    <a:spcPct val="0"/>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ct val="0"/>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Bing holds 20.2 percent of US market share</a:t>
                </a:r>
              </a:p>
              <a:p>
                <a:pPr algn="ctr" defTabSz="91369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ea typeface="Segoe UI" pitchFamily="34" charset="0"/>
                    <a:cs typeface="Segoe UI" pitchFamily="34" charset="0"/>
                  </a:rPr>
                  <a:t>- comScore</a:t>
                </a: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143" y="1125358"/>
                <a:ext cx="830916" cy="319254"/>
              </a:xfrm>
              <a:prstGeom prst="rect">
                <a:avLst/>
              </a:prstGeom>
            </p:spPr>
          </p:pic>
        </p:grpSp>
        <p:grpSp>
          <p:nvGrpSpPr>
            <p:cNvPr id="12" name="Group 11"/>
            <p:cNvGrpSpPr/>
            <p:nvPr/>
          </p:nvGrpSpPr>
          <p:grpSpPr>
            <a:xfrm>
              <a:off x="21718020" y="1101661"/>
              <a:ext cx="1172709" cy="1141463"/>
              <a:chOff x="7221318" y="2729548"/>
              <a:chExt cx="1595192" cy="1552690"/>
            </a:xfrm>
          </p:grpSpPr>
          <p:sp>
            <p:nvSpPr>
              <p:cNvPr id="28" name="Rectangle 27"/>
              <p:cNvSpPr/>
              <p:nvPr/>
            </p:nvSpPr>
            <p:spPr bwMode="auto">
              <a:xfrm>
                <a:off x="7221318" y="2729548"/>
                <a:ext cx="1595192" cy="1552690"/>
              </a:xfrm>
              <a:prstGeom prst="rect">
                <a:avLst/>
              </a:prstGeom>
              <a:solidFill>
                <a:srgbClr val="00BBF1"/>
              </a:solidFill>
              <a:ln w="9525" cap="flat" cmpd="sng" algn="ctr">
                <a:noFill/>
                <a:prstDash val="solid"/>
                <a:headEnd type="none" w="med" len="med"/>
                <a:tailEnd type="none" w="med" len="med"/>
              </a:ln>
              <a:effectLst/>
            </p:spPr>
            <p:txBody>
              <a:bodyPr lIns="268813" tIns="716834" rIns="179183" bIns="33600" rtlCol="0" anchor="ctr" anchorCtr="0"/>
              <a:lstStyle/>
              <a:p>
                <a:pPr defTabSz="913691" fontAlgn="base">
                  <a:lnSpc>
                    <a:spcPct val="90000"/>
                  </a:lnSpc>
                  <a:spcBef>
                    <a:spcPct val="0"/>
                  </a:spcBef>
                  <a:defRPr/>
                </a:pPr>
                <a:r>
                  <a:rPr lang="en-US" sz="1600" kern="0" dirty="0">
                    <a:gradFill>
                      <a:gsLst>
                        <a:gs pos="0">
                          <a:srgbClr val="FFFFFF"/>
                        </a:gs>
                        <a:gs pos="100000">
                          <a:srgbClr val="FFFFFF"/>
                        </a:gs>
                      </a:gsLst>
                      <a:lin ang="5400000" scaled="0"/>
                    </a:gradFill>
                    <a:ea typeface="Segoe UI" pitchFamily="34" charset="0"/>
                    <a:cs typeface="Segoe UI" pitchFamily="34" charset="0"/>
                  </a:rPr>
                  <a:t>Yammer has over 8 million registered users</a:t>
                </a:r>
              </a:p>
              <a:p>
                <a:pPr defTabSz="913691" fontAlgn="base">
                  <a:lnSpc>
                    <a:spcPct val="90000"/>
                  </a:lnSpc>
                  <a:spcBef>
                    <a:spcPct val="0"/>
                  </a:spcBef>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7169" y="2962653"/>
                <a:ext cx="1081330" cy="261191"/>
              </a:xfrm>
              <a:prstGeom prst="rect">
                <a:avLst/>
              </a:prstGeom>
            </p:spPr>
          </p:pic>
        </p:grpSp>
        <p:grpSp>
          <p:nvGrpSpPr>
            <p:cNvPr id="13" name="Group 12"/>
            <p:cNvGrpSpPr/>
            <p:nvPr/>
          </p:nvGrpSpPr>
          <p:grpSpPr>
            <a:xfrm>
              <a:off x="20573517" y="3593568"/>
              <a:ext cx="2317214" cy="1127643"/>
              <a:chOff x="179057" y="1948083"/>
              <a:chExt cx="2317214" cy="1127643"/>
            </a:xfrm>
          </p:grpSpPr>
          <p:sp>
            <p:nvSpPr>
              <p:cNvPr id="26" name="Rectangle 25"/>
              <p:cNvSpPr/>
              <p:nvPr/>
            </p:nvSpPr>
            <p:spPr bwMode="auto">
              <a:xfrm>
                <a:off x="179057" y="1948083"/>
                <a:ext cx="2317214" cy="1127643"/>
              </a:xfrm>
              <a:prstGeom prst="rect">
                <a:avLst/>
              </a:prstGeom>
              <a:solidFill>
                <a:srgbClr val="00158F"/>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600" kern="0" dirty="0">
                    <a:gradFill>
                      <a:gsLst>
                        <a:gs pos="0">
                          <a:srgbClr val="FFFFFF"/>
                        </a:gs>
                        <a:gs pos="100000">
                          <a:srgbClr val="FFFFFF"/>
                        </a:gs>
                      </a:gsLst>
                      <a:lin ang="5400000" scaled="0"/>
                    </a:gradFill>
                    <a:ea typeface="Segoe UI" pitchFamily="34" charset="0"/>
                    <a:cs typeface="Segoe UI" pitchFamily="34" charset="0"/>
                  </a:rPr>
                  <a:t>Over 250 million people use OneDrive</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4339" y="2101316"/>
                <a:ext cx="1318772" cy="415650"/>
              </a:xfrm>
              <a:prstGeom prst="rect">
                <a:avLst/>
              </a:prstGeom>
            </p:spPr>
          </p:pic>
        </p:grpSp>
        <p:grpSp>
          <p:nvGrpSpPr>
            <p:cNvPr id="14" name="Group 13"/>
            <p:cNvGrpSpPr/>
            <p:nvPr/>
          </p:nvGrpSpPr>
          <p:grpSpPr>
            <a:xfrm>
              <a:off x="22999546" y="2342853"/>
              <a:ext cx="2317215" cy="1153168"/>
              <a:chOff x="2355189" y="3052710"/>
              <a:chExt cx="2317215" cy="1153168"/>
            </a:xfrm>
            <a:solidFill>
              <a:srgbClr val="0072C6"/>
            </a:solidFill>
          </p:grpSpPr>
          <p:sp>
            <p:nvSpPr>
              <p:cNvPr id="24" name="Rectangle 23"/>
              <p:cNvSpPr/>
              <p:nvPr/>
            </p:nvSpPr>
            <p:spPr bwMode="auto">
              <a:xfrm>
                <a:off x="2355189" y="3052710"/>
                <a:ext cx="2317215" cy="1153168"/>
              </a:xfrm>
              <a:prstGeom prst="rect">
                <a:avLst/>
              </a:prstGeom>
              <a:grpFill/>
              <a:ln w="9525" cap="flat" cmpd="sng" algn="ctr">
                <a:noFill/>
                <a:prstDash val="solid"/>
                <a:headEnd type="none" w="med" len="med"/>
                <a:tailEnd type="none" w="med" len="med"/>
              </a:ln>
              <a:effectLst/>
            </p:spPr>
            <p:txBody>
              <a:bodyPr lIns="268813" tIns="448022"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defTabSz="913691" fontAlgn="base">
                  <a:lnSpc>
                    <a:spcPct val="90000"/>
                  </a:lnSpc>
                  <a:spcBef>
                    <a:spcPct val="0"/>
                  </a:spcBef>
                  <a:spcAft>
                    <a:spcPts val="588"/>
                  </a:spcAft>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On average, Skype users use the service 50 Billion minutes/mo</a:t>
                </a:r>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9469" y="3167892"/>
                <a:ext cx="704420" cy="310619"/>
              </a:xfrm>
              <a:prstGeom prst="rect">
                <a:avLst/>
              </a:prstGeom>
              <a:grpFill/>
            </p:spPr>
          </p:pic>
        </p:grpSp>
        <p:grpSp>
          <p:nvGrpSpPr>
            <p:cNvPr id="15" name="Group 14"/>
            <p:cNvGrpSpPr/>
            <p:nvPr/>
          </p:nvGrpSpPr>
          <p:grpSpPr>
            <a:xfrm>
              <a:off x="25427572" y="3559436"/>
              <a:ext cx="2324559" cy="1161776"/>
              <a:chOff x="6974661" y="4085051"/>
              <a:chExt cx="2324559" cy="1161776"/>
            </a:xfrm>
          </p:grpSpPr>
          <p:sp>
            <p:nvSpPr>
              <p:cNvPr id="20" name="Rectangle 19"/>
              <p:cNvSpPr/>
              <p:nvPr/>
            </p:nvSpPr>
            <p:spPr bwMode="auto">
              <a:xfrm>
                <a:off x="6974661" y="4105169"/>
                <a:ext cx="2324559" cy="1141658"/>
              </a:xfrm>
              <a:prstGeom prst="rect">
                <a:avLst/>
              </a:prstGeom>
              <a:solidFill>
                <a:srgbClr val="00158F"/>
              </a:solidFill>
              <a:ln w="9525" cap="flat" cmpd="sng" algn="ctr">
                <a:noFill/>
                <a:prstDash val="solid"/>
                <a:headEnd type="none" w="med" len="med"/>
                <a:tailEnd type="none" w="med" len="med"/>
              </a:ln>
              <a:effectLst/>
            </p:spPr>
            <p:txBody>
              <a:bodyPr lIns="268813" tIns="537625" rIns="179183" bIns="33600" rtlCol="0" anchor="t" anchorCtr="0"/>
              <a:lstStyle/>
              <a:p>
                <a:pPr algn="ctr" defTabSz="913691" fontAlgn="base">
                  <a:lnSpc>
                    <a:spcPct val="90000"/>
                  </a:lnSpc>
                  <a:spcBef>
                    <a:spcPct val="0"/>
                  </a:spcBef>
                  <a:spcAft>
                    <a:spcPts val="588"/>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Xbox delivered over 740 million hours of entertainment</a:t>
                </a:r>
              </a:p>
            </p:txBody>
          </p:sp>
          <p:grpSp>
            <p:nvGrpSpPr>
              <p:cNvPr id="21" name="Group 20"/>
              <p:cNvGrpSpPr/>
              <p:nvPr/>
            </p:nvGrpSpPr>
            <p:grpSpPr>
              <a:xfrm>
                <a:off x="7301963" y="4085051"/>
                <a:ext cx="1677261" cy="663908"/>
                <a:chOff x="9736983" y="5384530"/>
                <a:chExt cx="2236983" cy="885462"/>
              </a:xfrm>
            </p:grpSpPr>
            <p:pic>
              <p:nvPicPr>
                <p:cNvPr id="22" name="Picture 21"/>
                <p:cNvPicPr>
                  <a:picLocks noChangeAspect="1"/>
                </p:cNvPicPr>
                <p:nvPr/>
              </p:nvPicPr>
              <p:blipFill rotWithShape="1">
                <a:blip r:embed="rId10" cstate="print">
                  <a:extLst>
                    <a:ext uri="{28A0092B-C50C-407E-A947-70E740481C1C}">
                      <a14:useLocalDpi xmlns:a14="http://schemas.microsoft.com/office/drawing/2010/main" val="0"/>
                    </a:ext>
                  </a:extLst>
                </a:blip>
                <a:srcRect l="26558"/>
                <a:stretch/>
              </p:blipFill>
              <p:spPr>
                <a:xfrm>
                  <a:off x="10137956" y="5384530"/>
                  <a:ext cx="1836010" cy="885462"/>
                </a:xfrm>
                <a:prstGeom prst="rect">
                  <a:avLst/>
                </a:prstGeom>
              </p:spPr>
            </p:pic>
            <p:sp>
              <p:nvSpPr>
                <p:cNvPr id="23" name="Freeform 53"/>
                <p:cNvSpPr>
                  <a:spLocks noEditPoints="1"/>
                </p:cNvSpPr>
                <p:nvPr/>
              </p:nvSpPr>
              <p:spPr bwMode="auto">
                <a:xfrm>
                  <a:off x="9736983" y="5634420"/>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rgbClr val="FFFFFF"/>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solidFill>
                      <a:srgbClr val="404040"/>
                    </a:solidFill>
                  </a:endParaRPr>
                </a:p>
              </p:txBody>
            </p:sp>
          </p:grpSp>
        </p:gr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83851" y="2638468"/>
              <a:ext cx="461331" cy="461331"/>
            </a:xfrm>
            <a:prstGeom prst="rect">
              <a:avLst/>
            </a:prstGeom>
          </p:spPr>
        </p:pic>
        <p:grpSp>
          <p:nvGrpSpPr>
            <p:cNvPr id="17" name="Group 16"/>
            <p:cNvGrpSpPr/>
            <p:nvPr/>
          </p:nvGrpSpPr>
          <p:grpSpPr>
            <a:xfrm>
              <a:off x="25423953" y="1101466"/>
              <a:ext cx="2317215" cy="1141658"/>
              <a:chOff x="8841710" y="1821564"/>
              <a:chExt cx="2644511" cy="2605824"/>
            </a:xfrm>
          </p:grpSpPr>
          <p:sp>
            <p:nvSpPr>
              <p:cNvPr id="18" name="Rectangle 17"/>
              <p:cNvSpPr/>
              <p:nvPr/>
            </p:nvSpPr>
            <p:spPr bwMode="auto">
              <a:xfrm>
                <a:off x="8841710" y="1821564"/>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1866" kern="0" dirty="0">
                  <a:solidFill>
                    <a:srgbClr val="FFFFFF"/>
                  </a:solidFill>
                </a:endParaRPr>
              </a:p>
              <a:p>
                <a:pPr algn="ctr" defTabSz="913516" fontAlgn="base">
                  <a:spcBef>
                    <a:spcPct val="0"/>
                  </a:spcBef>
                  <a:spcAft>
                    <a:spcPct val="0"/>
                  </a:spcAft>
                  <a:defRPr/>
                </a:pPr>
                <a:r>
                  <a:rPr lang="en-US" sz="1866" kern="0" dirty="0">
                    <a:solidFill>
                      <a:srgbClr val="FFFFFF"/>
                    </a:solidFill>
                  </a:rPr>
                  <a:t>Office for iOS has been downloaded over 80M times</a:t>
                </a:r>
                <a:endParaRPr lang="en-US" sz="1866" kern="6000" dirty="0">
                  <a:solidFill>
                    <a:srgbClr val="FFFFFF"/>
                  </a:solidFill>
                  <a:cs typeface="Segoe UI Light" panose="020B0502040204020203" pitchFamily="34" charset="0"/>
                </a:endParaRPr>
              </a:p>
            </p:txBody>
          </p:sp>
          <p:pic>
            <p:nvPicPr>
              <p:cNvPr id="19" name="Picture 18"/>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spTree>
    <p:extLst>
      <p:ext uri="{BB962C8B-B14F-4D97-AF65-F5344CB8AC3E}">
        <p14:creationId xmlns:p14="http://schemas.microsoft.com/office/powerpoint/2010/main" val="38165139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1271978"/>
            <a:ext cx="12192000" cy="43140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400" y="2894932"/>
            <a:ext cx="1045829" cy="1045829"/>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61168" y="2667467"/>
            <a:ext cx="1400664" cy="166212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4749" y="2667468"/>
            <a:ext cx="1619856" cy="1619856"/>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r="61719"/>
          <a:stretch/>
        </p:blipFill>
        <p:spPr>
          <a:xfrm>
            <a:off x="4016793" y="2652151"/>
            <a:ext cx="1531392" cy="1531392"/>
          </a:xfrm>
          <a:prstGeom prst="rect">
            <a:avLst/>
          </a:prstGeom>
        </p:spPr>
      </p:pic>
      <p:sp>
        <p:nvSpPr>
          <p:cNvPr id="3" name="Rectangle 2"/>
          <p:cNvSpPr/>
          <p:nvPr/>
        </p:nvSpPr>
        <p:spPr bwMode="auto">
          <a:xfrm>
            <a:off x="1240366" y="2299131"/>
            <a:ext cx="9785971" cy="2259738"/>
          </a:xfrm>
          <a:prstGeom prst="rect">
            <a:avLst/>
          </a:prstGeom>
          <a:solidFill>
            <a:schemeClr val="tx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0732" y="2680164"/>
            <a:ext cx="5350536" cy="1475366"/>
          </a:xfrm>
          <a:prstGeom prst="rect">
            <a:avLst/>
          </a:prstGeom>
        </p:spPr>
      </p:pic>
    </p:spTree>
    <p:extLst>
      <p:ext uri="{BB962C8B-B14F-4D97-AF65-F5344CB8AC3E}">
        <p14:creationId xmlns:p14="http://schemas.microsoft.com/office/powerpoint/2010/main" val="540959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decel="100000"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750" fill="hold"/>
                                        <p:tgtEl>
                                          <p:spTgt spid="11"/>
                                        </p:tgtEl>
                                        <p:attrNameLst>
                                          <p:attrName>ppt_x</p:attrName>
                                        </p:attrNameLst>
                                      </p:cBhvr>
                                      <p:tavLst>
                                        <p:tav tm="0">
                                          <p:val>
                                            <p:strVal val="1+#ppt_w/2"/>
                                          </p:val>
                                        </p:tav>
                                        <p:tav tm="100000">
                                          <p:val>
                                            <p:strVal val="#ppt_x"/>
                                          </p:val>
                                        </p:tav>
                                      </p:tavLst>
                                    </p:anim>
                                    <p:anim calcmode="lin" valueType="num">
                                      <p:cBhvr additive="base">
                                        <p:cTn id="13" dur="75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750"/>
                            </p:stCondLst>
                            <p:childTnLst>
                              <p:par>
                                <p:cTn id="15" presetID="2" presetClass="entr" presetSubtype="2" decel="10000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1+#ppt_w/2"/>
                                          </p:val>
                                        </p:tav>
                                        <p:tav tm="100000">
                                          <p:val>
                                            <p:strVal val="#ppt_x"/>
                                          </p:val>
                                        </p:tav>
                                      </p:tavLst>
                                    </p:anim>
                                    <p:anim calcmode="lin" valueType="num">
                                      <p:cBhvr additive="base">
                                        <p:cTn id="18" dur="500" fill="hold"/>
                                        <p:tgtEl>
                                          <p:spTgt spid="10"/>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2" decel="100000"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1+#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4" presetClass="entr" presetSubtype="10" fill="hold" nodeType="withEffect">
                                  <p:stCondLst>
                                    <p:cond delay="250"/>
                                  </p:stCondLst>
                                  <p:childTnLst>
                                    <p:set>
                                      <p:cBhvr>
                                        <p:cTn id="30" dur="1" fill="hold">
                                          <p:stCondLst>
                                            <p:cond delay="0"/>
                                          </p:stCondLst>
                                        </p:cTn>
                                        <p:tgtEl>
                                          <p:spTgt spid="4"/>
                                        </p:tgtEl>
                                        <p:attrNameLst>
                                          <p:attrName>style.visibility</p:attrName>
                                        </p:attrNameLst>
                                      </p:cBhvr>
                                      <p:to>
                                        <p:strVal val="visible"/>
                                      </p:to>
                                    </p:set>
                                    <p:animEffect transition="in" filter="randombar(horizontal)">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1" name="Freeform 29"/>
          <p:cNvSpPr>
            <a:spLocks/>
          </p:cNvSpPr>
          <p:nvPr/>
        </p:nvSpPr>
        <p:spPr bwMode="auto">
          <a:xfrm>
            <a:off x="1580640" y="1437475"/>
            <a:ext cx="929703" cy="377842"/>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pic>
        <p:nvPicPr>
          <p:cNvPr id="949" name="Picture 948"/>
          <p:cNvPicPr>
            <a:picLocks noChangeAspect="1"/>
          </p:cNvPicPr>
          <p:nvPr/>
        </p:nvPicPr>
        <p:blipFill>
          <a:blip r:embed="rId3"/>
          <a:stretch>
            <a:fillRect/>
          </a:stretch>
        </p:blipFill>
        <p:spPr>
          <a:xfrm>
            <a:off x="9154808" y="2964080"/>
            <a:ext cx="573670" cy="2035962"/>
          </a:xfrm>
          <a:prstGeom prst="rect">
            <a:avLst/>
          </a:prstGeom>
        </p:spPr>
      </p:pic>
      <p:pic>
        <p:nvPicPr>
          <p:cNvPr id="950" name="Picture 949"/>
          <p:cNvPicPr>
            <a:picLocks noChangeAspect="1"/>
          </p:cNvPicPr>
          <p:nvPr/>
        </p:nvPicPr>
        <p:blipFill>
          <a:blip r:embed="rId4"/>
          <a:stretch>
            <a:fillRect/>
          </a:stretch>
        </p:blipFill>
        <p:spPr>
          <a:xfrm>
            <a:off x="9839883" y="3751468"/>
            <a:ext cx="416191" cy="1248574"/>
          </a:xfrm>
          <a:prstGeom prst="rect">
            <a:avLst/>
          </a:prstGeom>
        </p:spPr>
      </p:pic>
      <p:pic>
        <p:nvPicPr>
          <p:cNvPr id="905" name="Picture 904"/>
          <p:cNvPicPr>
            <a:picLocks noChangeAspect="1"/>
          </p:cNvPicPr>
          <p:nvPr/>
        </p:nvPicPr>
        <p:blipFill>
          <a:blip r:embed="rId5"/>
          <a:stretch>
            <a:fillRect/>
          </a:stretch>
        </p:blipFill>
        <p:spPr>
          <a:xfrm>
            <a:off x="1015736" y="3383643"/>
            <a:ext cx="909873" cy="1626742"/>
          </a:xfrm>
          <a:prstGeom prst="rect">
            <a:avLst/>
          </a:prstGeom>
        </p:spPr>
      </p:pic>
      <p:sp>
        <p:nvSpPr>
          <p:cNvPr id="1020" name="Freeform 28"/>
          <p:cNvSpPr>
            <a:spLocks/>
          </p:cNvSpPr>
          <p:nvPr/>
        </p:nvSpPr>
        <p:spPr bwMode="auto">
          <a:xfrm>
            <a:off x="10381810" y="1220071"/>
            <a:ext cx="1395525" cy="565714"/>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2" name="Freeform 30"/>
          <p:cNvSpPr>
            <a:spLocks/>
          </p:cNvSpPr>
          <p:nvPr/>
        </p:nvSpPr>
        <p:spPr bwMode="auto">
          <a:xfrm>
            <a:off x="6266143" y="2959115"/>
            <a:ext cx="596610" cy="335997"/>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3" name="Rectangle 31"/>
          <p:cNvSpPr>
            <a:spLocks noChangeArrowheads="1"/>
          </p:cNvSpPr>
          <p:nvPr/>
        </p:nvSpPr>
        <p:spPr bwMode="auto">
          <a:xfrm>
            <a:off x="4449391" y="3385572"/>
            <a:ext cx="793685" cy="15841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 name="Rectangle 32"/>
          <p:cNvSpPr>
            <a:spLocks noChangeArrowheads="1"/>
          </p:cNvSpPr>
          <p:nvPr/>
        </p:nvSpPr>
        <p:spPr bwMode="auto">
          <a:xfrm>
            <a:off x="5072924" y="3497571"/>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 name="Rectangle 33"/>
          <p:cNvSpPr>
            <a:spLocks noChangeArrowheads="1"/>
          </p:cNvSpPr>
          <p:nvPr/>
        </p:nvSpPr>
        <p:spPr bwMode="auto">
          <a:xfrm>
            <a:off x="4899541" y="3497571"/>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 name="Rectangle 34"/>
          <p:cNvSpPr>
            <a:spLocks noChangeArrowheads="1"/>
          </p:cNvSpPr>
          <p:nvPr/>
        </p:nvSpPr>
        <p:spPr bwMode="auto">
          <a:xfrm>
            <a:off x="4727235" y="3497571"/>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 name="Rectangle 35"/>
          <p:cNvSpPr>
            <a:spLocks noChangeArrowheads="1"/>
          </p:cNvSpPr>
          <p:nvPr/>
        </p:nvSpPr>
        <p:spPr bwMode="auto">
          <a:xfrm>
            <a:off x="4556005" y="3497571"/>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7" name="Rectangle 36"/>
          <p:cNvSpPr>
            <a:spLocks noChangeArrowheads="1"/>
          </p:cNvSpPr>
          <p:nvPr/>
        </p:nvSpPr>
        <p:spPr bwMode="auto">
          <a:xfrm>
            <a:off x="5072924" y="3670954"/>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8" name="Rectangle 37"/>
          <p:cNvSpPr>
            <a:spLocks noChangeArrowheads="1"/>
          </p:cNvSpPr>
          <p:nvPr/>
        </p:nvSpPr>
        <p:spPr bwMode="auto">
          <a:xfrm>
            <a:off x="4899541" y="3670954"/>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 name="Rectangle 38"/>
          <p:cNvSpPr>
            <a:spLocks noChangeArrowheads="1"/>
          </p:cNvSpPr>
          <p:nvPr/>
        </p:nvSpPr>
        <p:spPr bwMode="auto">
          <a:xfrm>
            <a:off x="4727235" y="3670954"/>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 name="Rectangle 39"/>
          <p:cNvSpPr>
            <a:spLocks noChangeArrowheads="1"/>
          </p:cNvSpPr>
          <p:nvPr/>
        </p:nvSpPr>
        <p:spPr bwMode="auto">
          <a:xfrm>
            <a:off x="4556005" y="3670954"/>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 name="Rectangle 40"/>
          <p:cNvSpPr>
            <a:spLocks noChangeArrowheads="1"/>
          </p:cNvSpPr>
          <p:nvPr/>
        </p:nvSpPr>
        <p:spPr bwMode="auto">
          <a:xfrm>
            <a:off x="5072924" y="3844336"/>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 name="Rectangle 41"/>
          <p:cNvSpPr>
            <a:spLocks noChangeArrowheads="1"/>
          </p:cNvSpPr>
          <p:nvPr/>
        </p:nvSpPr>
        <p:spPr bwMode="auto">
          <a:xfrm>
            <a:off x="4899541" y="3844336"/>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 name="Rectangle 42"/>
          <p:cNvSpPr>
            <a:spLocks noChangeArrowheads="1"/>
          </p:cNvSpPr>
          <p:nvPr/>
        </p:nvSpPr>
        <p:spPr bwMode="auto">
          <a:xfrm>
            <a:off x="4727235" y="3844336"/>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 name="Rectangle 43"/>
          <p:cNvSpPr>
            <a:spLocks noChangeArrowheads="1"/>
          </p:cNvSpPr>
          <p:nvPr/>
        </p:nvSpPr>
        <p:spPr bwMode="auto">
          <a:xfrm>
            <a:off x="4556005" y="3844336"/>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 name="Rectangle 44"/>
          <p:cNvSpPr>
            <a:spLocks noChangeArrowheads="1"/>
          </p:cNvSpPr>
          <p:nvPr/>
        </p:nvSpPr>
        <p:spPr bwMode="auto">
          <a:xfrm>
            <a:off x="5072924" y="4017720"/>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 name="Rectangle 45"/>
          <p:cNvSpPr>
            <a:spLocks noChangeArrowheads="1"/>
          </p:cNvSpPr>
          <p:nvPr/>
        </p:nvSpPr>
        <p:spPr bwMode="auto">
          <a:xfrm>
            <a:off x="4899541" y="4017720"/>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 name="Rectangle 46"/>
          <p:cNvSpPr>
            <a:spLocks noChangeArrowheads="1"/>
          </p:cNvSpPr>
          <p:nvPr/>
        </p:nvSpPr>
        <p:spPr bwMode="auto">
          <a:xfrm>
            <a:off x="4727235" y="4017720"/>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 name="Rectangle 47"/>
          <p:cNvSpPr>
            <a:spLocks noChangeArrowheads="1"/>
          </p:cNvSpPr>
          <p:nvPr/>
        </p:nvSpPr>
        <p:spPr bwMode="auto">
          <a:xfrm>
            <a:off x="4556005" y="4017720"/>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9" name="Rectangle 48"/>
          <p:cNvSpPr>
            <a:spLocks noChangeArrowheads="1"/>
          </p:cNvSpPr>
          <p:nvPr/>
        </p:nvSpPr>
        <p:spPr bwMode="auto">
          <a:xfrm>
            <a:off x="5072924" y="4191103"/>
            <a:ext cx="63538"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0" name="Rectangle 49"/>
          <p:cNvSpPr>
            <a:spLocks noChangeArrowheads="1"/>
          </p:cNvSpPr>
          <p:nvPr/>
        </p:nvSpPr>
        <p:spPr bwMode="auto">
          <a:xfrm>
            <a:off x="4899541" y="4191103"/>
            <a:ext cx="64614"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1" name="Rectangle 50"/>
          <p:cNvSpPr>
            <a:spLocks noChangeArrowheads="1"/>
          </p:cNvSpPr>
          <p:nvPr/>
        </p:nvSpPr>
        <p:spPr bwMode="auto">
          <a:xfrm>
            <a:off x="4727235" y="4191103"/>
            <a:ext cx="65692"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2" name="Rectangle 51"/>
          <p:cNvSpPr>
            <a:spLocks noChangeArrowheads="1"/>
          </p:cNvSpPr>
          <p:nvPr/>
        </p:nvSpPr>
        <p:spPr bwMode="auto">
          <a:xfrm>
            <a:off x="4556005" y="4191103"/>
            <a:ext cx="64614"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3" name="Rectangle 52"/>
          <p:cNvSpPr>
            <a:spLocks noChangeArrowheads="1"/>
          </p:cNvSpPr>
          <p:nvPr/>
        </p:nvSpPr>
        <p:spPr bwMode="auto">
          <a:xfrm>
            <a:off x="5072924" y="4362331"/>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4" name="Rectangle 53"/>
          <p:cNvSpPr>
            <a:spLocks noChangeArrowheads="1"/>
          </p:cNvSpPr>
          <p:nvPr/>
        </p:nvSpPr>
        <p:spPr bwMode="auto">
          <a:xfrm>
            <a:off x="4899541" y="4362331"/>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5" name="Rectangle 54"/>
          <p:cNvSpPr>
            <a:spLocks noChangeArrowheads="1"/>
          </p:cNvSpPr>
          <p:nvPr/>
        </p:nvSpPr>
        <p:spPr bwMode="auto">
          <a:xfrm>
            <a:off x="4727235" y="4362331"/>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6" name="Rectangle 55"/>
          <p:cNvSpPr>
            <a:spLocks noChangeArrowheads="1"/>
          </p:cNvSpPr>
          <p:nvPr/>
        </p:nvSpPr>
        <p:spPr bwMode="auto">
          <a:xfrm>
            <a:off x="4556005" y="4362331"/>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7" name="Rectangle 56"/>
          <p:cNvSpPr>
            <a:spLocks noChangeArrowheads="1"/>
          </p:cNvSpPr>
          <p:nvPr/>
        </p:nvSpPr>
        <p:spPr bwMode="auto">
          <a:xfrm>
            <a:off x="5072924" y="4535715"/>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8" name="Rectangle 57"/>
          <p:cNvSpPr>
            <a:spLocks noChangeArrowheads="1"/>
          </p:cNvSpPr>
          <p:nvPr/>
        </p:nvSpPr>
        <p:spPr bwMode="auto">
          <a:xfrm>
            <a:off x="4899541" y="4535715"/>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9" name="Rectangle 58"/>
          <p:cNvSpPr>
            <a:spLocks noChangeArrowheads="1"/>
          </p:cNvSpPr>
          <p:nvPr/>
        </p:nvSpPr>
        <p:spPr bwMode="auto">
          <a:xfrm>
            <a:off x="4727235" y="4535715"/>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0" name="Rectangle 59"/>
          <p:cNvSpPr>
            <a:spLocks noChangeArrowheads="1"/>
          </p:cNvSpPr>
          <p:nvPr/>
        </p:nvSpPr>
        <p:spPr bwMode="auto">
          <a:xfrm>
            <a:off x="4556005" y="4535715"/>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1" name="Rectangle 60"/>
          <p:cNvSpPr>
            <a:spLocks noChangeArrowheads="1"/>
          </p:cNvSpPr>
          <p:nvPr/>
        </p:nvSpPr>
        <p:spPr bwMode="auto">
          <a:xfrm>
            <a:off x="5072924" y="4709098"/>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2" name="Rectangle 61"/>
          <p:cNvSpPr>
            <a:spLocks noChangeArrowheads="1"/>
          </p:cNvSpPr>
          <p:nvPr/>
        </p:nvSpPr>
        <p:spPr bwMode="auto">
          <a:xfrm>
            <a:off x="4899541" y="4709098"/>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3" name="Rectangle 62"/>
          <p:cNvSpPr>
            <a:spLocks noChangeArrowheads="1"/>
          </p:cNvSpPr>
          <p:nvPr/>
        </p:nvSpPr>
        <p:spPr bwMode="auto">
          <a:xfrm>
            <a:off x="4727235" y="4709098"/>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4" name="Rectangle 63"/>
          <p:cNvSpPr>
            <a:spLocks noChangeArrowheads="1"/>
          </p:cNvSpPr>
          <p:nvPr/>
        </p:nvSpPr>
        <p:spPr bwMode="auto">
          <a:xfrm>
            <a:off x="4556005" y="4709098"/>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6" name="Rectangle 65"/>
          <p:cNvSpPr>
            <a:spLocks noChangeArrowheads="1"/>
          </p:cNvSpPr>
          <p:nvPr/>
        </p:nvSpPr>
        <p:spPr bwMode="auto">
          <a:xfrm>
            <a:off x="4122011" y="3730184"/>
            <a:ext cx="460919" cy="123952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7" name="Rectangle 66"/>
          <p:cNvSpPr>
            <a:spLocks noChangeArrowheads="1"/>
          </p:cNvSpPr>
          <p:nvPr/>
        </p:nvSpPr>
        <p:spPr bwMode="auto">
          <a:xfrm>
            <a:off x="3014946" y="3735569"/>
            <a:ext cx="777531" cy="62137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8" name="Freeform 67"/>
          <p:cNvSpPr>
            <a:spLocks/>
          </p:cNvSpPr>
          <p:nvPr/>
        </p:nvSpPr>
        <p:spPr bwMode="auto">
          <a:xfrm>
            <a:off x="3461864" y="2599427"/>
            <a:ext cx="660148" cy="2370284"/>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9" name="Freeform 68"/>
          <p:cNvSpPr>
            <a:spLocks/>
          </p:cNvSpPr>
          <p:nvPr/>
        </p:nvSpPr>
        <p:spPr bwMode="auto">
          <a:xfrm>
            <a:off x="3014945" y="3743109"/>
            <a:ext cx="446919" cy="1226603"/>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0" name="Rectangle 69"/>
          <p:cNvSpPr>
            <a:spLocks noChangeArrowheads="1"/>
          </p:cNvSpPr>
          <p:nvPr/>
        </p:nvSpPr>
        <p:spPr bwMode="auto">
          <a:xfrm>
            <a:off x="3544786" y="2729733"/>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1" name="Rectangle 70"/>
          <p:cNvSpPr>
            <a:spLocks noChangeArrowheads="1"/>
          </p:cNvSpPr>
          <p:nvPr/>
        </p:nvSpPr>
        <p:spPr bwMode="auto">
          <a:xfrm>
            <a:off x="3688015" y="2729733"/>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2" name="Rectangle 71"/>
          <p:cNvSpPr>
            <a:spLocks noChangeArrowheads="1"/>
          </p:cNvSpPr>
          <p:nvPr/>
        </p:nvSpPr>
        <p:spPr bwMode="auto">
          <a:xfrm>
            <a:off x="3829089" y="2729733"/>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3" name="Rectangle 72"/>
          <p:cNvSpPr>
            <a:spLocks noChangeArrowheads="1"/>
          </p:cNvSpPr>
          <p:nvPr/>
        </p:nvSpPr>
        <p:spPr bwMode="auto">
          <a:xfrm>
            <a:off x="3973397" y="2729733"/>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4" name="Rectangle 73"/>
          <p:cNvSpPr>
            <a:spLocks noChangeArrowheads="1"/>
          </p:cNvSpPr>
          <p:nvPr/>
        </p:nvSpPr>
        <p:spPr bwMode="auto">
          <a:xfrm>
            <a:off x="3544786" y="2917115"/>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5" name="Rectangle 74"/>
          <p:cNvSpPr>
            <a:spLocks noChangeArrowheads="1"/>
          </p:cNvSpPr>
          <p:nvPr/>
        </p:nvSpPr>
        <p:spPr bwMode="auto">
          <a:xfrm>
            <a:off x="3688015" y="2917115"/>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6" name="Rectangle 75"/>
          <p:cNvSpPr>
            <a:spLocks noChangeArrowheads="1"/>
          </p:cNvSpPr>
          <p:nvPr/>
        </p:nvSpPr>
        <p:spPr bwMode="auto">
          <a:xfrm>
            <a:off x="3829089" y="2917115"/>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7" name="Rectangle 76"/>
          <p:cNvSpPr>
            <a:spLocks noChangeArrowheads="1"/>
          </p:cNvSpPr>
          <p:nvPr/>
        </p:nvSpPr>
        <p:spPr bwMode="auto">
          <a:xfrm>
            <a:off x="3973397" y="2917115"/>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8" name="Rectangle 77"/>
          <p:cNvSpPr>
            <a:spLocks noChangeArrowheads="1"/>
          </p:cNvSpPr>
          <p:nvPr/>
        </p:nvSpPr>
        <p:spPr bwMode="auto">
          <a:xfrm>
            <a:off x="3544786" y="3103422"/>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9" name="Rectangle 78"/>
          <p:cNvSpPr>
            <a:spLocks noChangeArrowheads="1"/>
          </p:cNvSpPr>
          <p:nvPr/>
        </p:nvSpPr>
        <p:spPr bwMode="auto">
          <a:xfrm>
            <a:off x="3688015" y="3103422"/>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0" name="Rectangle 79"/>
          <p:cNvSpPr>
            <a:spLocks noChangeArrowheads="1"/>
          </p:cNvSpPr>
          <p:nvPr/>
        </p:nvSpPr>
        <p:spPr bwMode="auto">
          <a:xfrm>
            <a:off x="3829089" y="3103422"/>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1" name="Rectangle 80"/>
          <p:cNvSpPr>
            <a:spLocks noChangeArrowheads="1"/>
          </p:cNvSpPr>
          <p:nvPr/>
        </p:nvSpPr>
        <p:spPr bwMode="auto">
          <a:xfrm>
            <a:off x="3973397" y="3103422"/>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2" name="Rectangle 81"/>
          <p:cNvSpPr>
            <a:spLocks noChangeArrowheads="1"/>
          </p:cNvSpPr>
          <p:nvPr/>
        </p:nvSpPr>
        <p:spPr bwMode="auto">
          <a:xfrm>
            <a:off x="3544786" y="328972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3" name="Rectangle 82"/>
          <p:cNvSpPr>
            <a:spLocks noChangeArrowheads="1"/>
          </p:cNvSpPr>
          <p:nvPr/>
        </p:nvSpPr>
        <p:spPr bwMode="auto">
          <a:xfrm>
            <a:off x="3688015" y="328972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4" name="Rectangle 83"/>
          <p:cNvSpPr>
            <a:spLocks noChangeArrowheads="1"/>
          </p:cNvSpPr>
          <p:nvPr/>
        </p:nvSpPr>
        <p:spPr bwMode="auto">
          <a:xfrm>
            <a:off x="3829089" y="328972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5" name="Rectangle 84"/>
          <p:cNvSpPr>
            <a:spLocks noChangeArrowheads="1"/>
          </p:cNvSpPr>
          <p:nvPr/>
        </p:nvSpPr>
        <p:spPr bwMode="auto">
          <a:xfrm>
            <a:off x="3973397" y="328972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6" name="Rectangle 85"/>
          <p:cNvSpPr>
            <a:spLocks noChangeArrowheads="1"/>
          </p:cNvSpPr>
          <p:nvPr/>
        </p:nvSpPr>
        <p:spPr bwMode="auto">
          <a:xfrm>
            <a:off x="3544786" y="347710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7" name="Rectangle 86"/>
          <p:cNvSpPr>
            <a:spLocks noChangeArrowheads="1"/>
          </p:cNvSpPr>
          <p:nvPr/>
        </p:nvSpPr>
        <p:spPr bwMode="auto">
          <a:xfrm>
            <a:off x="3688015" y="347710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8" name="Rectangle 87"/>
          <p:cNvSpPr>
            <a:spLocks noChangeArrowheads="1"/>
          </p:cNvSpPr>
          <p:nvPr/>
        </p:nvSpPr>
        <p:spPr bwMode="auto">
          <a:xfrm>
            <a:off x="3829089" y="347710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9" name="Rectangle 88"/>
          <p:cNvSpPr>
            <a:spLocks noChangeArrowheads="1"/>
          </p:cNvSpPr>
          <p:nvPr/>
        </p:nvSpPr>
        <p:spPr bwMode="auto">
          <a:xfrm>
            <a:off x="3973397" y="347710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0" name="Rectangle 89"/>
          <p:cNvSpPr>
            <a:spLocks noChangeArrowheads="1"/>
          </p:cNvSpPr>
          <p:nvPr/>
        </p:nvSpPr>
        <p:spPr bwMode="auto">
          <a:xfrm>
            <a:off x="3544786" y="3661263"/>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1" name="Rectangle 90"/>
          <p:cNvSpPr>
            <a:spLocks noChangeArrowheads="1"/>
          </p:cNvSpPr>
          <p:nvPr/>
        </p:nvSpPr>
        <p:spPr bwMode="auto">
          <a:xfrm>
            <a:off x="3688015" y="3661263"/>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2" name="Rectangle 91"/>
          <p:cNvSpPr>
            <a:spLocks noChangeArrowheads="1"/>
          </p:cNvSpPr>
          <p:nvPr/>
        </p:nvSpPr>
        <p:spPr bwMode="auto">
          <a:xfrm>
            <a:off x="3829089" y="3661263"/>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3" name="Rectangle 92"/>
          <p:cNvSpPr>
            <a:spLocks noChangeArrowheads="1"/>
          </p:cNvSpPr>
          <p:nvPr/>
        </p:nvSpPr>
        <p:spPr bwMode="auto">
          <a:xfrm>
            <a:off x="3973397" y="3661263"/>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6" name="Rectangle 93"/>
          <p:cNvSpPr>
            <a:spLocks noChangeArrowheads="1"/>
          </p:cNvSpPr>
          <p:nvPr/>
        </p:nvSpPr>
        <p:spPr bwMode="auto">
          <a:xfrm>
            <a:off x="3544786"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7" name="Rectangle 94"/>
          <p:cNvSpPr>
            <a:spLocks noChangeArrowheads="1"/>
          </p:cNvSpPr>
          <p:nvPr/>
        </p:nvSpPr>
        <p:spPr bwMode="auto">
          <a:xfrm>
            <a:off x="3688015" y="3847568"/>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8" name="Rectangle 95"/>
          <p:cNvSpPr>
            <a:spLocks noChangeArrowheads="1"/>
          </p:cNvSpPr>
          <p:nvPr/>
        </p:nvSpPr>
        <p:spPr bwMode="auto">
          <a:xfrm>
            <a:off x="3829089" y="384756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7" name="Rectangle 96"/>
          <p:cNvSpPr>
            <a:spLocks noChangeArrowheads="1"/>
          </p:cNvSpPr>
          <p:nvPr/>
        </p:nvSpPr>
        <p:spPr bwMode="auto">
          <a:xfrm>
            <a:off x="3973397"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8" name="Rectangle 97"/>
          <p:cNvSpPr>
            <a:spLocks noChangeArrowheads="1"/>
          </p:cNvSpPr>
          <p:nvPr/>
        </p:nvSpPr>
        <p:spPr bwMode="auto">
          <a:xfrm>
            <a:off x="3544786" y="421048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9" name="Rectangle 98"/>
          <p:cNvSpPr>
            <a:spLocks noChangeArrowheads="1"/>
          </p:cNvSpPr>
          <p:nvPr/>
        </p:nvSpPr>
        <p:spPr bwMode="auto">
          <a:xfrm>
            <a:off x="3688015" y="4210488"/>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0" name="Rectangle 99"/>
          <p:cNvSpPr>
            <a:spLocks noChangeArrowheads="1"/>
          </p:cNvSpPr>
          <p:nvPr/>
        </p:nvSpPr>
        <p:spPr bwMode="auto">
          <a:xfrm>
            <a:off x="3829089" y="421048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1" name="Rectangle 100"/>
          <p:cNvSpPr>
            <a:spLocks noChangeArrowheads="1"/>
          </p:cNvSpPr>
          <p:nvPr/>
        </p:nvSpPr>
        <p:spPr bwMode="auto">
          <a:xfrm>
            <a:off x="3973397" y="421048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2" name="Rectangle 101"/>
          <p:cNvSpPr>
            <a:spLocks noChangeArrowheads="1"/>
          </p:cNvSpPr>
          <p:nvPr/>
        </p:nvSpPr>
        <p:spPr bwMode="auto">
          <a:xfrm>
            <a:off x="3544786" y="4020952"/>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3" name="Rectangle 102"/>
          <p:cNvSpPr>
            <a:spLocks noChangeArrowheads="1"/>
          </p:cNvSpPr>
          <p:nvPr/>
        </p:nvSpPr>
        <p:spPr bwMode="auto">
          <a:xfrm>
            <a:off x="3688015" y="4020952"/>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4" name="Rectangle 103"/>
          <p:cNvSpPr>
            <a:spLocks noChangeArrowheads="1"/>
          </p:cNvSpPr>
          <p:nvPr/>
        </p:nvSpPr>
        <p:spPr bwMode="auto">
          <a:xfrm>
            <a:off x="3829089" y="4020952"/>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5" name="Rectangle 104"/>
          <p:cNvSpPr>
            <a:spLocks noChangeArrowheads="1"/>
          </p:cNvSpPr>
          <p:nvPr/>
        </p:nvSpPr>
        <p:spPr bwMode="auto">
          <a:xfrm>
            <a:off x="3973397" y="4020952"/>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6" name="Rectangle 105"/>
          <p:cNvSpPr>
            <a:spLocks noChangeArrowheads="1"/>
          </p:cNvSpPr>
          <p:nvPr/>
        </p:nvSpPr>
        <p:spPr bwMode="auto">
          <a:xfrm>
            <a:off x="3544786" y="440217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7" name="Rectangle 106"/>
          <p:cNvSpPr>
            <a:spLocks noChangeArrowheads="1"/>
          </p:cNvSpPr>
          <p:nvPr/>
        </p:nvSpPr>
        <p:spPr bwMode="auto">
          <a:xfrm>
            <a:off x="3688015" y="440217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5" name="Rectangle 107"/>
          <p:cNvSpPr>
            <a:spLocks noChangeArrowheads="1"/>
          </p:cNvSpPr>
          <p:nvPr/>
        </p:nvSpPr>
        <p:spPr bwMode="auto">
          <a:xfrm>
            <a:off x="3829089" y="440217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6" name="Rectangle 108"/>
          <p:cNvSpPr>
            <a:spLocks noChangeArrowheads="1"/>
          </p:cNvSpPr>
          <p:nvPr/>
        </p:nvSpPr>
        <p:spPr bwMode="auto">
          <a:xfrm>
            <a:off x="3973397" y="440217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7" name="Rectangle 109"/>
          <p:cNvSpPr>
            <a:spLocks noChangeArrowheads="1"/>
          </p:cNvSpPr>
          <p:nvPr/>
        </p:nvSpPr>
        <p:spPr bwMode="auto">
          <a:xfrm>
            <a:off x="3544786" y="4591714"/>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8" name="Rectangle 110"/>
          <p:cNvSpPr>
            <a:spLocks noChangeArrowheads="1"/>
          </p:cNvSpPr>
          <p:nvPr/>
        </p:nvSpPr>
        <p:spPr bwMode="auto">
          <a:xfrm>
            <a:off x="3688015" y="4591714"/>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9" name="Rectangle 111"/>
          <p:cNvSpPr>
            <a:spLocks noChangeArrowheads="1"/>
          </p:cNvSpPr>
          <p:nvPr/>
        </p:nvSpPr>
        <p:spPr bwMode="auto">
          <a:xfrm>
            <a:off x="3829089" y="4591714"/>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0" name="Rectangle 112"/>
          <p:cNvSpPr>
            <a:spLocks noChangeArrowheads="1"/>
          </p:cNvSpPr>
          <p:nvPr/>
        </p:nvSpPr>
        <p:spPr bwMode="auto">
          <a:xfrm>
            <a:off x="3973397" y="4591714"/>
            <a:ext cx="63538" cy="12276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1" name="Rectangle 113"/>
          <p:cNvSpPr>
            <a:spLocks noChangeArrowheads="1"/>
          </p:cNvSpPr>
          <p:nvPr/>
        </p:nvSpPr>
        <p:spPr bwMode="auto">
          <a:xfrm>
            <a:off x="3544786" y="4781252"/>
            <a:ext cx="63538"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2" name="Rectangle 114"/>
          <p:cNvSpPr>
            <a:spLocks noChangeArrowheads="1"/>
          </p:cNvSpPr>
          <p:nvPr/>
        </p:nvSpPr>
        <p:spPr bwMode="auto">
          <a:xfrm>
            <a:off x="3688015" y="4781252"/>
            <a:ext cx="64614"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3" name="Rectangle 115"/>
          <p:cNvSpPr>
            <a:spLocks noChangeArrowheads="1"/>
          </p:cNvSpPr>
          <p:nvPr/>
        </p:nvSpPr>
        <p:spPr bwMode="auto">
          <a:xfrm>
            <a:off x="3829089" y="4781252"/>
            <a:ext cx="66769"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4" name="Rectangle 116"/>
          <p:cNvSpPr>
            <a:spLocks noChangeArrowheads="1"/>
          </p:cNvSpPr>
          <p:nvPr/>
        </p:nvSpPr>
        <p:spPr bwMode="auto">
          <a:xfrm>
            <a:off x="3973397" y="4781252"/>
            <a:ext cx="63538"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5" name="Rectangle 117"/>
          <p:cNvSpPr>
            <a:spLocks noChangeArrowheads="1"/>
          </p:cNvSpPr>
          <p:nvPr/>
        </p:nvSpPr>
        <p:spPr bwMode="auto">
          <a:xfrm>
            <a:off x="3060175" y="3847568"/>
            <a:ext cx="65692"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6" name="Rectangle 118"/>
          <p:cNvSpPr>
            <a:spLocks noChangeArrowheads="1"/>
          </p:cNvSpPr>
          <p:nvPr/>
        </p:nvSpPr>
        <p:spPr bwMode="auto">
          <a:xfrm>
            <a:off x="3203404"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7" name="Rectangle 119"/>
          <p:cNvSpPr>
            <a:spLocks noChangeArrowheads="1"/>
          </p:cNvSpPr>
          <p:nvPr/>
        </p:nvSpPr>
        <p:spPr bwMode="auto">
          <a:xfrm>
            <a:off x="3344480" y="384756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9" name="Rectangle 120"/>
          <p:cNvSpPr>
            <a:spLocks noChangeArrowheads="1"/>
          </p:cNvSpPr>
          <p:nvPr/>
        </p:nvSpPr>
        <p:spPr bwMode="auto">
          <a:xfrm>
            <a:off x="3060175" y="4033875"/>
            <a:ext cx="65692"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1" name="Rectangle 121"/>
          <p:cNvSpPr>
            <a:spLocks noChangeArrowheads="1"/>
          </p:cNvSpPr>
          <p:nvPr/>
        </p:nvSpPr>
        <p:spPr bwMode="auto">
          <a:xfrm>
            <a:off x="3203404" y="4033875"/>
            <a:ext cx="63538"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2" name="Rectangle 122"/>
          <p:cNvSpPr>
            <a:spLocks noChangeArrowheads="1"/>
          </p:cNvSpPr>
          <p:nvPr/>
        </p:nvSpPr>
        <p:spPr bwMode="auto">
          <a:xfrm>
            <a:off x="3344480" y="4033875"/>
            <a:ext cx="66769"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3" name="Rectangle 123"/>
          <p:cNvSpPr>
            <a:spLocks noChangeArrowheads="1"/>
          </p:cNvSpPr>
          <p:nvPr/>
        </p:nvSpPr>
        <p:spPr bwMode="auto">
          <a:xfrm>
            <a:off x="3060175" y="4207258"/>
            <a:ext cx="65692"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4" name="Rectangle 124"/>
          <p:cNvSpPr>
            <a:spLocks noChangeArrowheads="1"/>
          </p:cNvSpPr>
          <p:nvPr/>
        </p:nvSpPr>
        <p:spPr bwMode="auto">
          <a:xfrm>
            <a:off x="3203404" y="4207258"/>
            <a:ext cx="63538"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5" name="Rectangle 125"/>
          <p:cNvSpPr>
            <a:spLocks noChangeArrowheads="1"/>
          </p:cNvSpPr>
          <p:nvPr/>
        </p:nvSpPr>
        <p:spPr bwMode="auto">
          <a:xfrm>
            <a:off x="3344480" y="4207258"/>
            <a:ext cx="66769"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6" name="Rectangle 126"/>
          <p:cNvSpPr>
            <a:spLocks noChangeArrowheads="1"/>
          </p:cNvSpPr>
          <p:nvPr/>
        </p:nvSpPr>
        <p:spPr bwMode="auto">
          <a:xfrm>
            <a:off x="3060175" y="4380639"/>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7" name="Rectangle 127"/>
          <p:cNvSpPr>
            <a:spLocks noChangeArrowheads="1"/>
          </p:cNvSpPr>
          <p:nvPr/>
        </p:nvSpPr>
        <p:spPr bwMode="auto">
          <a:xfrm>
            <a:off x="3203404" y="4380639"/>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8" name="Rectangle 128"/>
          <p:cNvSpPr>
            <a:spLocks noChangeArrowheads="1"/>
          </p:cNvSpPr>
          <p:nvPr/>
        </p:nvSpPr>
        <p:spPr bwMode="auto">
          <a:xfrm>
            <a:off x="3344480" y="4380639"/>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9" name="Rectangle 129"/>
          <p:cNvSpPr>
            <a:spLocks noChangeArrowheads="1"/>
          </p:cNvSpPr>
          <p:nvPr/>
        </p:nvSpPr>
        <p:spPr bwMode="auto">
          <a:xfrm>
            <a:off x="3060175" y="4554022"/>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0" name="Rectangle 130"/>
          <p:cNvSpPr>
            <a:spLocks noChangeArrowheads="1"/>
          </p:cNvSpPr>
          <p:nvPr/>
        </p:nvSpPr>
        <p:spPr bwMode="auto">
          <a:xfrm>
            <a:off x="3203404" y="4554022"/>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1" name="Rectangle 131"/>
          <p:cNvSpPr>
            <a:spLocks noChangeArrowheads="1"/>
          </p:cNvSpPr>
          <p:nvPr/>
        </p:nvSpPr>
        <p:spPr bwMode="auto">
          <a:xfrm>
            <a:off x="3344480" y="4554022"/>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2" name="Rectangle 132"/>
          <p:cNvSpPr>
            <a:spLocks noChangeArrowheads="1"/>
          </p:cNvSpPr>
          <p:nvPr/>
        </p:nvSpPr>
        <p:spPr bwMode="auto">
          <a:xfrm>
            <a:off x="3060175" y="4727404"/>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2" name="Rectangle 133"/>
          <p:cNvSpPr>
            <a:spLocks noChangeArrowheads="1"/>
          </p:cNvSpPr>
          <p:nvPr/>
        </p:nvSpPr>
        <p:spPr bwMode="auto">
          <a:xfrm>
            <a:off x="3203404" y="4727404"/>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3" name="Rectangle 134"/>
          <p:cNvSpPr>
            <a:spLocks noChangeArrowheads="1"/>
          </p:cNvSpPr>
          <p:nvPr/>
        </p:nvSpPr>
        <p:spPr bwMode="auto">
          <a:xfrm>
            <a:off x="3344480" y="4727404"/>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4" name="Rectangle 135"/>
          <p:cNvSpPr>
            <a:spLocks noChangeArrowheads="1"/>
          </p:cNvSpPr>
          <p:nvPr/>
        </p:nvSpPr>
        <p:spPr bwMode="auto">
          <a:xfrm>
            <a:off x="3829090" y="2476660"/>
            <a:ext cx="207845"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5" name="Rectangle 136"/>
          <p:cNvSpPr>
            <a:spLocks noChangeArrowheads="1"/>
          </p:cNvSpPr>
          <p:nvPr/>
        </p:nvSpPr>
        <p:spPr bwMode="auto">
          <a:xfrm>
            <a:off x="3608324" y="2399121"/>
            <a:ext cx="43076" cy="200306"/>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1061" name="Group 1060"/>
          <p:cNvGrpSpPr/>
          <p:nvPr/>
        </p:nvGrpSpPr>
        <p:grpSpPr>
          <a:xfrm>
            <a:off x="278512" y="2961270"/>
            <a:ext cx="640763" cy="2037518"/>
            <a:chOff x="1689485" y="-2496074"/>
            <a:chExt cx="640854" cy="2037807"/>
          </a:xfrm>
        </p:grpSpPr>
        <p:sp>
          <p:nvSpPr>
            <p:cNvPr id="331" name="Rectangle 138"/>
            <p:cNvSpPr>
              <a:spLocks noChangeArrowheads="1"/>
            </p:cNvSpPr>
            <p:nvPr/>
          </p:nvSpPr>
          <p:spPr bwMode="auto">
            <a:xfrm>
              <a:off x="1689485" y="-1636576"/>
              <a:ext cx="260650" cy="117830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9" name="Rectangle 139"/>
            <p:cNvSpPr>
              <a:spLocks noChangeArrowheads="1"/>
            </p:cNvSpPr>
            <p:nvPr/>
          </p:nvSpPr>
          <p:spPr bwMode="auto">
            <a:xfrm>
              <a:off x="1816579" y="-2308665"/>
              <a:ext cx="513760" cy="1850398"/>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70" name="Freeform 140"/>
            <p:cNvSpPr>
              <a:spLocks/>
            </p:cNvSpPr>
            <p:nvPr/>
          </p:nvSpPr>
          <p:spPr bwMode="auto">
            <a:xfrm>
              <a:off x="1941518" y="-2496074"/>
              <a:ext cx="263881" cy="187409"/>
            </a:xfrm>
            <a:custGeom>
              <a:avLst/>
              <a:gdLst>
                <a:gd name="T0" fmla="*/ 181 w 245"/>
                <a:gd name="T1" fmla="*/ 0 h 174"/>
                <a:gd name="T2" fmla="*/ 65 w 245"/>
                <a:gd name="T3" fmla="*/ 0 h 174"/>
                <a:gd name="T4" fmla="*/ 0 w 245"/>
                <a:gd name="T5" fmla="*/ 174 h 174"/>
                <a:gd name="T6" fmla="*/ 245 w 245"/>
                <a:gd name="T7" fmla="*/ 174 h 174"/>
                <a:gd name="T8" fmla="*/ 181 w 245"/>
                <a:gd name="T9" fmla="*/ 0 h 174"/>
              </a:gdLst>
              <a:ahLst/>
              <a:cxnLst>
                <a:cxn ang="0">
                  <a:pos x="T0" y="T1"/>
                </a:cxn>
                <a:cxn ang="0">
                  <a:pos x="T2" y="T3"/>
                </a:cxn>
                <a:cxn ang="0">
                  <a:pos x="T4" y="T5"/>
                </a:cxn>
                <a:cxn ang="0">
                  <a:pos x="T6" y="T7"/>
                </a:cxn>
                <a:cxn ang="0">
                  <a:pos x="T8" y="T9"/>
                </a:cxn>
              </a:cxnLst>
              <a:rect l="0" t="0" r="r" b="b"/>
              <a:pathLst>
                <a:path w="245" h="174">
                  <a:moveTo>
                    <a:pt x="181" y="0"/>
                  </a:moveTo>
                  <a:lnTo>
                    <a:pt x="65" y="0"/>
                  </a:lnTo>
                  <a:lnTo>
                    <a:pt x="0" y="174"/>
                  </a:lnTo>
                  <a:lnTo>
                    <a:pt x="245" y="174"/>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0" name="Rectangle 142"/>
            <p:cNvSpPr>
              <a:spLocks noChangeArrowheads="1"/>
            </p:cNvSpPr>
            <p:nvPr/>
          </p:nvSpPr>
          <p:spPr bwMode="auto">
            <a:xfrm>
              <a:off x="1883357" y="-2247272"/>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2" name="Rectangle 143"/>
            <p:cNvSpPr>
              <a:spLocks noChangeArrowheads="1"/>
            </p:cNvSpPr>
            <p:nvPr/>
          </p:nvSpPr>
          <p:spPr bwMode="auto">
            <a:xfrm>
              <a:off x="1992140" y="-2247272"/>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3" name="Rectangle 144"/>
            <p:cNvSpPr>
              <a:spLocks noChangeArrowheads="1"/>
            </p:cNvSpPr>
            <p:nvPr/>
          </p:nvSpPr>
          <p:spPr bwMode="auto">
            <a:xfrm>
              <a:off x="2102001" y="-2247272"/>
              <a:ext cx="52776"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6" name="Rectangle 145"/>
            <p:cNvSpPr>
              <a:spLocks noChangeArrowheads="1"/>
            </p:cNvSpPr>
            <p:nvPr/>
          </p:nvSpPr>
          <p:spPr bwMode="auto">
            <a:xfrm>
              <a:off x="2210784" y="-2247272"/>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7" name="Rectangle 146"/>
            <p:cNvSpPr>
              <a:spLocks noChangeArrowheads="1"/>
            </p:cNvSpPr>
            <p:nvPr/>
          </p:nvSpPr>
          <p:spPr bwMode="auto">
            <a:xfrm>
              <a:off x="1883357" y="-2073864"/>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0" name="Rectangle 147"/>
            <p:cNvSpPr>
              <a:spLocks noChangeArrowheads="1"/>
            </p:cNvSpPr>
            <p:nvPr/>
          </p:nvSpPr>
          <p:spPr bwMode="auto">
            <a:xfrm>
              <a:off x="1992140" y="-2073864"/>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2" name="Rectangle 148"/>
            <p:cNvSpPr>
              <a:spLocks noChangeArrowheads="1"/>
            </p:cNvSpPr>
            <p:nvPr/>
          </p:nvSpPr>
          <p:spPr bwMode="auto">
            <a:xfrm>
              <a:off x="2102001" y="-2073864"/>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3" name="Rectangle 149"/>
            <p:cNvSpPr>
              <a:spLocks noChangeArrowheads="1"/>
            </p:cNvSpPr>
            <p:nvPr/>
          </p:nvSpPr>
          <p:spPr bwMode="auto">
            <a:xfrm>
              <a:off x="2210784" y="-2073864"/>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6" name="Rectangle 150"/>
            <p:cNvSpPr>
              <a:spLocks noChangeArrowheads="1"/>
            </p:cNvSpPr>
            <p:nvPr/>
          </p:nvSpPr>
          <p:spPr bwMode="auto">
            <a:xfrm>
              <a:off x="1883357" y="-1900457"/>
              <a:ext cx="52776"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3" name="Rectangle 151"/>
            <p:cNvSpPr>
              <a:spLocks noChangeArrowheads="1"/>
            </p:cNvSpPr>
            <p:nvPr/>
          </p:nvSpPr>
          <p:spPr bwMode="auto">
            <a:xfrm>
              <a:off x="1992140" y="-1900457"/>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4" name="Rectangle 152"/>
            <p:cNvSpPr>
              <a:spLocks noChangeArrowheads="1"/>
            </p:cNvSpPr>
            <p:nvPr/>
          </p:nvSpPr>
          <p:spPr bwMode="auto">
            <a:xfrm>
              <a:off x="2102001" y="-1900457"/>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23" name="Rectangle 153"/>
            <p:cNvSpPr>
              <a:spLocks noChangeArrowheads="1"/>
            </p:cNvSpPr>
            <p:nvPr/>
          </p:nvSpPr>
          <p:spPr bwMode="auto">
            <a:xfrm>
              <a:off x="2210784" y="-1900457"/>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42" name="Rectangle 154"/>
            <p:cNvSpPr>
              <a:spLocks noChangeArrowheads="1"/>
            </p:cNvSpPr>
            <p:nvPr/>
          </p:nvSpPr>
          <p:spPr bwMode="auto">
            <a:xfrm>
              <a:off x="1883357" y="-1727049"/>
              <a:ext cx="52776" cy="11740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66" name="Rectangle 155"/>
            <p:cNvSpPr>
              <a:spLocks noChangeArrowheads="1"/>
            </p:cNvSpPr>
            <p:nvPr/>
          </p:nvSpPr>
          <p:spPr bwMode="auto">
            <a:xfrm>
              <a:off x="1992140" y="-1727049"/>
              <a:ext cx="53853" cy="11740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67" name="Rectangle 156"/>
            <p:cNvSpPr>
              <a:spLocks noChangeArrowheads="1"/>
            </p:cNvSpPr>
            <p:nvPr/>
          </p:nvSpPr>
          <p:spPr bwMode="auto">
            <a:xfrm>
              <a:off x="2102001" y="-1727049"/>
              <a:ext cx="52776" cy="11740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2" name="Rectangle 157"/>
            <p:cNvSpPr>
              <a:spLocks noChangeArrowheads="1"/>
            </p:cNvSpPr>
            <p:nvPr/>
          </p:nvSpPr>
          <p:spPr bwMode="auto">
            <a:xfrm>
              <a:off x="2210784" y="-1727049"/>
              <a:ext cx="53853" cy="11740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3" name="Rectangle 158"/>
            <p:cNvSpPr>
              <a:spLocks noChangeArrowheads="1"/>
            </p:cNvSpPr>
            <p:nvPr/>
          </p:nvSpPr>
          <p:spPr bwMode="auto">
            <a:xfrm>
              <a:off x="1883357" y="-1556873"/>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3" name="Rectangle 159"/>
            <p:cNvSpPr>
              <a:spLocks noChangeArrowheads="1"/>
            </p:cNvSpPr>
            <p:nvPr/>
          </p:nvSpPr>
          <p:spPr bwMode="auto">
            <a:xfrm>
              <a:off x="1992140" y="-1556873"/>
              <a:ext cx="53853" cy="12063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4" name="Rectangle 160"/>
            <p:cNvSpPr>
              <a:spLocks noChangeArrowheads="1"/>
            </p:cNvSpPr>
            <p:nvPr/>
          </p:nvSpPr>
          <p:spPr bwMode="auto">
            <a:xfrm>
              <a:off x="2102001" y="-1556873"/>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5" name="Rectangle 161"/>
            <p:cNvSpPr>
              <a:spLocks noChangeArrowheads="1"/>
            </p:cNvSpPr>
            <p:nvPr/>
          </p:nvSpPr>
          <p:spPr bwMode="auto">
            <a:xfrm>
              <a:off x="2210784" y="-1556873"/>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6" name="Rectangle 162"/>
            <p:cNvSpPr>
              <a:spLocks noChangeArrowheads="1"/>
            </p:cNvSpPr>
            <p:nvPr/>
          </p:nvSpPr>
          <p:spPr bwMode="auto">
            <a:xfrm>
              <a:off x="1883357" y="-1383466"/>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7" name="Rectangle 163"/>
            <p:cNvSpPr>
              <a:spLocks noChangeArrowheads="1"/>
            </p:cNvSpPr>
            <p:nvPr/>
          </p:nvSpPr>
          <p:spPr bwMode="auto">
            <a:xfrm>
              <a:off x="1992140" y="-1383466"/>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8" name="Rectangle 164"/>
            <p:cNvSpPr>
              <a:spLocks noChangeArrowheads="1"/>
            </p:cNvSpPr>
            <p:nvPr/>
          </p:nvSpPr>
          <p:spPr bwMode="auto">
            <a:xfrm>
              <a:off x="2102001" y="-1383466"/>
              <a:ext cx="52776" cy="12063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9" name="Rectangle 165"/>
            <p:cNvSpPr>
              <a:spLocks noChangeArrowheads="1"/>
            </p:cNvSpPr>
            <p:nvPr/>
          </p:nvSpPr>
          <p:spPr bwMode="auto">
            <a:xfrm>
              <a:off x="2210784" y="-1383466"/>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0" name="Rectangle 166"/>
            <p:cNvSpPr>
              <a:spLocks noChangeArrowheads="1"/>
            </p:cNvSpPr>
            <p:nvPr/>
          </p:nvSpPr>
          <p:spPr bwMode="auto">
            <a:xfrm>
              <a:off x="1883357" y="-1210058"/>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1" name="Rectangle 167"/>
            <p:cNvSpPr>
              <a:spLocks noChangeArrowheads="1"/>
            </p:cNvSpPr>
            <p:nvPr/>
          </p:nvSpPr>
          <p:spPr bwMode="auto">
            <a:xfrm>
              <a:off x="1992140" y="-1210058"/>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2" name="Rectangle 168"/>
            <p:cNvSpPr>
              <a:spLocks noChangeArrowheads="1"/>
            </p:cNvSpPr>
            <p:nvPr/>
          </p:nvSpPr>
          <p:spPr bwMode="auto">
            <a:xfrm>
              <a:off x="2102001" y="-1210058"/>
              <a:ext cx="52776" cy="120631"/>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3" name="Rectangle 169"/>
            <p:cNvSpPr>
              <a:spLocks noChangeArrowheads="1"/>
            </p:cNvSpPr>
            <p:nvPr/>
          </p:nvSpPr>
          <p:spPr bwMode="auto">
            <a:xfrm>
              <a:off x="2210784" y="-1210058"/>
              <a:ext cx="53853" cy="120631"/>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4" name="Rectangle 170"/>
            <p:cNvSpPr>
              <a:spLocks noChangeArrowheads="1"/>
            </p:cNvSpPr>
            <p:nvPr/>
          </p:nvSpPr>
          <p:spPr bwMode="auto">
            <a:xfrm>
              <a:off x="1883357" y="-1036651"/>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5" name="Rectangle 171"/>
            <p:cNvSpPr>
              <a:spLocks noChangeArrowheads="1"/>
            </p:cNvSpPr>
            <p:nvPr/>
          </p:nvSpPr>
          <p:spPr bwMode="auto">
            <a:xfrm>
              <a:off x="1992140" y="-1036651"/>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6" name="Rectangle 172"/>
            <p:cNvSpPr>
              <a:spLocks noChangeArrowheads="1"/>
            </p:cNvSpPr>
            <p:nvPr/>
          </p:nvSpPr>
          <p:spPr bwMode="auto">
            <a:xfrm>
              <a:off x="2102001" y="-1036651"/>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7" name="Rectangle 173"/>
            <p:cNvSpPr>
              <a:spLocks noChangeArrowheads="1"/>
            </p:cNvSpPr>
            <p:nvPr/>
          </p:nvSpPr>
          <p:spPr bwMode="auto">
            <a:xfrm>
              <a:off x="2210784" y="-1036651"/>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8" name="Rectangle 174"/>
            <p:cNvSpPr>
              <a:spLocks noChangeArrowheads="1"/>
            </p:cNvSpPr>
            <p:nvPr/>
          </p:nvSpPr>
          <p:spPr bwMode="auto">
            <a:xfrm>
              <a:off x="1883357" y="-863243"/>
              <a:ext cx="52776"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9" name="Rectangle 175"/>
            <p:cNvSpPr>
              <a:spLocks noChangeArrowheads="1"/>
            </p:cNvSpPr>
            <p:nvPr/>
          </p:nvSpPr>
          <p:spPr bwMode="auto">
            <a:xfrm>
              <a:off x="1992140" y="-863243"/>
              <a:ext cx="53853"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0" name="Rectangle 176"/>
            <p:cNvSpPr>
              <a:spLocks noChangeArrowheads="1"/>
            </p:cNvSpPr>
            <p:nvPr/>
          </p:nvSpPr>
          <p:spPr bwMode="auto">
            <a:xfrm>
              <a:off x="2102001" y="-863243"/>
              <a:ext cx="52776"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1" name="Rectangle 177"/>
            <p:cNvSpPr>
              <a:spLocks noChangeArrowheads="1"/>
            </p:cNvSpPr>
            <p:nvPr/>
          </p:nvSpPr>
          <p:spPr bwMode="auto">
            <a:xfrm>
              <a:off x="2210784" y="-863243"/>
              <a:ext cx="53853"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2" name="Rectangle 178"/>
            <p:cNvSpPr>
              <a:spLocks noChangeArrowheads="1"/>
            </p:cNvSpPr>
            <p:nvPr/>
          </p:nvSpPr>
          <p:spPr bwMode="auto">
            <a:xfrm>
              <a:off x="1883357" y="-691990"/>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3" name="Rectangle 179"/>
            <p:cNvSpPr>
              <a:spLocks noChangeArrowheads="1"/>
            </p:cNvSpPr>
            <p:nvPr/>
          </p:nvSpPr>
          <p:spPr bwMode="auto">
            <a:xfrm>
              <a:off x="1992140" y="-691990"/>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4" name="Rectangle 180"/>
            <p:cNvSpPr>
              <a:spLocks noChangeArrowheads="1"/>
            </p:cNvSpPr>
            <p:nvPr/>
          </p:nvSpPr>
          <p:spPr bwMode="auto">
            <a:xfrm>
              <a:off x="2102001" y="-691990"/>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5" name="Rectangle 181"/>
            <p:cNvSpPr>
              <a:spLocks noChangeArrowheads="1"/>
            </p:cNvSpPr>
            <p:nvPr/>
          </p:nvSpPr>
          <p:spPr bwMode="auto">
            <a:xfrm>
              <a:off x="2210784" y="-691990"/>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1062" name="Group 1061"/>
          <p:cNvGrpSpPr/>
          <p:nvPr/>
        </p:nvGrpSpPr>
        <p:grpSpPr>
          <a:xfrm>
            <a:off x="1726501" y="3131203"/>
            <a:ext cx="486764" cy="1866290"/>
            <a:chOff x="2603243" y="-2324821"/>
            <a:chExt cx="486833" cy="1866554"/>
          </a:xfrm>
        </p:grpSpPr>
        <p:sp>
          <p:nvSpPr>
            <p:cNvPr id="330" name="Freeform 137"/>
            <p:cNvSpPr>
              <a:spLocks/>
            </p:cNvSpPr>
            <p:nvPr/>
          </p:nvSpPr>
          <p:spPr bwMode="auto">
            <a:xfrm>
              <a:off x="2603243" y="-2324821"/>
              <a:ext cx="486833" cy="1866554"/>
            </a:xfrm>
            <a:custGeom>
              <a:avLst/>
              <a:gdLst>
                <a:gd name="T0" fmla="*/ 0 w 452"/>
                <a:gd name="T1" fmla="*/ 287 h 1733"/>
                <a:gd name="T2" fmla="*/ 452 w 452"/>
                <a:gd name="T3" fmla="*/ 0 h 1733"/>
                <a:gd name="T4" fmla="*/ 452 w 452"/>
                <a:gd name="T5" fmla="*/ 1733 h 1733"/>
                <a:gd name="T6" fmla="*/ 0 w 452"/>
                <a:gd name="T7" fmla="*/ 1733 h 1733"/>
                <a:gd name="T8" fmla="*/ 0 w 452"/>
                <a:gd name="T9" fmla="*/ 287 h 1733"/>
              </a:gdLst>
              <a:ahLst/>
              <a:cxnLst>
                <a:cxn ang="0">
                  <a:pos x="T0" y="T1"/>
                </a:cxn>
                <a:cxn ang="0">
                  <a:pos x="T2" y="T3"/>
                </a:cxn>
                <a:cxn ang="0">
                  <a:pos x="T4" y="T5"/>
                </a:cxn>
                <a:cxn ang="0">
                  <a:pos x="T6" y="T7"/>
                </a:cxn>
                <a:cxn ang="0">
                  <a:pos x="T8" y="T9"/>
                </a:cxn>
              </a:cxnLst>
              <a:rect l="0" t="0" r="r" b="b"/>
              <a:pathLst>
                <a:path w="452" h="1733">
                  <a:moveTo>
                    <a:pt x="0" y="287"/>
                  </a:moveTo>
                  <a:lnTo>
                    <a:pt x="452" y="0"/>
                  </a:lnTo>
                  <a:lnTo>
                    <a:pt x="452" y="1733"/>
                  </a:lnTo>
                  <a:lnTo>
                    <a:pt x="0" y="1733"/>
                  </a:lnTo>
                  <a:lnTo>
                    <a:pt x="0" y="287"/>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6" name="Line 182"/>
            <p:cNvSpPr>
              <a:spLocks noChangeShapeType="1"/>
            </p:cNvSpPr>
            <p:nvPr/>
          </p:nvSpPr>
          <p:spPr bwMode="auto">
            <a:xfrm>
              <a:off x="3015758" y="-2218191"/>
              <a:ext cx="0" cy="1759924"/>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7" name="Line 183"/>
            <p:cNvSpPr>
              <a:spLocks noChangeShapeType="1"/>
            </p:cNvSpPr>
            <p:nvPr/>
          </p:nvSpPr>
          <p:spPr bwMode="auto">
            <a:xfrm>
              <a:off x="2930670" y="-2158415"/>
              <a:ext cx="0" cy="1700147"/>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8" name="Line 184"/>
            <p:cNvSpPr>
              <a:spLocks noChangeShapeType="1"/>
            </p:cNvSpPr>
            <p:nvPr/>
          </p:nvSpPr>
          <p:spPr bwMode="auto">
            <a:xfrm>
              <a:off x="2842351" y="-2112639"/>
              <a:ext cx="0" cy="1654372"/>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9" name="Line 185"/>
            <p:cNvSpPr>
              <a:spLocks noChangeShapeType="1"/>
            </p:cNvSpPr>
            <p:nvPr/>
          </p:nvSpPr>
          <p:spPr bwMode="auto">
            <a:xfrm>
              <a:off x="2757263" y="-2044783"/>
              <a:ext cx="0" cy="1586516"/>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0" name="Line 186"/>
            <p:cNvSpPr>
              <a:spLocks noChangeShapeType="1"/>
            </p:cNvSpPr>
            <p:nvPr/>
          </p:nvSpPr>
          <p:spPr bwMode="auto">
            <a:xfrm>
              <a:off x="2672175" y="-1985007"/>
              <a:ext cx="0" cy="152673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861" name="Rectangle 187"/>
          <p:cNvSpPr>
            <a:spLocks noChangeArrowheads="1"/>
          </p:cNvSpPr>
          <p:nvPr/>
        </p:nvSpPr>
        <p:spPr bwMode="auto">
          <a:xfrm>
            <a:off x="4122011" y="3791568"/>
            <a:ext cx="460919" cy="990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2" name="Rectangle 188"/>
          <p:cNvSpPr>
            <a:spLocks noChangeArrowheads="1"/>
          </p:cNvSpPr>
          <p:nvPr/>
        </p:nvSpPr>
        <p:spPr bwMode="auto">
          <a:xfrm>
            <a:off x="4122011" y="3964951"/>
            <a:ext cx="460919" cy="980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3" name="Rectangle 189"/>
          <p:cNvSpPr>
            <a:spLocks noChangeArrowheads="1"/>
          </p:cNvSpPr>
          <p:nvPr/>
        </p:nvSpPr>
        <p:spPr bwMode="auto">
          <a:xfrm>
            <a:off x="4122011" y="4138334"/>
            <a:ext cx="460919" cy="980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4" name="Rectangle 190"/>
          <p:cNvSpPr>
            <a:spLocks noChangeArrowheads="1"/>
          </p:cNvSpPr>
          <p:nvPr/>
        </p:nvSpPr>
        <p:spPr bwMode="auto">
          <a:xfrm>
            <a:off x="4122011" y="4311716"/>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5" name="Rectangle 191"/>
          <p:cNvSpPr>
            <a:spLocks noChangeArrowheads="1"/>
          </p:cNvSpPr>
          <p:nvPr/>
        </p:nvSpPr>
        <p:spPr bwMode="auto">
          <a:xfrm>
            <a:off x="4122011" y="4485101"/>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6" name="Rectangle 192"/>
          <p:cNvSpPr>
            <a:spLocks noChangeArrowheads="1"/>
          </p:cNvSpPr>
          <p:nvPr/>
        </p:nvSpPr>
        <p:spPr bwMode="auto">
          <a:xfrm>
            <a:off x="4122011" y="4658484"/>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7" name="Rectangle 193"/>
          <p:cNvSpPr>
            <a:spLocks noChangeArrowheads="1"/>
          </p:cNvSpPr>
          <p:nvPr/>
        </p:nvSpPr>
        <p:spPr bwMode="auto">
          <a:xfrm>
            <a:off x="4122011" y="4828634"/>
            <a:ext cx="460919" cy="990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1063" name="Group 1062"/>
          <p:cNvGrpSpPr/>
          <p:nvPr/>
        </p:nvGrpSpPr>
        <p:grpSpPr>
          <a:xfrm>
            <a:off x="10083081" y="1859587"/>
            <a:ext cx="759223" cy="3147815"/>
            <a:chOff x="9240116" y="-3616221"/>
            <a:chExt cx="759331" cy="3148261"/>
          </a:xfrm>
        </p:grpSpPr>
        <p:sp>
          <p:nvSpPr>
            <p:cNvPr id="1028" name="Line 194"/>
            <p:cNvSpPr>
              <a:spLocks noChangeShapeType="1"/>
            </p:cNvSpPr>
            <p:nvPr/>
          </p:nvSpPr>
          <p:spPr bwMode="auto">
            <a:xfrm>
              <a:off x="9730181" y="-3616221"/>
              <a:ext cx="0" cy="718402"/>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9" name="Line 195"/>
            <p:cNvSpPr>
              <a:spLocks noChangeShapeType="1"/>
            </p:cNvSpPr>
            <p:nvPr/>
          </p:nvSpPr>
          <p:spPr bwMode="auto">
            <a:xfrm>
              <a:off x="9509382" y="-3616221"/>
              <a:ext cx="0" cy="718402"/>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0" name="Rectangle 196"/>
            <p:cNvSpPr>
              <a:spLocks noChangeArrowheads="1"/>
            </p:cNvSpPr>
            <p:nvPr/>
          </p:nvSpPr>
          <p:spPr bwMode="auto">
            <a:xfrm>
              <a:off x="9240116" y="-3250019"/>
              <a:ext cx="759331" cy="2782059"/>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1" name="Rectangle 197"/>
            <p:cNvSpPr>
              <a:spLocks noChangeArrowheads="1"/>
            </p:cNvSpPr>
            <p:nvPr/>
          </p:nvSpPr>
          <p:spPr bwMode="auto">
            <a:xfrm>
              <a:off x="9240116" y="-3250019"/>
              <a:ext cx="186332" cy="2782059"/>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1064" name="Group 1063"/>
          <p:cNvGrpSpPr/>
          <p:nvPr/>
        </p:nvGrpSpPr>
        <p:grpSpPr>
          <a:xfrm>
            <a:off x="8494637" y="2099901"/>
            <a:ext cx="762454" cy="2869971"/>
            <a:chOff x="8238446" y="-3338339"/>
            <a:chExt cx="762562" cy="2870379"/>
          </a:xfrm>
        </p:grpSpPr>
        <p:sp>
          <p:nvSpPr>
            <p:cNvPr id="1032" name="Rectangle 198"/>
            <p:cNvSpPr>
              <a:spLocks noChangeArrowheads="1"/>
            </p:cNvSpPr>
            <p:nvPr/>
          </p:nvSpPr>
          <p:spPr bwMode="auto">
            <a:xfrm>
              <a:off x="8238446" y="-2404523"/>
              <a:ext cx="762562" cy="193656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3" name="Rectangle 199"/>
            <p:cNvSpPr>
              <a:spLocks noChangeArrowheads="1"/>
            </p:cNvSpPr>
            <p:nvPr/>
          </p:nvSpPr>
          <p:spPr bwMode="auto">
            <a:xfrm>
              <a:off x="8335382" y="-2964597"/>
              <a:ext cx="569767" cy="56007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4" name="Freeform 200"/>
            <p:cNvSpPr>
              <a:spLocks/>
            </p:cNvSpPr>
            <p:nvPr/>
          </p:nvSpPr>
          <p:spPr bwMode="auto">
            <a:xfrm>
              <a:off x="8473246" y="-3338339"/>
              <a:ext cx="290808" cy="37374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5" name="Rectangle 201"/>
            <p:cNvSpPr>
              <a:spLocks noChangeArrowheads="1"/>
            </p:cNvSpPr>
            <p:nvPr/>
          </p:nvSpPr>
          <p:spPr bwMode="auto">
            <a:xfrm>
              <a:off x="8345075" y="-2276353"/>
              <a:ext cx="80780"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6" name="Rectangle 202"/>
            <p:cNvSpPr>
              <a:spLocks noChangeArrowheads="1"/>
            </p:cNvSpPr>
            <p:nvPr/>
          </p:nvSpPr>
          <p:spPr bwMode="auto">
            <a:xfrm>
              <a:off x="8502327" y="-2276353"/>
              <a:ext cx="77549"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7" name="Rectangle 203"/>
            <p:cNvSpPr>
              <a:spLocks noChangeArrowheads="1"/>
            </p:cNvSpPr>
            <p:nvPr/>
          </p:nvSpPr>
          <p:spPr bwMode="auto">
            <a:xfrm>
              <a:off x="8657424" y="-2276353"/>
              <a:ext cx="79703"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8" name="Rectangle 204"/>
            <p:cNvSpPr>
              <a:spLocks noChangeArrowheads="1"/>
            </p:cNvSpPr>
            <p:nvPr/>
          </p:nvSpPr>
          <p:spPr bwMode="auto">
            <a:xfrm>
              <a:off x="8811444" y="-2276353"/>
              <a:ext cx="79703"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9" name="Rectangle 205"/>
            <p:cNvSpPr>
              <a:spLocks noChangeArrowheads="1"/>
            </p:cNvSpPr>
            <p:nvPr/>
          </p:nvSpPr>
          <p:spPr bwMode="auto">
            <a:xfrm>
              <a:off x="8335382" y="-2964597"/>
              <a:ext cx="569767" cy="58162"/>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0" name="Rectangle 206"/>
            <p:cNvSpPr>
              <a:spLocks noChangeArrowheads="1"/>
            </p:cNvSpPr>
            <p:nvPr/>
          </p:nvSpPr>
          <p:spPr bwMode="auto">
            <a:xfrm>
              <a:off x="8238446" y="-2463762"/>
              <a:ext cx="762562" cy="5923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1041" name="Rectangle 207"/>
          <p:cNvSpPr>
            <a:spLocks noChangeArrowheads="1"/>
          </p:cNvSpPr>
          <p:nvPr/>
        </p:nvSpPr>
        <p:spPr bwMode="auto">
          <a:xfrm>
            <a:off x="6239220" y="4218026"/>
            <a:ext cx="929375" cy="7419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2" name="Freeform 208"/>
          <p:cNvSpPr>
            <a:spLocks/>
          </p:cNvSpPr>
          <p:nvPr/>
        </p:nvSpPr>
        <p:spPr bwMode="auto">
          <a:xfrm>
            <a:off x="6774445" y="2863270"/>
            <a:ext cx="788299" cy="209674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3" name="Freeform 209"/>
          <p:cNvSpPr>
            <a:spLocks/>
          </p:cNvSpPr>
          <p:nvPr/>
        </p:nvSpPr>
        <p:spPr bwMode="auto">
          <a:xfrm>
            <a:off x="6239219" y="4228796"/>
            <a:ext cx="535226" cy="731222"/>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4" name="Rectangle 210"/>
          <p:cNvSpPr>
            <a:spLocks noChangeArrowheads="1"/>
          </p:cNvSpPr>
          <p:nvPr/>
        </p:nvSpPr>
        <p:spPr bwMode="auto">
          <a:xfrm>
            <a:off x="6873520" y="3018344"/>
            <a:ext cx="76461" cy="1486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5" name="Rectangle 211"/>
          <p:cNvSpPr>
            <a:spLocks noChangeArrowheads="1"/>
          </p:cNvSpPr>
          <p:nvPr/>
        </p:nvSpPr>
        <p:spPr bwMode="auto">
          <a:xfrm>
            <a:off x="7043674" y="3018344"/>
            <a:ext cx="77538" cy="14861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6" name="Rectangle 212"/>
          <p:cNvSpPr>
            <a:spLocks noChangeArrowheads="1"/>
          </p:cNvSpPr>
          <p:nvPr/>
        </p:nvSpPr>
        <p:spPr bwMode="auto">
          <a:xfrm>
            <a:off x="7213826" y="3018344"/>
            <a:ext cx="77538" cy="14861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7" name="Rectangle 213"/>
          <p:cNvSpPr>
            <a:spLocks noChangeArrowheads="1"/>
          </p:cNvSpPr>
          <p:nvPr/>
        </p:nvSpPr>
        <p:spPr bwMode="auto">
          <a:xfrm>
            <a:off x="7385054" y="3018344"/>
            <a:ext cx="76461" cy="1486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8" name="Rectangle 214"/>
          <p:cNvSpPr>
            <a:spLocks noChangeArrowheads="1"/>
          </p:cNvSpPr>
          <p:nvPr/>
        </p:nvSpPr>
        <p:spPr bwMode="auto">
          <a:xfrm>
            <a:off x="6873520" y="3242343"/>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9" name="Rectangle 215"/>
          <p:cNvSpPr>
            <a:spLocks noChangeArrowheads="1"/>
          </p:cNvSpPr>
          <p:nvPr/>
        </p:nvSpPr>
        <p:spPr bwMode="auto">
          <a:xfrm>
            <a:off x="7043674" y="3242343"/>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0" name="Rectangle 216"/>
          <p:cNvSpPr>
            <a:spLocks noChangeArrowheads="1"/>
          </p:cNvSpPr>
          <p:nvPr/>
        </p:nvSpPr>
        <p:spPr bwMode="auto">
          <a:xfrm>
            <a:off x="7213826" y="3242343"/>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1" name="Rectangle 217"/>
          <p:cNvSpPr>
            <a:spLocks noChangeArrowheads="1"/>
          </p:cNvSpPr>
          <p:nvPr/>
        </p:nvSpPr>
        <p:spPr bwMode="auto">
          <a:xfrm>
            <a:off x="7385054" y="3242343"/>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2" name="Rectangle 218"/>
          <p:cNvSpPr>
            <a:spLocks noChangeArrowheads="1"/>
          </p:cNvSpPr>
          <p:nvPr/>
        </p:nvSpPr>
        <p:spPr bwMode="auto">
          <a:xfrm>
            <a:off x="6873520" y="3463112"/>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3" name="Rectangle 219"/>
          <p:cNvSpPr>
            <a:spLocks noChangeArrowheads="1"/>
          </p:cNvSpPr>
          <p:nvPr/>
        </p:nvSpPr>
        <p:spPr bwMode="auto">
          <a:xfrm>
            <a:off x="7043674" y="346311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4" name="Rectangle 220"/>
          <p:cNvSpPr>
            <a:spLocks noChangeArrowheads="1"/>
          </p:cNvSpPr>
          <p:nvPr/>
        </p:nvSpPr>
        <p:spPr bwMode="auto">
          <a:xfrm>
            <a:off x="7213826" y="346311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5" name="Rectangle 221"/>
          <p:cNvSpPr>
            <a:spLocks noChangeArrowheads="1"/>
          </p:cNvSpPr>
          <p:nvPr/>
        </p:nvSpPr>
        <p:spPr bwMode="auto">
          <a:xfrm>
            <a:off x="7385054" y="346311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6" name="Rectangle 222"/>
          <p:cNvSpPr>
            <a:spLocks noChangeArrowheads="1"/>
          </p:cNvSpPr>
          <p:nvPr/>
        </p:nvSpPr>
        <p:spPr bwMode="auto">
          <a:xfrm>
            <a:off x="6873520" y="3687108"/>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7" name="Rectangle 223"/>
          <p:cNvSpPr>
            <a:spLocks noChangeArrowheads="1"/>
          </p:cNvSpPr>
          <p:nvPr/>
        </p:nvSpPr>
        <p:spPr bwMode="auto">
          <a:xfrm>
            <a:off x="7043674" y="3687108"/>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8" name="Rectangle 224"/>
          <p:cNvSpPr>
            <a:spLocks noChangeArrowheads="1"/>
          </p:cNvSpPr>
          <p:nvPr/>
        </p:nvSpPr>
        <p:spPr bwMode="auto">
          <a:xfrm>
            <a:off x="7213826" y="3687108"/>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9" name="Rectangle 225"/>
          <p:cNvSpPr>
            <a:spLocks noChangeArrowheads="1"/>
          </p:cNvSpPr>
          <p:nvPr/>
        </p:nvSpPr>
        <p:spPr bwMode="auto">
          <a:xfrm>
            <a:off x="7385054" y="3687108"/>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0" name="Rectangle 226"/>
          <p:cNvSpPr>
            <a:spLocks noChangeArrowheads="1"/>
          </p:cNvSpPr>
          <p:nvPr/>
        </p:nvSpPr>
        <p:spPr bwMode="auto">
          <a:xfrm>
            <a:off x="6873520" y="3908954"/>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 name="Rectangle 228"/>
          <p:cNvSpPr>
            <a:spLocks noChangeArrowheads="1"/>
          </p:cNvSpPr>
          <p:nvPr/>
        </p:nvSpPr>
        <p:spPr bwMode="auto">
          <a:xfrm>
            <a:off x="7043674" y="3908954"/>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 name="Rectangle 229"/>
          <p:cNvSpPr>
            <a:spLocks noChangeArrowheads="1"/>
          </p:cNvSpPr>
          <p:nvPr/>
        </p:nvSpPr>
        <p:spPr bwMode="auto">
          <a:xfrm>
            <a:off x="7213826" y="3908954"/>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2" name="Rectangle 230"/>
          <p:cNvSpPr>
            <a:spLocks noChangeArrowheads="1"/>
          </p:cNvSpPr>
          <p:nvPr/>
        </p:nvSpPr>
        <p:spPr bwMode="auto">
          <a:xfrm>
            <a:off x="7385054" y="3908954"/>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3" name="Rectangle 231"/>
          <p:cNvSpPr>
            <a:spLocks noChangeArrowheads="1"/>
          </p:cNvSpPr>
          <p:nvPr/>
        </p:nvSpPr>
        <p:spPr bwMode="auto">
          <a:xfrm>
            <a:off x="6873520" y="4129718"/>
            <a:ext cx="76461" cy="14969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4" name="Rectangle 232"/>
          <p:cNvSpPr>
            <a:spLocks noChangeArrowheads="1"/>
          </p:cNvSpPr>
          <p:nvPr/>
        </p:nvSpPr>
        <p:spPr bwMode="auto">
          <a:xfrm>
            <a:off x="7043674" y="4129718"/>
            <a:ext cx="77538" cy="14969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5" name="Rectangle 233"/>
          <p:cNvSpPr>
            <a:spLocks noChangeArrowheads="1"/>
          </p:cNvSpPr>
          <p:nvPr/>
        </p:nvSpPr>
        <p:spPr bwMode="auto">
          <a:xfrm>
            <a:off x="7213826" y="4129718"/>
            <a:ext cx="77538" cy="1496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6" name="Rectangle 234"/>
          <p:cNvSpPr>
            <a:spLocks noChangeArrowheads="1"/>
          </p:cNvSpPr>
          <p:nvPr/>
        </p:nvSpPr>
        <p:spPr bwMode="auto">
          <a:xfrm>
            <a:off x="7385054" y="4129718"/>
            <a:ext cx="76461" cy="1496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7" name="Rectangle 235"/>
          <p:cNvSpPr>
            <a:spLocks noChangeArrowheads="1"/>
          </p:cNvSpPr>
          <p:nvPr/>
        </p:nvSpPr>
        <p:spPr bwMode="auto">
          <a:xfrm>
            <a:off x="6873520" y="4353716"/>
            <a:ext cx="76461"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8" name="Rectangle 236"/>
          <p:cNvSpPr>
            <a:spLocks noChangeArrowheads="1"/>
          </p:cNvSpPr>
          <p:nvPr/>
        </p:nvSpPr>
        <p:spPr bwMode="auto">
          <a:xfrm>
            <a:off x="7043674" y="4353716"/>
            <a:ext cx="77538"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9" name="Rectangle 237"/>
          <p:cNvSpPr>
            <a:spLocks noChangeArrowheads="1"/>
          </p:cNvSpPr>
          <p:nvPr/>
        </p:nvSpPr>
        <p:spPr bwMode="auto">
          <a:xfrm>
            <a:off x="7213826" y="4353716"/>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0" name="Rectangle 238"/>
          <p:cNvSpPr>
            <a:spLocks noChangeArrowheads="1"/>
          </p:cNvSpPr>
          <p:nvPr/>
        </p:nvSpPr>
        <p:spPr bwMode="auto">
          <a:xfrm>
            <a:off x="7385054" y="4353716"/>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1" name="Rectangle 239"/>
          <p:cNvSpPr>
            <a:spLocks noChangeArrowheads="1"/>
          </p:cNvSpPr>
          <p:nvPr/>
        </p:nvSpPr>
        <p:spPr bwMode="auto">
          <a:xfrm>
            <a:off x="6295221" y="4353716"/>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2" name="Rectangle 240"/>
          <p:cNvSpPr>
            <a:spLocks noChangeArrowheads="1"/>
          </p:cNvSpPr>
          <p:nvPr/>
        </p:nvSpPr>
        <p:spPr bwMode="auto">
          <a:xfrm>
            <a:off x="6465372" y="4353716"/>
            <a:ext cx="77538"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3" name="Rectangle 241"/>
          <p:cNvSpPr>
            <a:spLocks noChangeArrowheads="1"/>
          </p:cNvSpPr>
          <p:nvPr/>
        </p:nvSpPr>
        <p:spPr bwMode="auto">
          <a:xfrm>
            <a:off x="6636600" y="4353716"/>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4" name="Rectangle 242"/>
          <p:cNvSpPr>
            <a:spLocks noChangeArrowheads="1"/>
          </p:cNvSpPr>
          <p:nvPr/>
        </p:nvSpPr>
        <p:spPr bwMode="auto">
          <a:xfrm>
            <a:off x="6295221" y="457556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5" name="Rectangle 243"/>
          <p:cNvSpPr>
            <a:spLocks noChangeArrowheads="1"/>
          </p:cNvSpPr>
          <p:nvPr/>
        </p:nvSpPr>
        <p:spPr bwMode="auto">
          <a:xfrm>
            <a:off x="6465372" y="4575562"/>
            <a:ext cx="77538" cy="146460"/>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6" name="Rectangle 244"/>
          <p:cNvSpPr>
            <a:spLocks noChangeArrowheads="1"/>
          </p:cNvSpPr>
          <p:nvPr/>
        </p:nvSpPr>
        <p:spPr bwMode="auto">
          <a:xfrm>
            <a:off x="6636600" y="457556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7" name="Rectangle 245"/>
          <p:cNvSpPr>
            <a:spLocks noChangeArrowheads="1"/>
          </p:cNvSpPr>
          <p:nvPr/>
        </p:nvSpPr>
        <p:spPr bwMode="auto">
          <a:xfrm>
            <a:off x="6873520" y="457556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1" name="Rectangle 246"/>
          <p:cNvSpPr>
            <a:spLocks noChangeArrowheads="1"/>
          </p:cNvSpPr>
          <p:nvPr/>
        </p:nvSpPr>
        <p:spPr bwMode="auto">
          <a:xfrm>
            <a:off x="7043674" y="4575562"/>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5" name="Rectangle 247"/>
          <p:cNvSpPr>
            <a:spLocks noChangeArrowheads="1"/>
          </p:cNvSpPr>
          <p:nvPr/>
        </p:nvSpPr>
        <p:spPr bwMode="auto">
          <a:xfrm>
            <a:off x="7213826" y="457556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6" name="Rectangle 248"/>
          <p:cNvSpPr>
            <a:spLocks noChangeArrowheads="1"/>
          </p:cNvSpPr>
          <p:nvPr/>
        </p:nvSpPr>
        <p:spPr bwMode="auto">
          <a:xfrm>
            <a:off x="7385054" y="4575562"/>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7" name="Rectangle 249"/>
          <p:cNvSpPr>
            <a:spLocks noChangeArrowheads="1"/>
          </p:cNvSpPr>
          <p:nvPr/>
        </p:nvSpPr>
        <p:spPr bwMode="auto">
          <a:xfrm>
            <a:off x="7213826" y="2718964"/>
            <a:ext cx="247690" cy="144306"/>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8" name="Rectangle 250"/>
          <p:cNvSpPr>
            <a:spLocks noChangeArrowheads="1"/>
          </p:cNvSpPr>
          <p:nvPr/>
        </p:nvSpPr>
        <p:spPr bwMode="auto">
          <a:xfrm>
            <a:off x="6949981" y="2626347"/>
            <a:ext cx="50615" cy="236921"/>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pic>
        <p:nvPicPr>
          <p:cNvPr id="906" name="Picture 905"/>
          <p:cNvPicPr>
            <a:picLocks noChangeAspect="1"/>
          </p:cNvPicPr>
          <p:nvPr/>
        </p:nvPicPr>
        <p:blipFill>
          <a:blip r:embed="rId6"/>
          <a:stretch>
            <a:fillRect/>
          </a:stretch>
        </p:blipFill>
        <p:spPr>
          <a:xfrm>
            <a:off x="8000224" y="3282159"/>
            <a:ext cx="663656" cy="1785688"/>
          </a:xfrm>
          <a:prstGeom prst="rect">
            <a:avLst/>
          </a:prstGeom>
        </p:spPr>
      </p:pic>
      <p:grpSp>
        <p:nvGrpSpPr>
          <p:cNvPr id="1065" name="Group 253"/>
          <p:cNvGrpSpPr>
            <a:grpSpLocks noChangeAspect="1"/>
          </p:cNvGrpSpPr>
          <p:nvPr/>
        </p:nvGrpSpPr>
        <p:grpSpPr bwMode="auto">
          <a:xfrm>
            <a:off x="10481758" y="3613658"/>
            <a:ext cx="1307915" cy="1439659"/>
            <a:chOff x="6861" y="-1143"/>
            <a:chExt cx="824" cy="907"/>
          </a:xfrm>
        </p:grpSpPr>
        <p:sp>
          <p:nvSpPr>
            <p:cNvPr id="1066" name="AutoShape 252"/>
            <p:cNvSpPr>
              <a:spLocks noChangeAspect="1" noChangeArrowheads="1" noTextEdit="1"/>
            </p:cNvSpPr>
            <p:nvPr/>
          </p:nvSpPr>
          <p:spPr bwMode="auto">
            <a:xfrm>
              <a:off x="6861" y="-1143"/>
              <a:ext cx="824" cy="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7" name="Rectangle 254"/>
            <p:cNvSpPr>
              <a:spLocks noChangeArrowheads="1"/>
            </p:cNvSpPr>
            <p:nvPr/>
          </p:nvSpPr>
          <p:spPr bwMode="auto">
            <a:xfrm>
              <a:off x="6945" y="-1143"/>
              <a:ext cx="734" cy="9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8" name="Rectangle 255"/>
            <p:cNvSpPr>
              <a:spLocks noChangeArrowheads="1"/>
            </p:cNvSpPr>
            <p:nvPr/>
          </p:nvSpPr>
          <p:spPr bwMode="auto">
            <a:xfrm>
              <a:off x="6867" y="-1143"/>
              <a:ext cx="78" cy="907"/>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9" name="Rectangle 256"/>
            <p:cNvSpPr>
              <a:spLocks noChangeArrowheads="1"/>
            </p:cNvSpPr>
            <p:nvPr/>
          </p:nvSpPr>
          <p:spPr bwMode="auto">
            <a:xfrm>
              <a:off x="7013"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0" name="Rectangle 257"/>
            <p:cNvSpPr>
              <a:spLocks noChangeArrowheads="1"/>
            </p:cNvSpPr>
            <p:nvPr/>
          </p:nvSpPr>
          <p:spPr bwMode="auto">
            <a:xfrm>
              <a:off x="7125"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1" name="Rectangle 258"/>
            <p:cNvSpPr>
              <a:spLocks noChangeArrowheads="1"/>
            </p:cNvSpPr>
            <p:nvPr/>
          </p:nvSpPr>
          <p:spPr bwMode="auto">
            <a:xfrm>
              <a:off x="7237"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2" name="Rectangle 259"/>
            <p:cNvSpPr>
              <a:spLocks noChangeArrowheads="1"/>
            </p:cNvSpPr>
            <p:nvPr/>
          </p:nvSpPr>
          <p:spPr bwMode="auto">
            <a:xfrm>
              <a:off x="7349" y="-109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3" name="Rectangle 260"/>
            <p:cNvSpPr>
              <a:spLocks noChangeArrowheads="1"/>
            </p:cNvSpPr>
            <p:nvPr/>
          </p:nvSpPr>
          <p:spPr bwMode="auto">
            <a:xfrm>
              <a:off x="7461"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4" name="Rectangle 261"/>
            <p:cNvSpPr>
              <a:spLocks noChangeArrowheads="1"/>
            </p:cNvSpPr>
            <p:nvPr/>
          </p:nvSpPr>
          <p:spPr bwMode="auto">
            <a:xfrm>
              <a:off x="7573"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5" name="Rectangle 262"/>
            <p:cNvSpPr>
              <a:spLocks noChangeArrowheads="1"/>
            </p:cNvSpPr>
            <p:nvPr/>
          </p:nvSpPr>
          <p:spPr bwMode="auto">
            <a:xfrm>
              <a:off x="7013" y="-95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6" name="Rectangle 263"/>
            <p:cNvSpPr>
              <a:spLocks noChangeArrowheads="1"/>
            </p:cNvSpPr>
            <p:nvPr/>
          </p:nvSpPr>
          <p:spPr bwMode="auto">
            <a:xfrm>
              <a:off x="7125"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7" name="Rectangle 264"/>
            <p:cNvSpPr>
              <a:spLocks noChangeArrowheads="1"/>
            </p:cNvSpPr>
            <p:nvPr/>
          </p:nvSpPr>
          <p:spPr bwMode="auto">
            <a:xfrm>
              <a:off x="7237"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8" name="Rectangle 265"/>
            <p:cNvSpPr>
              <a:spLocks noChangeArrowheads="1"/>
            </p:cNvSpPr>
            <p:nvPr/>
          </p:nvSpPr>
          <p:spPr bwMode="auto">
            <a:xfrm>
              <a:off x="7349" y="-95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9" name="Rectangle 266"/>
            <p:cNvSpPr>
              <a:spLocks noChangeArrowheads="1"/>
            </p:cNvSpPr>
            <p:nvPr/>
          </p:nvSpPr>
          <p:spPr bwMode="auto">
            <a:xfrm>
              <a:off x="7461"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0" name="Rectangle 267"/>
            <p:cNvSpPr>
              <a:spLocks noChangeArrowheads="1"/>
            </p:cNvSpPr>
            <p:nvPr/>
          </p:nvSpPr>
          <p:spPr bwMode="auto">
            <a:xfrm>
              <a:off x="7573" y="-95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1" name="Rectangle 268"/>
            <p:cNvSpPr>
              <a:spLocks noChangeArrowheads="1"/>
            </p:cNvSpPr>
            <p:nvPr/>
          </p:nvSpPr>
          <p:spPr bwMode="auto">
            <a:xfrm>
              <a:off x="7013" y="-81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2" name="Rectangle 269"/>
            <p:cNvSpPr>
              <a:spLocks noChangeArrowheads="1"/>
            </p:cNvSpPr>
            <p:nvPr/>
          </p:nvSpPr>
          <p:spPr bwMode="auto">
            <a:xfrm>
              <a:off x="7125" y="-81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3" name="Rectangle 270"/>
            <p:cNvSpPr>
              <a:spLocks noChangeArrowheads="1"/>
            </p:cNvSpPr>
            <p:nvPr/>
          </p:nvSpPr>
          <p:spPr bwMode="auto">
            <a:xfrm>
              <a:off x="7237"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4" name="Rectangle 271"/>
            <p:cNvSpPr>
              <a:spLocks noChangeArrowheads="1"/>
            </p:cNvSpPr>
            <p:nvPr/>
          </p:nvSpPr>
          <p:spPr bwMode="auto">
            <a:xfrm>
              <a:off x="7349" y="-81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5" name="Rectangle 272"/>
            <p:cNvSpPr>
              <a:spLocks noChangeArrowheads="1"/>
            </p:cNvSpPr>
            <p:nvPr/>
          </p:nvSpPr>
          <p:spPr bwMode="auto">
            <a:xfrm>
              <a:off x="7461"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6" name="Rectangle 273"/>
            <p:cNvSpPr>
              <a:spLocks noChangeArrowheads="1"/>
            </p:cNvSpPr>
            <p:nvPr/>
          </p:nvSpPr>
          <p:spPr bwMode="auto">
            <a:xfrm>
              <a:off x="7573"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7" name="Rectangle 274"/>
            <p:cNvSpPr>
              <a:spLocks noChangeArrowheads="1"/>
            </p:cNvSpPr>
            <p:nvPr/>
          </p:nvSpPr>
          <p:spPr bwMode="auto">
            <a:xfrm>
              <a:off x="7013" y="-67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6" name="Rectangle 275"/>
            <p:cNvSpPr>
              <a:spLocks noChangeArrowheads="1"/>
            </p:cNvSpPr>
            <p:nvPr/>
          </p:nvSpPr>
          <p:spPr bwMode="auto">
            <a:xfrm>
              <a:off x="7125" y="-678"/>
              <a:ext cx="50" cy="8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7" name="Rectangle 276"/>
            <p:cNvSpPr>
              <a:spLocks noChangeArrowheads="1"/>
            </p:cNvSpPr>
            <p:nvPr/>
          </p:nvSpPr>
          <p:spPr bwMode="auto">
            <a:xfrm>
              <a:off x="7237" y="-67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8" name="Rectangle 277"/>
            <p:cNvSpPr>
              <a:spLocks noChangeArrowheads="1"/>
            </p:cNvSpPr>
            <p:nvPr/>
          </p:nvSpPr>
          <p:spPr bwMode="auto">
            <a:xfrm>
              <a:off x="7349"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9" name="Rectangle 278"/>
            <p:cNvSpPr>
              <a:spLocks noChangeArrowheads="1"/>
            </p:cNvSpPr>
            <p:nvPr/>
          </p:nvSpPr>
          <p:spPr bwMode="auto">
            <a:xfrm>
              <a:off x="7461"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0" name="Rectangle 279"/>
            <p:cNvSpPr>
              <a:spLocks noChangeArrowheads="1"/>
            </p:cNvSpPr>
            <p:nvPr/>
          </p:nvSpPr>
          <p:spPr bwMode="auto">
            <a:xfrm>
              <a:off x="7573"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1" name="Rectangle 280"/>
            <p:cNvSpPr>
              <a:spLocks noChangeArrowheads="1"/>
            </p:cNvSpPr>
            <p:nvPr/>
          </p:nvSpPr>
          <p:spPr bwMode="auto">
            <a:xfrm>
              <a:off x="7013"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2" name="Rectangle 281"/>
            <p:cNvSpPr>
              <a:spLocks noChangeArrowheads="1"/>
            </p:cNvSpPr>
            <p:nvPr/>
          </p:nvSpPr>
          <p:spPr bwMode="auto">
            <a:xfrm>
              <a:off x="7125"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3" name="Rectangle 282"/>
            <p:cNvSpPr>
              <a:spLocks noChangeArrowheads="1"/>
            </p:cNvSpPr>
            <p:nvPr/>
          </p:nvSpPr>
          <p:spPr bwMode="auto">
            <a:xfrm>
              <a:off x="7237"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4" name="Rectangle 283"/>
            <p:cNvSpPr>
              <a:spLocks noChangeArrowheads="1"/>
            </p:cNvSpPr>
            <p:nvPr/>
          </p:nvSpPr>
          <p:spPr bwMode="auto">
            <a:xfrm>
              <a:off x="7349"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8" name="Rectangle 284"/>
            <p:cNvSpPr>
              <a:spLocks noChangeArrowheads="1"/>
            </p:cNvSpPr>
            <p:nvPr/>
          </p:nvSpPr>
          <p:spPr bwMode="auto">
            <a:xfrm>
              <a:off x="7461"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9" name="Rectangle 285"/>
            <p:cNvSpPr>
              <a:spLocks noChangeArrowheads="1"/>
            </p:cNvSpPr>
            <p:nvPr/>
          </p:nvSpPr>
          <p:spPr bwMode="auto">
            <a:xfrm>
              <a:off x="7573"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0" name="Rectangle 286"/>
            <p:cNvSpPr>
              <a:spLocks noChangeArrowheads="1"/>
            </p:cNvSpPr>
            <p:nvPr/>
          </p:nvSpPr>
          <p:spPr bwMode="auto">
            <a:xfrm>
              <a:off x="7013" y="-39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1" name="Rectangle 287"/>
            <p:cNvSpPr>
              <a:spLocks noChangeArrowheads="1"/>
            </p:cNvSpPr>
            <p:nvPr/>
          </p:nvSpPr>
          <p:spPr bwMode="auto">
            <a:xfrm>
              <a:off x="7125"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2" name="Rectangle 288"/>
            <p:cNvSpPr>
              <a:spLocks noChangeArrowheads="1"/>
            </p:cNvSpPr>
            <p:nvPr/>
          </p:nvSpPr>
          <p:spPr bwMode="auto">
            <a:xfrm>
              <a:off x="7237" y="-39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3" name="Rectangle 289"/>
            <p:cNvSpPr>
              <a:spLocks noChangeArrowheads="1"/>
            </p:cNvSpPr>
            <p:nvPr/>
          </p:nvSpPr>
          <p:spPr bwMode="auto">
            <a:xfrm>
              <a:off x="7349"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4" name="Rectangle 290"/>
            <p:cNvSpPr>
              <a:spLocks noChangeArrowheads="1"/>
            </p:cNvSpPr>
            <p:nvPr/>
          </p:nvSpPr>
          <p:spPr bwMode="auto">
            <a:xfrm>
              <a:off x="7461" y="-398"/>
              <a:ext cx="50" cy="8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5" name="Rectangle 291"/>
            <p:cNvSpPr>
              <a:spLocks noChangeArrowheads="1"/>
            </p:cNvSpPr>
            <p:nvPr/>
          </p:nvSpPr>
          <p:spPr bwMode="auto">
            <a:xfrm>
              <a:off x="7573"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pic>
        <p:nvPicPr>
          <p:cNvPr id="948" name="Picture 947"/>
          <p:cNvPicPr>
            <a:picLocks noChangeAspect="1"/>
          </p:cNvPicPr>
          <p:nvPr/>
        </p:nvPicPr>
        <p:blipFill>
          <a:blip r:embed="rId7"/>
          <a:stretch>
            <a:fillRect/>
          </a:stretch>
        </p:blipFill>
        <p:spPr>
          <a:xfrm>
            <a:off x="5443763" y="2577886"/>
            <a:ext cx="924693" cy="2359559"/>
          </a:xfrm>
          <a:prstGeom prst="rect">
            <a:avLst/>
          </a:prstGeom>
        </p:spPr>
      </p:pic>
      <p:pic>
        <p:nvPicPr>
          <p:cNvPr id="952" name="Picture 951"/>
          <p:cNvPicPr>
            <a:picLocks noChangeAspect="1"/>
          </p:cNvPicPr>
          <p:nvPr/>
        </p:nvPicPr>
        <p:blipFill>
          <a:blip r:embed="rId8"/>
          <a:stretch>
            <a:fillRect/>
          </a:stretch>
        </p:blipFill>
        <p:spPr>
          <a:xfrm>
            <a:off x="2124338" y="3643857"/>
            <a:ext cx="1077228" cy="1304812"/>
          </a:xfrm>
          <a:prstGeom prst="rect">
            <a:avLst/>
          </a:prstGeom>
        </p:spPr>
      </p:pic>
      <p:sp>
        <p:nvSpPr>
          <p:cNvPr id="1009" name="Chord 1008"/>
          <p:cNvSpPr/>
          <p:nvPr/>
        </p:nvSpPr>
        <p:spPr bwMode="auto">
          <a:xfrm rot="5400000">
            <a:off x="5240013" y="2938666"/>
            <a:ext cx="4530490" cy="5964310"/>
          </a:xfrm>
          <a:prstGeom prst="chord">
            <a:avLst>
              <a:gd name="adj1" fmla="val 5783189"/>
              <a:gd name="adj2" fmla="val 15799796"/>
            </a:avLst>
          </a:prstGeom>
          <a:solidFill>
            <a:srgbClr val="5D9D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1010" name="Chord 1009"/>
          <p:cNvSpPr/>
          <p:nvPr/>
        </p:nvSpPr>
        <p:spPr bwMode="auto">
          <a:xfrm rot="5400000">
            <a:off x="8322615" y="3430544"/>
            <a:ext cx="3616821" cy="4761482"/>
          </a:xfrm>
          <a:prstGeom prst="chord">
            <a:avLst>
              <a:gd name="adj1" fmla="val 5783189"/>
              <a:gd name="adj2" fmla="val 15799796"/>
            </a:avLst>
          </a:prstGeom>
          <a:solidFill>
            <a:srgbClr val="6BB6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1008" name="Chord 1007"/>
          <p:cNvSpPr/>
          <p:nvPr/>
        </p:nvSpPr>
        <p:spPr bwMode="auto">
          <a:xfrm rot="5400000">
            <a:off x="551943" y="3177357"/>
            <a:ext cx="4530490" cy="5964310"/>
          </a:xfrm>
          <a:prstGeom prst="chord">
            <a:avLst>
              <a:gd name="adj1" fmla="val 5783189"/>
              <a:gd name="adj2" fmla="val 15799796"/>
            </a:avLst>
          </a:prstGeom>
          <a:solidFill>
            <a:srgbClr val="6BB6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2" name="Title 1"/>
          <p:cNvSpPr>
            <a:spLocks noGrp="1"/>
          </p:cNvSpPr>
          <p:nvPr>
            <p:ph type="title"/>
          </p:nvPr>
        </p:nvSpPr>
        <p:spPr/>
        <p:txBody>
          <a:bodyPr/>
          <a:lstStyle/>
          <a:p>
            <a:pPr>
              <a:tabLst>
                <a:tab pos="4001418" algn="l"/>
              </a:tabLst>
            </a:pPr>
            <a:r>
              <a:rPr lang="en-US" dirty="0">
                <a:solidFill>
                  <a:schemeClr val="tx1"/>
                </a:solidFill>
              </a:rPr>
              <a:t>Opportunity</a:t>
            </a:r>
          </a:p>
        </p:txBody>
      </p:sp>
      <p:sp>
        <p:nvSpPr>
          <p:cNvPr id="746" name="Freeform 858"/>
          <p:cNvSpPr>
            <a:spLocks/>
          </p:cNvSpPr>
          <p:nvPr/>
        </p:nvSpPr>
        <p:spPr bwMode="auto">
          <a:xfrm>
            <a:off x="9380235" y="4045057"/>
            <a:ext cx="82539" cy="863477"/>
          </a:xfrm>
          <a:custGeom>
            <a:avLst/>
            <a:gdLst>
              <a:gd name="T0" fmla="*/ 52 w 52"/>
              <a:gd name="T1" fmla="*/ 544 h 544"/>
              <a:gd name="T2" fmla="*/ 26 w 52"/>
              <a:gd name="T3" fmla="*/ 0 h 544"/>
              <a:gd name="T4" fmla="*/ 0 w 52"/>
              <a:gd name="T5" fmla="*/ 544 h 544"/>
              <a:gd name="T6" fmla="*/ 52 w 52"/>
              <a:gd name="T7" fmla="*/ 544 h 544"/>
            </a:gdLst>
            <a:ahLst/>
            <a:cxnLst>
              <a:cxn ang="0">
                <a:pos x="T0" y="T1"/>
              </a:cxn>
              <a:cxn ang="0">
                <a:pos x="T2" y="T3"/>
              </a:cxn>
              <a:cxn ang="0">
                <a:pos x="T4" y="T5"/>
              </a:cxn>
              <a:cxn ang="0">
                <a:pos x="T6" y="T7"/>
              </a:cxn>
            </a:cxnLst>
            <a:rect l="0" t="0" r="r" b="b"/>
            <a:pathLst>
              <a:path w="52" h="544">
                <a:moveTo>
                  <a:pt x="52" y="544"/>
                </a:moveTo>
                <a:lnTo>
                  <a:pt x="26" y="0"/>
                </a:lnTo>
                <a:lnTo>
                  <a:pt x="0" y="544"/>
                </a:lnTo>
                <a:lnTo>
                  <a:pt x="52" y="5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5" name="Rectangle 887"/>
          <p:cNvSpPr>
            <a:spLocks noChangeArrowheads="1"/>
          </p:cNvSpPr>
          <p:nvPr/>
        </p:nvSpPr>
        <p:spPr bwMode="auto">
          <a:xfrm>
            <a:off x="8213589" y="4784727"/>
            <a:ext cx="1111093"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6" name="Rectangle 888"/>
          <p:cNvSpPr>
            <a:spLocks noChangeArrowheads="1"/>
          </p:cNvSpPr>
          <p:nvPr/>
        </p:nvSpPr>
        <p:spPr bwMode="auto">
          <a:xfrm>
            <a:off x="8213589" y="4922820"/>
            <a:ext cx="1111093"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7" name="Rectangle 889"/>
          <p:cNvSpPr>
            <a:spLocks noChangeArrowheads="1"/>
          </p:cNvSpPr>
          <p:nvPr/>
        </p:nvSpPr>
        <p:spPr bwMode="auto">
          <a:xfrm>
            <a:off x="8213587" y="5135514"/>
            <a:ext cx="44445"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8" name="Rectangle 890"/>
          <p:cNvSpPr>
            <a:spLocks noChangeArrowheads="1"/>
          </p:cNvSpPr>
          <p:nvPr/>
        </p:nvSpPr>
        <p:spPr bwMode="auto">
          <a:xfrm>
            <a:off x="8288191" y="4799013"/>
            <a:ext cx="47618"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9" name="Rectangle 891"/>
          <p:cNvSpPr>
            <a:spLocks noChangeArrowheads="1"/>
          </p:cNvSpPr>
          <p:nvPr/>
        </p:nvSpPr>
        <p:spPr bwMode="auto">
          <a:xfrm>
            <a:off x="9200873" y="4799013"/>
            <a:ext cx="44445"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0" name="Rectangle 892"/>
          <p:cNvSpPr>
            <a:spLocks noChangeArrowheads="1"/>
          </p:cNvSpPr>
          <p:nvPr/>
        </p:nvSpPr>
        <p:spPr bwMode="auto">
          <a:xfrm>
            <a:off x="9277064" y="5135514"/>
            <a:ext cx="47618"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1" name="Rectangle 893"/>
          <p:cNvSpPr>
            <a:spLocks noChangeArrowheads="1"/>
          </p:cNvSpPr>
          <p:nvPr/>
        </p:nvSpPr>
        <p:spPr bwMode="auto">
          <a:xfrm>
            <a:off x="8213589" y="5121231"/>
            <a:ext cx="1111093" cy="9364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2" name="Rectangle 894"/>
          <p:cNvSpPr>
            <a:spLocks noChangeArrowheads="1"/>
          </p:cNvSpPr>
          <p:nvPr/>
        </p:nvSpPr>
        <p:spPr bwMode="auto">
          <a:xfrm>
            <a:off x="1310529" y="4784727"/>
            <a:ext cx="1112680"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3" name="Rectangle 895"/>
          <p:cNvSpPr>
            <a:spLocks noChangeArrowheads="1"/>
          </p:cNvSpPr>
          <p:nvPr/>
        </p:nvSpPr>
        <p:spPr bwMode="auto">
          <a:xfrm>
            <a:off x="1310529" y="4922820"/>
            <a:ext cx="1112680"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4" name="Rectangle 896"/>
          <p:cNvSpPr>
            <a:spLocks noChangeArrowheads="1"/>
          </p:cNvSpPr>
          <p:nvPr/>
        </p:nvSpPr>
        <p:spPr bwMode="auto">
          <a:xfrm>
            <a:off x="1310531" y="5135514"/>
            <a:ext cx="47618"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5" name="Rectangle 897"/>
          <p:cNvSpPr>
            <a:spLocks noChangeArrowheads="1"/>
          </p:cNvSpPr>
          <p:nvPr/>
        </p:nvSpPr>
        <p:spPr bwMode="auto">
          <a:xfrm>
            <a:off x="1389892" y="4799013"/>
            <a:ext cx="44445"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6" name="Rectangle 898"/>
          <p:cNvSpPr>
            <a:spLocks noChangeArrowheads="1"/>
          </p:cNvSpPr>
          <p:nvPr/>
        </p:nvSpPr>
        <p:spPr bwMode="auto">
          <a:xfrm>
            <a:off x="2299404" y="4799013"/>
            <a:ext cx="47618"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7" name="Rectangle 899"/>
          <p:cNvSpPr>
            <a:spLocks noChangeArrowheads="1"/>
          </p:cNvSpPr>
          <p:nvPr/>
        </p:nvSpPr>
        <p:spPr bwMode="auto">
          <a:xfrm>
            <a:off x="2378764" y="5135514"/>
            <a:ext cx="44445"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8" name="Rectangle 900"/>
          <p:cNvSpPr>
            <a:spLocks noChangeArrowheads="1"/>
          </p:cNvSpPr>
          <p:nvPr/>
        </p:nvSpPr>
        <p:spPr bwMode="auto">
          <a:xfrm>
            <a:off x="1310529" y="5121231"/>
            <a:ext cx="1112680" cy="9364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9" name="Oval 901"/>
          <p:cNvSpPr>
            <a:spLocks noChangeArrowheads="1"/>
          </p:cNvSpPr>
          <p:nvPr/>
        </p:nvSpPr>
        <p:spPr bwMode="auto">
          <a:xfrm>
            <a:off x="8151684" y="4310132"/>
            <a:ext cx="103173" cy="999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0" name="Freeform 902"/>
          <p:cNvSpPr>
            <a:spLocks noEditPoints="1"/>
          </p:cNvSpPr>
          <p:nvPr/>
        </p:nvSpPr>
        <p:spPr bwMode="auto">
          <a:xfrm>
            <a:off x="7992958" y="3979979"/>
            <a:ext cx="306344" cy="1434896"/>
          </a:xfrm>
          <a:custGeom>
            <a:avLst/>
            <a:gdLst>
              <a:gd name="T0" fmla="*/ 9 w 89"/>
              <a:gd name="T1" fmla="*/ 29 h 417"/>
              <a:gd name="T2" fmla="*/ 67 w 89"/>
              <a:gd name="T3" fmla="*/ 29 h 417"/>
              <a:gd name="T4" fmla="*/ 56 w 89"/>
              <a:gd name="T5" fmla="*/ 53 h 417"/>
              <a:gd name="T6" fmla="*/ 38 w 89"/>
              <a:gd name="T7" fmla="*/ 12 h 417"/>
              <a:gd name="T8" fmla="*/ 86 w 89"/>
              <a:gd name="T9" fmla="*/ 106 h 417"/>
              <a:gd name="T10" fmla="*/ 84 w 89"/>
              <a:gd name="T11" fmla="*/ 103 h 417"/>
              <a:gd name="T12" fmla="*/ 72 w 89"/>
              <a:gd name="T13" fmla="*/ 79 h 417"/>
              <a:gd name="T14" fmla="*/ 77 w 89"/>
              <a:gd name="T15" fmla="*/ 77 h 417"/>
              <a:gd name="T16" fmla="*/ 72 w 89"/>
              <a:gd name="T17" fmla="*/ 74 h 417"/>
              <a:gd name="T18" fmla="*/ 68 w 89"/>
              <a:gd name="T19" fmla="*/ 57 h 417"/>
              <a:gd name="T20" fmla="*/ 50 w 89"/>
              <a:gd name="T21" fmla="*/ 61 h 417"/>
              <a:gd name="T22" fmla="*/ 48 w 89"/>
              <a:gd name="T23" fmla="*/ 74 h 417"/>
              <a:gd name="T24" fmla="*/ 48 w 89"/>
              <a:gd name="T25" fmla="*/ 79 h 417"/>
              <a:gd name="T26" fmla="*/ 50 w 89"/>
              <a:gd name="T27" fmla="*/ 84 h 417"/>
              <a:gd name="T28" fmla="*/ 39 w 89"/>
              <a:gd name="T29" fmla="*/ 106 h 417"/>
              <a:gd name="T30" fmla="*/ 34 w 89"/>
              <a:gd name="T31" fmla="*/ 108 h 417"/>
              <a:gd name="T32" fmla="*/ 86 w 89"/>
              <a:gd name="T33" fmla="*/ 111 h 417"/>
              <a:gd name="T34" fmla="*/ 86 w 89"/>
              <a:gd name="T35" fmla="*/ 106 h 417"/>
              <a:gd name="T36" fmla="*/ 26 w 89"/>
              <a:gd name="T37" fmla="*/ 164 h 417"/>
              <a:gd name="T38" fmla="*/ 20 w 89"/>
              <a:gd name="T39" fmla="*/ 152 h 417"/>
              <a:gd name="T40" fmla="*/ 9 w 89"/>
              <a:gd name="T41" fmla="*/ 33 h 417"/>
              <a:gd name="T42" fmla="*/ 3 w 89"/>
              <a:gd name="T43" fmla="*/ 162 h 417"/>
              <a:gd name="T44" fmla="*/ 1 w 89"/>
              <a:gd name="T45" fmla="*/ 164 h 417"/>
              <a:gd name="T46" fmla="*/ 0 w 89"/>
              <a:gd name="T47" fmla="*/ 165 h 417"/>
              <a:gd name="T48" fmla="*/ 1 w 89"/>
              <a:gd name="T49" fmla="*/ 166 h 417"/>
              <a:gd name="T50" fmla="*/ 2 w 89"/>
              <a:gd name="T51" fmla="*/ 168 h 417"/>
              <a:gd name="T52" fmla="*/ 9 w 89"/>
              <a:gd name="T53" fmla="*/ 347 h 417"/>
              <a:gd name="T54" fmla="*/ 0 w 89"/>
              <a:gd name="T55" fmla="*/ 417 h 417"/>
              <a:gd name="T56" fmla="*/ 20 w 89"/>
              <a:gd name="T57" fmla="*/ 417 h 417"/>
              <a:gd name="T58" fmla="*/ 29 w 89"/>
              <a:gd name="T59" fmla="*/ 347 h 417"/>
              <a:gd name="T60" fmla="*/ 20 w 89"/>
              <a:gd name="T61" fmla="*/ 177 h 417"/>
              <a:gd name="T62" fmla="*/ 26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0"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8" y="12"/>
                  <a:pt x="20" y="20"/>
                  <a:pt x="20" y="29"/>
                </a:cubicBezTo>
                <a:close/>
                <a:moveTo>
                  <a:pt x="86" y="106"/>
                </a:moveTo>
                <a:cubicBezTo>
                  <a:pt x="84" y="106"/>
                  <a:pt x="84" y="106"/>
                  <a:pt x="84" y="106"/>
                </a:cubicBezTo>
                <a:cubicBezTo>
                  <a:pt x="84" y="103"/>
                  <a:pt x="84" y="103"/>
                  <a:pt x="84" y="103"/>
                </a:cubicBezTo>
                <a:cubicBezTo>
                  <a:pt x="77" y="100"/>
                  <a:pt x="72" y="93"/>
                  <a:pt x="72" y="84"/>
                </a:cubicBezTo>
                <a:cubicBezTo>
                  <a:pt x="72" y="79"/>
                  <a:pt x="72" y="79"/>
                  <a:pt x="72" y="79"/>
                </a:cubicBezTo>
                <a:cubicBezTo>
                  <a:pt x="75" y="79"/>
                  <a:pt x="75" y="79"/>
                  <a:pt x="75" y="79"/>
                </a:cubicBezTo>
                <a:cubicBezTo>
                  <a:pt x="76" y="79"/>
                  <a:pt x="77" y="78"/>
                  <a:pt x="77" y="77"/>
                </a:cubicBezTo>
                <a:cubicBezTo>
                  <a:pt x="77" y="75"/>
                  <a:pt x="76" y="74"/>
                  <a:pt x="75" y="74"/>
                </a:cubicBezTo>
                <a:cubicBezTo>
                  <a:pt x="72" y="74"/>
                  <a:pt x="72" y="74"/>
                  <a:pt x="72" y="74"/>
                </a:cubicBezTo>
                <a:cubicBezTo>
                  <a:pt x="72" y="61"/>
                  <a:pt x="72" y="61"/>
                  <a:pt x="72" y="61"/>
                </a:cubicBezTo>
                <a:cubicBezTo>
                  <a:pt x="72" y="59"/>
                  <a:pt x="70" y="57"/>
                  <a:pt x="68" y="57"/>
                </a:cubicBezTo>
                <a:cubicBezTo>
                  <a:pt x="54" y="57"/>
                  <a:pt x="54" y="57"/>
                  <a:pt x="54" y="57"/>
                </a:cubicBezTo>
                <a:cubicBezTo>
                  <a:pt x="52" y="57"/>
                  <a:pt x="50" y="59"/>
                  <a:pt x="50" y="61"/>
                </a:cubicBezTo>
                <a:cubicBezTo>
                  <a:pt x="50" y="74"/>
                  <a:pt x="50" y="74"/>
                  <a:pt x="50" y="74"/>
                </a:cubicBezTo>
                <a:cubicBezTo>
                  <a:pt x="48" y="74"/>
                  <a:pt x="48" y="74"/>
                  <a:pt x="48" y="74"/>
                </a:cubicBezTo>
                <a:cubicBezTo>
                  <a:pt x="46" y="74"/>
                  <a:pt x="45" y="75"/>
                  <a:pt x="45" y="77"/>
                </a:cubicBezTo>
                <a:cubicBezTo>
                  <a:pt x="45" y="78"/>
                  <a:pt x="46" y="79"/>
                  <a:pt x="48" y="79"/>
                </a:cubicBezTo>
                <a:cubicBezTo>
                  <a:pt x="50" y="79"/>
                  <a:pt x="50" y="79"/>
                  <a:pt x="50" y="79"/>
                </a:cubicBezTo>
                <a:cubicBezTo>
                  <a:pt x="50" y="84"/>
                  <a:pt x="50" y="84"/>
                  <a:pt x="50" y="84"/>
                </a:cubicBezTo>
                <a:cubicBezTo>
                  <a:pt x="50" y="92"/>
                  <a:pt x="46" y="99"/>
                  <a:pt x="39" y="103"/>
                </a:cubicBezTo>
                <a:cubicBezTo>
                  <a:pt x="39" y="106"/>
                  <a:pt x="39" y="106"/>
                  <a:pt x="39" y="106"/>
                </a:cubicBezTo>
                <a:cubicBezTo>
                  <a:pt x="36" y="106"/>
                  <a:pt x="36" y="106"/>
                  <a:pt x="36" y="106"/>
                </a:cubicBezTo>
                <a:cubicBezTo>
                  <a:pt x="35" y="106"/>
                  <a:pt x="34" y="107"/>
                  <a:pt x="34" y="108"/>
                </a:cubicBezTo>
                <a:cubicBezTo>
                  <a:pt x="34" y="110"/>
                  <a:pt x="35" y="111"/>
                  <a:pt x="36" y="111"/>
                </a:cubicBezTo>
                <a:cubicBezTo>
                  <a:pt x="86" y="111"/>
                  <a:pt x="86" y="111"/>
                  <a:pt x="86" y="111"/>
                </a:cubicBezTo>
                <a:cubicBezTo>
                  <a:pt x="88" y="111"/>
                  <a:pt x="89" y="110"/>
                  <a:pt x="89" y="108"/>
                </a:cubicBezTo>
                <a:cubicBezTo>
                  <a:pt x="89" y="107"/>
                  <a:pt x="88" y="106"/>
                  <a:pt x="86" y="106"/>
                </a:cubicBezTo>
                <a:close/>
                <a:moveTo>
                  <a:pt x="27" y="164"/>
                </a:moveTo>
                <a:cubicBezTo>
                  <a:pt x="26" y="164"/>
                  <a:pt x="26" y="164"/>
                  <a:pt x="26" y="164"/>
                </a:cubicBezTo>
                <a:cubicBezTo>
                  <a:pt x="26" y="162"/>
                  <a:pt x="26" y="162"/>
                  <a:pt x="26" y="162"/>
                </a:cubicBezTo>
                <a:cubicBezTo>
                  <a:pt x="22" y="160"/>
                  <a:pt x="20" y="157"/>
                  <a:pt x="20" y="152"/>
                </a:cubicBezTo>
                <a:cubicBezTo>
                  <a:pt x="20" y="33"/>
                  <a:pt x="20" y="33"/>
                  <a:pt x="20" y="33"/>
                </a:cubicBezTo>
                <a:cubicBezTo>
                  <a:pt x="9" y="33"/>
                  <a:pt x="9" y="33"/>
                  <a:pt x="9" y="33"/>
                </a:cubicBezTo>
                <a:cubicBezTo>
                  <a:pt x="9" y="153"/>
                  <a:pt x="9" y="153"/>
                  <a:pt x="9" y="153"/>
                </a:cubicBezTo>
                <a:cubicBezTo>
                  <a:pt x="8" y="157"/>
                  <a:pt x="6" y="160"/>
                  <a:pt x="3" y="162"/>
                </a:cubicBezTo>
                <a:cubicBezTo>
                  <a:pt x="3" y="164"/>
                  <a:pt x="3" y="164"/>
                  <a:pt x="3" y="164"/>
                </a:cubicBezTo>
                <a:cubicBezTo>
                  <a:pt x="1" y="164"/>
                  <a:pt x="1" y="164"/>
                  <a:pt x="1" y="164"/>
                </a:cubicBezTo>
                <a:cubicBezTo>
                  <a:pt x="0" y="164"/>
                  <a:pt x="0" y="164"/>
                  <a:pt x="0" y="165"/>
                </a:cubicBezTo>
                <a:cubicBezTo>
                  <a:pt x="0" y="165"/>
                  <a:pt x="0" y="165"/>
                  <a:pt x="0" y="165"/>
                </a:cubicBezTo>
                <a:cubicBezTo>
                  <a:pt x="0" y="165"/>
                  <a:pt x="0" y="165"/>
                  <a:pt x="0" y="165"/>
                </a:cubicBezTo>
                <a:cubicBezTo>
                  <a:pt x="0" y="166"/>
                  <a:pt x="0" y="166"/>
                  <a:pt x="1" y="166"/>
                </a:cubicBezTo>
                <a:cubicBezTo>
                  <a:pt x="2" y="166"/>
                  <a:pt x="2" y="166"/>
                  <a:pt x="2" y="166"/>
                </a:cubicBezTo>
                <a:cubicBezTo>
                  <a:pt x="2" y="168"/>
                  <a:pt x="2" y="168"/>
                  <a:pt x="2" y="168"/>
                </a:cubicBezTo>
                <a:cubicBezTo>
                  <a:pt x="6" y="169"/>
                  <a:pt x="8"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0" y="417"/>
                  <a:pt x="20" y="417"/>
                  <a:pt x="20" y="417"/>
                </a:cubicBezTo>
                <a:cubicBezTo>
                  <a:pt x="29" y="417"/>
                  <a:pt x="29" y="417"/>
                  <a:pt x="29" y="417"/>
                </a:cubicBezTo>
                <a:cubicBezTo>
                  <a:pt x="29" y="347"/>
                  <a:pt x="29" y="347"/>
                  <a:pt x="29" y="347"/>
                </a:cubicBezTo>
                <a:cubicBezTo>
                  <a:pt x="20" y="347"/>
                  <a:pt x="20" y="347"/>
                  <a:pt x="20" y="347"/>
                </a:cubicBezTo>
                <a:cubicBezTo>
                  <a:pt x="20" y="177"/>
                  <a:pt x="20" y="177"/>
                  <a:pt x="20" y="177"/>
                </a:cubicBezTo>
                <a:cubicBezTo>
                  <a:pt x="20" y="173"/>
                  <a:pt x="22" y="170"/>
                  <a:pt x="26" y="168"/>
                </a:cubicBezTo>
                <a:cubicBezTo>
                  <a:pt x="26" y="166"/>
                  <a:pt x="26" y="166"/>
                  <a:pt x="26" y="166"/>
                </a:cubicBezTo>
                <a:cubicBezTo>
                  <a:pt x="27" y="166"/>
                  <a:pt x="27" y="166"/>
                  <a:pt x="27" y="166"/>
                </a:cubicBezTo>
                <a:cubicBezTo>
                  <a:pt x="28" y="166"/>
                  <a:pt x="29" y="166"/>
                  <a:pt x="29" y="165"/>
                </a:cubicBezTo>
                <a:cubicBezTo>
                  <a:pt x="29" y="165"/>
                  <a:pt x="29" y="165"/>
                  <a:pt x="29" y="165"/>
                </a:cubicBezTo>
                <a:cubicBezTo>
                  <a:pt x="29" y="165"/>
                  <a:pt x="29" y="165"/>
                  <a:pt x="29" y="165"/>
                </a:cubicBezTo>
                <a:cubicBezTo>
                  <a:pt x="29" y="164"/>
                  <a:pt x="28" y="164"/>
                  <a:pt x="27"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1" name="Oval 903"/>
          <p:cNvSpPr>
            <a:spLocks noChangeArrowheads="1"/>
          </p:cNvSpPr>
          <p:nvPr/>
        </p:nvSpPr>
        <p:spPr bwMode="auto">
          <a:xfrm>
            <a:off x="1169263" y="4310132"/>
            <a:ext cx="99999" cy="999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2" name="Freeform 904"/>
          <p:cNvSpPr>
            <a:spLocks noEditPoints="1"/>
          </p:cNvSpPr>
          <p:nvPr/>
        </p:nvSpPr>
        <p:spPr bwMode="auto">
          <a:xfrm>
            <a:off x="1008947" y="3979979"/>
            <a:ext cx="304757" cy="1434896"/>
          </a:xfrm>
          <a:custGeom>
            <a:avLst/>
            <a:gdLst>
              <a:gd name="T0" fmla="*/ 9 w 89"/>
              <a:gd name="T1" fmla="*/ 29 h 417"/>
              <a:gd name="T2" fmla="*/ 67 w 89"/>
              <a:gd name="T3" fmla="*/ 29 h 417"/>
              <a:gd name="T4" fmla="*/ 56 w 89"/>
              <a:gd name="T5" fmla="*/ 53 h 417"/>
              <a:gd name="T6" fmla="*/ 38 w 89"/>
              <a:gd name="T7" fmla="*/ 12 h 417"/>
              <a:gd name="T8" fmla="*/ 87 w 89"/>
              <a:gd name="T9" fmla="*/ 106 h 417"/>
              <a:gd name="T10" fmla="*/ 85 w 89"/>
              <a:gd name="T11" fmla="*/ 103 h 417"/>
              <a:gd name="T12" fmla="*/ 73 w 89"/>
              <a:gd name="T13" fmla="*/ 79 h 417"/>
              <a:gd name="T14" fmla="*/ 78 w 89"/>
              <a:gd name="T15" fmla="*/ 77 h 417"/>
              <a:gd name="T16" fmla="*/ 73 w 89"/>
              <a:gd name="T17" fmla="*/ 74 h 417"/>
              <a:gd name="T18" fmla="*/ 69 w 89"/>
              <a:gd name="T19" fmla="*/ 57 h 417"/>
              <a:gd name="T20" fmla="*/ 51 w 89"/>
              <a:gd name="T21" fmla="*/ 61 h 417"/>
              <a:gd name="T22" fmla="*/ 48 w 89"/>
              <a:gd name="T23" fmla="*/ 74 h 417"/>
              <a:gd name="T24" fmla="*/ 48 w 89"/>
              <a:gd name="T25" fmla="*/ 79 h 417"/>
              <a:gd name="T26" fmla="*/ 51 w 89"/>
              <a:gd name="T27" fmla="*/ 84 h 417"/>
              <a:gd name="T28" fmla="*/ 40 w 89"/>
              <a:gd name="T29" fmla="*/ 106 h 417"/>
              <a:gd name="T30" fmla="*/ 34 w 89"/>
              <a:gd name="T31" fmla="*/ 108 h 417"/>
              <a:gd name="T32" fmla="*/ 87 w 89"/>
              <a:gd name="T33" fmla="*/ 111 h 417"/>
              <a:gd name="T34" fmla="*/ 87 w 89"/>
              <a:gd name="T35" fmla="*/ 106 h 417"/>
              <a:gd name="T36" fmla="*/ 27 w 89"/>
              <a:gd name="T37" fmla="*/ 164 h 417"/>
              <a:gd name="T38" fmla="*/ 21 w 89"/>
              <a:gd name="T39" fmla="*/ 152 h 417"/>
              <a:gd name="T40" fmla="*/ 9 w 89"/>
              <a:gd name="T41" fmla="*/ 33 h 417"/>
              <a:gd name="T42" fmla="*/ 3 w 89"/>
              <a:gd name="T43" fmla="*/ 162 h 417"/>
              <a:gd name="T44" fmla="*/ 2 w 89"/>
              <a:gd name="T45" fmla="*/ 164 h 417"/>
              <a:gd name="T46" fmla="*/ 1 w 89"/>
              <a:gd name="T47" fmla="*/ 165 h 417"/>
              <a:gd name="T48" fmla="*/ 2 w 89"/>
              <a:gd name="T49" fmla="*/ 166 h 417"/>
              <a:gd name="T50" fmla="*/ 3 w 89"/>
              <a:gd name="T51" fmla="*/ 168 h 417"/>
              <a:gd name="T52" fmla="*/ 9 w 89"/>
              <a:gd name="T53" fmla="*/ 347 h 417"/>
              <a:gd name="T54" fmla="*/ 0 w 89"/>
              <a:gd name="T55" fmla="*/ 417 h 417"/>
              <a:gd name="T56" fmla="*/ 21 w 89"/>
              <a:gd name="T57" fmla="*/ 417 h 417"/>
              <a:gd name="T58" fmla="*/ 29 w 89"/>
              <a:gd name="T59" fmla="*/ 347 h 417"/>
              <a:gd name="T60" fmla="*/ 21 w 89"/>
              <a:gd name="T61" fmla="*/ 177 h 417"/>
              <a:gd name="T62" fmla="*/ 27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1"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9" y="12"/>
                  <a:pt x="21" y="20"/>
                  <a:pt x="21" y="29"/>
                </a:cubicBezTo>
                <a:close/>
                <a:moveTo>
                  <a:pt x="87" y="106"/>
                </a:moveTo>
                <a:cubicBezTo>
                  <a:pt x="85" y="106"/>
                  <a:pt x="85" y="106"/>
                  <a:pt x="85" y="106"/>
                </a:cubicBezTo>
                <a:cubicBezTo>
                  <a:pt x="85" y="103"/>
                  <a:pt x="85" y="103"/>
                  <a:pt x="85" y="103"/>
                </a:cubicBezTo>
                <a:cubicBezTo>
                  <a:pt x="77" y="100"/>
                  <a:pt x="73" y="93"/>
                  <a:pt x="73" y="84"/>
                </a:cubicBezTo>
                <a:cubicBezTo>
                  <a:pt x="73" y="79"/>
                  <a:pt x="73" y="79"/>
                  <a:pt x="73" y="79"/>
                </a:cubicBezTo>
                <a:cubicBezTo>
                  <a:pt x="75" y="79"/>
                  <a:pt x="75" y="79"/>
                  <a:pt x="75" y="79"/>
                </a:cubicBezTo>
                <a:cubicBezTo>
                  <a:pt x="77" y="79"/>
                  <a:pt x="78" y="78"/>
                  <a:pt x="78" y="77"/>
                </a:cubicBezTo>
                <a:cubicBezTo>
                  <a:pt x="78" y="75"/>
                  <a:pt x="77" y="74"/>
                  <a:pt x="75" y="74"/>
                </a:cubicBezTo>
                <a:cubicBezTo>
                  <a:pt x="73" y="74"/>
                  <a:pt x="73" y="74"/>
                  <a:pt x="73" y="74"/>
                </a:cubicBezTo>
                <a:cubicBezTo>
                  <a:pt x="73" y="61"/>
                  <a:pt x="73" y="61"/>
                  <a:pt x="73" y="61"/>
                </a:cubicBezTo>
                <a:cubicBezTo>
                  <a:pt x="73" y="59"/>
                  <a:pt x="71" y="57"/>
                  <a:pt x="69" y="57"/>
                </a:cubicBezTo>
                <a:cubicBezTo>
                  <a:pt x="55" y="57"/>
                  <a:pt x="55" y="57"/>
                  <a:pt x="55" y="57"/>
                </a:cubicBezTo>
                <a:cubicBezTo>
                  <a:pt x="53" y="57"/>
                  <a:pt x="51" y="59"/>
                  <a:pt x="51" y="61"/>
                </a:cubicBezTo>
                <a:cubicBezTo>
                  <a:pt x="51" y="74"/>
                  <a:pt x="51" y="74"/>
                  <a:pt x="51" y="74"/>
                </a:cubicBezTo>
                <a:cubicBezTo>
                  <a:pt x="48" y="74"/>
                  <a:pt x="48" y="74"/>
                  <a:pt x="48" y="74"/>
                </a:cubicBezTo>
                <a:cubicBezTo>
                  <a:pt x="47" y="74"/>
                  <a:pt x="46" y="75"/>
                  <a:pt x="46" y="77"/>
                </a:cubicBezTo>
                <a:cubicBezTo>
                  <a:pt x="46" y="78"/>
                  <a:pt x="47" y="79"/>
                  <a:pt x="48" y="79"/>
                </a:cubicBezTo>
                <a:cubicBezTo>
                  <a:pt x="51" y="79"/>
                  <a:pt x="51" y="79"/>
                  <a:pt x="51" y="79"/>
                </a:cubicBezTo>
                <a:cubicBezTo>
                  <a:pt x="51" y="84"/>
                  <a:pt x="51" y="84"/>
                  <a:pt x="51" y="84"/>
                </a:cubicBezTo>
                <a:cubicBezTo>
                  <a:pt x="51" y="92"/>
                  <a:pt x="46" y="99"/>
                  <a:pt x="40" y="103"/>
                </a:cubicBezTo>
                <a:cubicBezTo>
                  <a:pt x="40" y="106"/>
                  <a:pt x="40" y="106"/>
                  <a:pt x="40" y="106"/>
                </a:cubicBezTo>
                <a:cubicBezTo>
                  <a:pt x="37" y="106"/>
                  <a:pt x="37" y="106"/>
                  <a:pt x="37" y="106"/>
                </a:cubicBezTo>
                <a:cubicBezTo>
                  <a:pt x="35" y="106"/>
                  <a:pt x="34" y="107"/>
                  <a:pt x="34" y="108"/>
                </a:cubicBezTo>
                <a:cubicBezTo>
                  <a:pt x="34" y="110"/>
                  <a:pt x="35" y="111"/>
                  <a:pt x="37" y="111"/>
                </a:cubicBezTo>
                <a:cubicBezTo>
                  <a:pt x="87" y="111"/>
                  <a:pt x="87" y="111"/>
                  <a:pt x="87" y="111"/>
                </a:cubicBezTo>
                <a:cubicBezTo>
                  <a:pt x="88" y="111"/>
                  <a:pt x="89" y="110"/>
                  <a:pt x="89" y="108"/>
                </a:cubicBezTo>
                <a:cubicBezTo>
                  <a:pt x="89" y="107"/>
                  <a:pt x="88" y="106"/>
                  <a:pt x="87" y="106"/>
                </a:cubicBezTo>
                <a:close/>
                <a:moveTo>
                  <a:pt x="28" y="164"/>
                </a:moveTo>
                <a:cubicBezTo>
                  <a:pt x="27" y="164"/>
                  <a:pt x="27" y="164"/>
                  <a:pt x="27" y="164"/>
                </a:cubicBezTo>
                <a:cubicBezTo>
                  <a:pt x="27" y="162"/>
                  <a:pt x="27" y="162"/>
                  <a:pt x="27" y="162"/>
                </a:cubicBezTo>
                <a:cubicBezTo>
                  <a:pt x="23" y="160"/>
                  <a:pt x="21" y="157"/>
                  <a:pt x="21" y="152"/>
                </a:cubicBezTo>
                <a:cubicBezTo>
                  <a:pt x="21" y="33"/>
                  <a:pt x="21" y="33"/>
                  <a:pt x="21" y="33"/>
                </a:cubicBezTo>
                <a:cubicBezTo>
                  <a:pt x="9" y="33"/>
                  <a:pt x="9" y="33"/>
                  <a:pt x="9" y="33"/>
                </a:cubicBezTo>
                <a:cubicBezTo>
                  <a:pt x="9" y="153"/>
                  <a:pt x="9" y="153"/>
                  <a:pt x="9" y="153"/>
                </a:cubicBezTo>
                <a:cubicBezTo>
                  <a:pt x="9" y="157"/>
                  <a:pt x="7" y="160"/>
                  <a:pt x="3" y="162"/>
                </a:cubicBezTo>
                <a:cubicBezTo>
                  <a:pt x="3" y="164"/>
                  <a:pt x="3" y="164"/>
                  <a:pt x="3" y="164"/>
                </a:cubicBezTo>
                <a:cubicBezTo>
                  <a:pt x="2" y="164"/>
                  <a:pt x="2" y="164"/>
                  <a:pt x="2" y="164"/>
                </a:cubicBezTo>
                <a:cubicBezTo>
                  <a:pt x="1" y="164"/>
                  <a:pt x="0" y="164"/>
                  <a:pt x="0" y="165"/>
                </a:cubicBezTo>
                <a:cubicBezTo>
                  <a:pt x="1" y="165"/>
                  <a:pt x="1" y="165"/>
                  <a:pt x="1" y="165"/>
                </a:cubicBezTo>
                <a:cubicBezTo>
                  <a:pt x="0" y="165"/>
                  <a:pt x="0" y="165"/>
                  <a:pt x="0" y="165"/>
                </a:cubicBezTo>
                <a:cubicBezTo>
                  <a:pt x="0" y="166"/>
                  <a:pt x="1" y="166"/>
                  <a:pt x="2" y="166"/>
                </a:cubicBezTo>
                <a:cubicBezTo>
                  <a:pt x="3" y="166"/>
                  <a:pt x="3" y="166"/>
                  <a:pt x="3" y="166"/>
                </a:cubicBezTo>
                <a:cubicBezTo>
                  <a:pt x="3" y="168"/>
                  <a:pt x="3" y="168"/>
                  <a:pt x="3" y="168"/>
                </a:cubicBezTo>
                <a:cubicBezTo>
                  <a:pt x="7" y="169"/>
                  <a:pt x="9"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1" y="417"/>
                  <a:pt x="21" y="417"/>
                  <a:pt x="21" y="417"/>
                </a:cubicBezTo>
                <a:cubicBezTo>
                  <a:pt x="29" y="417"/>
                  <a:pt x="29" y="417"/>
                  <a:pt x="29" y="417"/>
                </a:cubicBezTo>
                <a:cubicBezTo>
                  <a:pt x="29" y="347"/>
                  <a:pt x="29" y="347"/>
                  <a:pt x="29" y="347"/>
                </a:cubicBezTo>
                <a:cubicBezTo>
                  <a:pt x="21" y="347"/>
                  <a:pt x="21" y="347"/>
                  <a:pt x="21" y="347"/>
                </a:cubicBezTo>
                <a:cubicBezTo>
                  <a:pt x="21" y="177"/>
                  <a:pt x="21" y="177"/>
                  <a:pt x="21" y="177"/>
                </a:cubicBezTo>
                <a:cubicBezTo>
                  <a:pt x="21" y="173"/>
                  <a:pt x="23" y="170"/>
                  <a:pt x="27" y="168"/>
                </a:cubicBezTo>
                <a:cubicBezTo>
                  <a:pt x="27" y="166"/>
                  <a:pt x="27" y="166"/>
                  <a:pt x="27" y="166"/>
                </a:cubicBezTo>
                <a:cubicBezTo>
                  <a:pt x="28" y="166"/>
                  <a:pt x="28" y="166"/>
                  <a:pt x="28" y="166"/>
                </a:cubicBezTo>
                <a:cubicBezTo>
                  <a:pt x="29" y="166"/>
                  <a:pt x="29" y="166"/>
                  <a:pt x="29" y="165"/>
                </a:cubicBezTo>
                <a:cubicBezTo>
                  <a:pt x="29" y="165"/>
                  <a:pt x="29" y="165"/>
                  <a:pt x="29" y="165"/>
                </a:cubicBezTo>
                <a:cubicBezTo>
                  <a:pt x="29" y="165"/>
                  <a:pt x="29" y="165"/>
                  <a:pt x="29" y="165"/>
                </a:cubicBezTo>
                <a:cubicBezTo>
                  <a:pt x="29" y="164"/>
                  <a:pt x="29" y="164"/>
                  <a:pt x="28"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3" name="Freeform 905"/>
          <p:cNvSpPr>
            <a:spLocks/>
          </p:cNvSpPr>
          <p:nvPr/>
        </p:nvSpPr>
        <p:spPr bwMode="auto">
          <a:xfrm>
            <a:off x="2648603" y="5167261"/>
            <a:ext cx="271424" cy="236504"/>
          </a:xfrm>
          <a:custGeom>
            <a:avLst/>
            <a:gdLst>
              <a:gd name="T0" fmla="*/ 79 w 79"/>
              <a:gd name="T1" fmla="*/ 69 h 69"/>
              <a:gd name="T2" fmla="*/ 79 w 79"/>
              <a:gd name="T3" fmla="*/ 38 h 69"/>
              <a:gd name="T4" fmla="*/ 41 w 79"/>
              <a:gd name="T5" fmla="*/ 0 h 69"/>
              <a:gd name="T6" fmla="*/ 38 w 79"/>
              <a:gd name="T7" fmla="*/ 0 h 69"/>
              <a:gd name="T8" fmla="*/ 0 w 79"/>
              <a:gd name="T9" fmla="*/ 38 h 69"/>
              <a:gd name="T10" fmla="*/ 0 w 79"/>
              <a:gd name="T11" fmla="*/ 69 h 69"/>
              <a:gd name="T12" fmla="*/ 79 w 79"/>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79" h="69">
                <a:moveTo>
                  <a:pt x="79" y="69"/>
                </a:moveTo>
                <a:cubicBezTo>
                  <a:pt x="79" y="38"/>
                  <a:pt x="79" y="38"/>
                  <a:pt x="79" y="38"/>
                </a:cubicBezTo>
                <a:cubicBezTo>
                  <a:pt x="79" y="17"/>
                  <a:pt x="62" y="0"/>
                  <a:pt x="41" y="0"/>
                </a:cubicBezTo>
                <a:cubicBezTo>
                  <a:pt x="38" y="0"/>
                  <a:pt x="38" y="0"/>
                  <a:pt x="38" y="0"/>
                </a:cubicBezTo>
                <a:cubicBezTo>
                  <a:pt x="17" y="0"/>
                  <a:pt x="0" y="17"/>
                  <a:pt x="0" y="38"/>
                </a:cubicBezTo>
                <a:cubicBezTo>
                  <a:pt x="0" y="69"/>
                  <a:pt x="0" y="69"/>
                  <a:pt x="0" y="69"/>
                </a:cubicBezTo>
                <a:lnTo>
                  <a:pt x="79" y="6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4" name="Freeform 906"/>
          <p:cNvSpPr>
            <a:spLocks/>
          </p:cNvSpPr>
          <p:nvPr/>
        </p:nvSpPr>
        <p:spPr bwMode="auto">
          <a:xfrm>
            <a:off x="2786695" y="5265670"/>
            <a:ext cx="268250" cy="138092"/>
          </a:xfrm>
          <a:custGeom>
            <a:avLst/>
            <a:gdLst>
              <a:gd name="T0" fmla="*/ 78 w 78"/>
              <a:gd name="T1" fmla="*/ 40 h 40"/>
              <a:gd name="T2" fmla="*/ 78 w 78"/>
              <a:gd name="T3" fmla="*/ 38 h 40"/>
              <a:gd name="T4" fmla="*/ 40 w 78"/>
              <a:gd name="T5" fmla="*/ 0 h 40"/>
              <a:gd name="T6" fmla="*/ 38 w 78"/>
              <a:gd name="T7" fmla="*/ 0 h 40"/>
              <a:gd name="T8" fmla="*/ 0 w 78"/>
              <a:gd name="T9" fmla="*/ 38 h 40"/>
              <a:gd name="T10" fmla="*/ 0 w 78"/>
              <a:gd name="T11" fmla="*/ 40 h 40"/>
              <a:gd name="T12" fmla="*/ 78 w 7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8" h="40">
                <a:moveTo>
                  <a:pt x="78" y="40"/>
                </a:moveTo>
                <a:cubicBezTo>
                  <a:pt x="78" y="38"/>
                  <a:pt x="78" y="38"/>
                  <a:pt x="78" y="38"/>
                </a:cubicBezTo>
                <a:cubicBezTo>
                  <a:pt x="78" y="17"/>
                  <a:pt x="61" y="0"/>
                  <a:pt x="40" y="0"/>
                </a:cubicBezTo>
                <a:cubicBezTo>
                  <a:pt x="38" y="0"/>
                  <a:pt x="38" y="0"/>
                  <a:pt x="38" y="0"/>
                </a:cubicBezTo>
                <a:cubicBezTo>
                  <a:pt x="17" y="0"/>
                  <a:pt x="0" y="17"/>
                  <a:pt x="0" y="38"/>
                </a:cubicBezTo>
                <a:cubicBezTo>
                  <a:pt x="0" y="40"/>
                  <a:pt x="0" y="40"/>
                  <a:pt x="0" y="40"/>
                </a:cubicBezTo>
                <a:lnTo>
                  <a:pt x="78"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5" name="Freeform 907"/>
          <p:cNvSpPr>
            <a:spLocks/>
          </p:cNvSpPr>
          <p:nvPr/>
        </p:nvSpPr>
        <p:spPr bwMode="auto">
          <a:xfrm>
            <a:off x="2453366" y="5327575"/>
            <a:ext cx="147618" cy="76189"/>
          </a:xfrm>
          <a:custGeom>
            <a:avLst/>
            <a:gdLst>
              <a:gd name="T0" fmla="*/ 43 w 43"/>
              <a:gd name="T1" fmla="*/ 22 h 22"/>
              <a:gd name="T2" fmla="*/ 43 w 43"/>
              <a:gd name="T3" fmla="*/ 21 h 22"/>
              <a:gd name="T4" fmla="*/ 22 w 43"/>
              <a:gd name="T5" fmla="*/ 0 h 22"/>
              <a:gd name="T6" fmla="*/ 21 w 43"/>
              <a:gd name="T7" fmla="*/ 0 h 22"/>
              <a:gd name="T8" fmla="*/ 0 w 43"/>
              <a:gd name="T9" fmla="*/ 21 h 22"/>
              <a:gd name="T10" fmla="*/ 0 w 43"/>
              <a:gd name="T11" fmla="*/ 22 h 22"/>
              <a:gd name="T12" fmla="*/ 43 w 4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43" y="22"/>
                </a:moveTo>
                <a:cubicBezTo>
                  <a:pt x="43" y="21"/>
                  <a:pt x="43" y="21"/>
                  <a:pt x="43" y="21"/>
                </a:cubicBezTo>
                <a:cubicBezTo>
                  <a:pt x="43" y="9"/>
                  <a:pt x="34" y="0"/>
                  <a:pt x="22" y="0"/>
                </a:cubicBezTo>
                <a:cubicBezTo>
                  <a:pt x="21" y="0"/>
                  <a:pt x="21" y="0"/>
                  <a:pt x="21" y="0"/>
                </a:cubicBezTo>
                <a:cubicBezTo>
                  <a:pt x="9" y="0"/>
                  <a:pt x="0" y="9"/>
                  <a:pt x="0" y="21"/>
                </a:cubicBezTo>
                <a:cubicBezTo>
                  <a:pt x="0" y="22"/>
                  <a:pt x="0" y="22"/>
                  <a:pt x="0" y="22"/>
                </a:cubicBezTo>
                <a:lnTo>
                  <a:pt x="43" y="2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6" name="Freeform 908"/>
          <p:cNvSpPr>
            <a:spLocks/>
          </p:cNvSpPr>
          <p:nvPr/>
        </p:nvSpPr>
        <p:spPr bwMode="auto">
          <a:xfrm>
            <a:off x="2154960" y="4749807"/>
            <a:ext cx="82539" cy="17460"/>
          </a:xfrm>
          <a:custGeom>
            <a:avLst/>
            <a:gdLst>
              <a:gd name="T0" fmla="*/ 0 w 24"/>
              <a:gd name="T1" fmla="*/ 0 h 5"/>
              <a:gd name="T2" fmla="*/ 14 w 24"/>
              <a:gd name="T3" fmla="*/ 5 h 5"/>
              <a:gd name="T4" fmla="*/ 24 w 24"/>
              <a:gd name="T5" fmla="*/ 3 h 5"/>
              <a:gd name="T6" fmla="*/ 18 w 24"/>
              <a:gd name="T7" fmla="*/ 0 h 5"/>
              <a:gd name="T8" fmla="*/ 0 w 24"/>
              <a:gd name="T9" fmla="*/ 0 h 5"/>
            </a:gdLst>
            <a:ahLst/>
            <a:cxnLst>
              <a:cxn ang="0">
                <a:pos x="T0" y="T1"/>
              </a:cxn>
              <a:cxn ang="0">
                <a:pos x="T2" y="T3"/>
              </a:cxn>
              <a:cxn ang="0">
                <a:pos x="T4" y="T5"/>
              </a:cxn>
              <a:cxn ang="0">
                <a:pos x="T6" y="T7"/>
              </a:cxn>
              <a:cxn ang="0">
                <a:pos x="T8" y="T9"/>
              </a:cxn>
            </a:cxnLst>
            <a:rect l="0" t="0" r="r" b="b"/>
            <a:pathLst>
              <a:path w="24" h="5">
                <a:moveTo>
                  <a:pt x="0" y="0"/>
                </a:moveTo>
                <a:cubicBezTo>
                  <a:pt x="4" y="3"/>
                  <a:pt x="9" y="5"/>
                  <a:pt x="14" y="5"/>
                </a:cubicBezTo>
                <a:cubicBezTo>
                  <a:pt x="18" y="5"/>
                  <a:pt x="21" y="4"/>
                  <a:pt x="24" y="3"/>
                </a:cubicBezTo>
                <a:cubicBezTo>
                  <a:pt x="18" y="1"/>
                  <a:pt x="18" y="0"/>
                  <a:pt x="18" y="0"/>
                </a:cubicBezTo>
                <a:lnTo>
                  <a:pt x="0"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7" name="Freeform 909"/>
          <p:cNvSpPr>
            <a:spLocks/>
          </p:cNvSpPr>
          <p:nvPr/>
        </p:nvSpPr>
        <p:spPr bwMode="auto">
          <a:xfrm>
            <a:off x="2267657" y="4754570"/>
            <a:ext cx="28571" cy="26983"/>
          </a:xfrm>
          <a:custGeom>
            <a:avLst/>
            <a:gdLst>
              <a:gd name="T0" fmla="*/ 0 w 18"/>
              <a:gd name="T1" fmla="*/ 2 h 17"/>
              <a:gd name="T2" fmla="*/ 16 w 18"/>
              <a:gd name="T3" fmla="*/ 17 h 17"/>
              <a:gd name="T4" fmla="*/ 18 w 18"/>
              <a:gd name="T5" fmla="*/ 17 h 17"/>
              <a:gd name="T6" fmla="*/ 18 w 18"/>
              <a:gd name="T7" fmla="*/ 15 h 17"/>
              <a:gd name="T8" fmla="*/ 3 w 18"/>
              <a:gd name="T9" fmla="*/ 0 h 17"/>
              <a:gd name="T10" fmla="*/ 0 w 18"/>
              <a:gd name="T11" fmla="*/ 0 h 17"/>
              <a:gd name="T12" fmla="*/ 0 w 18"/>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0" y="2"/>
                </a:moveTo>
                <a:lnTo>
                  <a:pt x="16" y="17"/>
                </a:lnTo>
                <a:lnTo>
                  <a:pt x="18" y="17"/>
                </a:lnTo>
                <a:lnTo>
                  <a:pt x="18" y="15"/>
                </a:lnTo>
                <a:lnTo>
                  <a:pt x="3"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8" name="Freeform 910"/>
          <p:cNvSpPr>
            <a:spLocks/>
          </p:cNvSpPr>
          <p:nvPr/>
        </p:nvSpPr>
        <p:spPr bwMode="auto">
          <a:xfrm>
            <a:off x="2267657" y="4754570"/>
            <a:ext cx="28571" cy="26983"/>
          </a:xfrm>
          <a:custGeom>
            <a:avLst/>
            <a:gdLst>
              <a:gd name="T0" fmla="*/ 0 w 18"/>
              <a:gd name="T1" fmla="*/ 2 h 17"/>
              <a:gd name="T2" fmla="*/ 16 w 18"/>
              <a:gd name="T3" fmla="*/ 17 h 17"/>
              <a:gd name="T4" fmla="*/ 18 w 18"/>
              <a:gd name="T5" fmla="*/ 17 h 17"/>
              <a:gd name="T6" fmla="*/ 18 w 18"/>
              <a:gd name="T7" fmla="*/ 15 h 17"/>
              <a:gd name="T8" fmla="*/ 3 w 18"/>
              <a:gd name="T9" fmla="*/ 0 h 17"/>
              <a:gd name="T10" fmla="*/ 0 w 18"/>
              <a:gd name="T11" fmla="*/ 0 h 17"/>
              <a:gd name="T12" fmla="*/ 0 w 18"/>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0" y="2"/>
                </a:moveTo>
                <a:lnTo>
                  <a:pt x="16" y="17"/>
                </a:lnTo>
                <a:lnTo>
                  <a:pt x="18" y="17"/>
                </a:lnTo>
                <a:lnTo>
                  <a:pt x="18" y="15"/>
                </a:lnTo>
                <a:lnTo>
                  <a:pt x="3"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9" name="Freeform 911"/>
          <p:cNvSpPr>
            <a:spLocks/>
          </p:cNvSpPr>
          <p:nvPr/>
        </p:nvSpPr>
        <p:spPr bwMode="auto">
          <a:xfrm>
            <a:off x="2281942" y="4754570"/>
            <a:ext cx="26984" cy="26983"/>
          </a:xfrm>
          <a:custGeom>
            <a:avLst/>
            <a:gdLst>
              <a:gd name="T0" fmla="*/ 0 w 17"/>
              <a:gd name="T1" fmla="*/ 2 h 17"/>
              <a:gd name="T2" fmla="*/ 15 w 17"/>
              <a:gd name="T3" fmla="*/ 17 h 17"/>
              <a:gd name="T4" fmla="*/ 17 w 17"/>
              <a:gd name="T5" fmla="*/ 17 h 17"/>
              <a:gd name="T6" fmla="*/ 17 w 17"/>
              <a:gd name="T7" fmla="*/ 15 h 17"/>
              <a:gd name="T8" fmla="*/ 2 w 17"/>
              <a:gd name="T9" fmla="*/ 0 h 17"/>
              <a:gd name="T10" fmla="*/ 0 w 17"/>
              <a:gd name="T11" fmla="*/ 0 h 17"/>
              <a:gd name="T12" fmla="*/ 0 w 17"/>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0" y="2"/>
                </a:moveTo>
                <a:lnTo>
                  <a:pt x="15" y="17"/>
                </a:lnTo>
                <a:lnTo>
                  <a:pt x="17" y="17"/>
                </a:lnTo>
                <a:lnTo>
                  <a:pt x="17" y="15"/>
                </a:lnTo>
                <a:lnTo>
                  <a:pt x="2"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0" name="Freeform 912"/>
          <p:cNvSpPr>
            <a:spLocks/>
          </p:cNvSpPr>
          <p:nvPr/>
        </p:nvSpPr>
        <p:spPr bwMode="auto">
          <a:xfrm>
            <a:off x="2281942" y="4754570"/>
            <a:ext cx="26984" cy="26983"/>
          </a:xfrm>
          <a:custGeom>
            <a:avLst/>
            <a:gdLst>
              <a:gd name="T0" fmla="*/ 0 w 17"/>
              <a:gd name="T1" fmla="*/ 2 h 17"/>
              <a:gd name="T2" fmla="*/ 15 w 17"/>
              <a:gd name="T3" fmla="*/ 17 h 17"/>
              <a:gd name="T4" fmla="*/ 17 w 17"/>
              <a:gd name="T5" fmla="*/ 17 h 17"/>
              <a:gd name="T6" fmla="*/ 17 w 17"/>
              <a:gd name="T7" fmla="*/ 15 h 17"/>
              <a:gd name="T8" fmla="*/ 2 w 17"/>
              <a:gd name="T9" fmla="*/ 0 h 17"/>
              <a:gd name="T10" fmla="*/ 0 w 17"/>
              <a:gd name="T11" fmla="*/ 0 h 17"/>
              <a:gd name="T12" fmla="*/ 0 w 17"/>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0" y="2"/>
                </a:moveTo>
                <a:lnTo>
                  <a:pt x="15" y="17"/>
                </a:lnTo>
                <a:lnTo>
                  <a:pt x="17" y="17"/>
                </a:lnTo>
                <a:lnTo>
                  <a:pt x="17" y="15"/>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1" name="Freeform 913"/>
          <p:cNvSpPr>
            <a:spLocks/>
          </p:cNvSpPr>
          <p:nvPr/>
        </p:nvSpPr>
        <p:spPr bwMode="auto">
          <a:xfrm>
            <a:off x="2281941" y="4778378"/>
            <a:ext cx="23810"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6" y="2"/>
                  <a:pt x="6" y="2"/>
                </a:cubicBezTo>
                <a:cubicBezTo>
                  <a:pt x="7" y="2"/>
                  <a:pt x="7" y="2"/>
                  <a:pt x="7" y="2"/>
                </a:cubicBezTo>
                <a:cubicBezTo>
                  <a:pt x="7" y="2"/>
                  <a:pt x="7" y="2"/>
                  <a:pt x="7" y="2"/>
                </a:cubicBezTo>
                <a:cubicBezTo>
                  <a:pt x="6" y="1"/>
                  <a:pt x="5" y="0"/>
                  <a:pt x="4" y="0"/>
                </a:cubicBezTo>
                <a:cubicBezTo>
                  <a:pt x="3"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2" name="Freeform 914"/>
          <p:cNvSpPr>
            <a:spLocks/>
          </p:cNvSpPr>
          <p:nvPr/>
        </p:nvSpPr>
        <p:spPr bwMode="auto">
          <a:xfrm>
            <a:off x="2296228" y="4778378"/>
            <a:ext cx="23810"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5" y="2"/>
                  <a:pt x="6" y="2"/>
                </a:cubicBezTo>
                <a:cubicBezTo>
                  <a:pt x="7" y="2"/>
                  <a:pt x="7" y="2"/>
                  <a:pt x="7" y="2"/>
                </a:cubicBezTo>
                <a:cubicBezTo>
                  <a:pt x="7" y="2"/>
                  <a:pt x="7" y="2"/>
                  <a:pt x="7" y="2"/>
                </a:cubicBezTo>
                <a:cubicBezTo>
                  <a:pt x="6" y="1"/>
                  <a:pt x="5" y="0"/>
                  <a:pt x="4" y="0"/>
                </a:cubicBezTo>
                <a:cubicBezTo>
                  <a:pt x="2"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3" name="Freeform 915"/>
          <p:cNvSpPr>
            <a:spLocks/>
          </p:cNvSpPr>
          <p:nvPr/>
        </p:nvSpPr>
        <p:spPr bwMode="auto">
          <a:xfrm>
            <a:off x="2216865" y="4633935"/>
            <a:ext cx="123807" cy="126982"/>
          </a:xfrm>
          <a:custGeom>
            <a:avLst/>
            <a:gdLst>
              <a:gd name="T0" fmla="*/ 22 w 36"/>
              <a:gd name="T1" fmla="*/ 0 h 37"/>
              <a:gd name="T2" fmla="*/ 22 w 36"/>
              <a:gd name="T3" fmla="*/ 2 h 37"/>
              <a:gd name="T4" fmla="*/ 21 w 36"/>
              <a:gd name="T5" fmla="*/ 2 h 37"/>
              <a:gd name="T6" fmla="*/ 22 w 36"/>
              <a:gd name="T7" fmla="*/ 5 h 37"/>
              <a:gd name="T8" fmla="*/ 22 w 36"/>
              <a:gd name="T9" fmla="*/ 10 h 37"/>
              <a:gd name="T10" fmla="*/ 22 w 36"/>
              <a:gd name="T11" fmla="*/ 10 h 37"/>
              <a:gd name="T12" fmla="*/ 23 w 36"/>
              <a:gd name="T13" fmla="*/ 10 h 37"/>
              <a:gd name="T14" fmla="*/ 21 w 36"/>
              <a:gd name="T15" fmla="*/ 32 h 37"/>
              <a:gd name="T16" fmla="*/ 9 w 36"/>
              <a:gd name="T17" fmla="*/ 36 h 37"/>
              <a:gd name="T18" fmla="*/ 0 w 36"/>
              <a:gd name="T19" fmla="*/ 34 h 37"/>
              <a:gd name="T20" fmla="*/ 2 w 36"/>
              <a:gd name="T21" fmla="*/ 37 h 37"/>
              <a:gd name="T22" fmla="*/ 15 w 36"/>
              <a:gd name="T23" fmla="*/ 37 h 37"/>
              <a:gd name="T24" fmla="*/ 28 w 36"/>
              <a:gd name="T25" fmla="*/ 24 h 37"/>
              <a:gd name="T26" fmla="*/ 28 w 36"/>
              <a:gd name="T27" fmla="*/ 15 h 37"/>
              <a:gd name="T28" fmla="*/ 32 w 36"/>
              <a:gd name="T29" fmla="*/ 12 h 37"/>
              <a:gd name="T30" fmla="*/ 36 w 36"/>
              <a:gd name="T31" fmla="*/ 10 h 37"/>
              <a:gd name="T32" fmla="*/ 22 w 36"/>
              <a:gd name="T3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7">
                <a:moveTo>
                  <a:pt x="22" y="0"/>
                </a:moveTo>
                <a:cubicBezTo>
                  <a:pt x="22" y="2"/>
                  <a:pt x="22" y="2"/>
                  <a:pt x="22" y="2"/>
                </a:cubicBezTo>
                <a:cubicBezTo>
                  <a:pt x="21" y="2"/>
                  <a:pt x="21" y="2"/>
                  <a:pt x="21" y="2"/>
                </a:cubicBezTo>
                <a:cubicBezTo>
                  <a:pt x="22" y="5"/>
                  <a:pt x="22" y="5"/>
                  <a:pt x="22" y="5"/>
                </a:cubicBezTo>
                <a:cubicBezTo>
                  <a:pt x="22" y="10"/>
                  <a:pt x="22" y="10"/>
                  <a:pt x="22" y="10"/>
                </a:cubicBezTo>
                <a:cubicBezTo>
                  <a:pt x="22" y="10"/>
                  <a:pt x="22" y="10"/>
                  <a:pt x="22" y="10"/>
                </a:cubicBezTo>
                <a:cubicBezTo>
                  <a:pt x="23" y="10"/>
                  <a:pt x="23" y="10"/>
                  <a:pt x="23" y="10"/>
                </a:cubicBezTo>
                <a:cubicBezTo>
                  <a:pt x="27" y="17"/>
                  <a:pt x="26" y="26"/>
                  <a:pt x="21" y="32"/>
                </a:cubicBezTo>
                <a:cubicBezTo>
                  <a:pt x="18" y="35"/>
                  <a:pt x="13" y="36"/>
                  <a:pt x="9" y="36"/>
                </a:cubicBezTo>
                <a:cubicBezTo>
                  <a:pt x="6" y="36"/>
                  <a:pt x="3" y="36"/>
                  <a:pt x="0" y="34"/>
                </a:cubicBezTo>
                <a:cubicBezTo>
                  <a:pt x="2" y="37"/>
                  <a:pt x="2" y="37"/>
                  <a:pt x="2" y="37"/>
                </a:cubicBezTo>
                <a:cubicBezTo>
                  <a:pt x="15" y="37"/>
                  <a:pt x="15" y="37"/>
                  <a:pt x="15" y="37"/>
                </a:cubicBezTo>
                <a:cubicBezTo>
                  <a:pt x="22" y="37"/>
                  <a:pt x="28" y="31"/>
                  <a:pt x="28" y="24"/>
                </a:cubicBezTo>
                <a:cubicBezTo>
                  <a:pt x="28" y="15"/>
                  <a:pt x="28" y="15"/>
                  <a:pt x="28" y="15"/>
                </a:cubicBezTo>
                <a:cubicBezTo>
                  <a:pt x="30" y="15"/>
                  <a:pt x="31" y="14"/>
                  <a:pt x="32" y="12"/>
                </a:cubicBezTo>
                <a:cubicBezTo>
                  <a:pt x="36" y="10"/>
                  <a:pt x="36" y="10"/>
                  <a:pt x="36" y="10"/>
                </a:cubicBezTo>
                <a:lnTo>
                  <a:pt x="22"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4" name="Freeform 916"/>
          <p:cNvSpPr>
            <a:spLocks/>
          </p:cNvSpPr>
          <p:nvPr/>
        </p:nvSpPr>
        <p:spPr bwMode="auto">
          <a:xfrm>
            <a:off x="2216864" y="4672031"/>
            <a:ext cx="88888" cy="85713"/>
          </a:xfrm>
          <a:custGeom>
            <a:avLst/>
            <a:gdLst>
              <a:gd name="T0" fmla="*/ 9 w 26"/>
              <a:gd name="T1" fmla="*/ 25 h 25"/>
              <a:gd name="T2" fmla="*/ 20 w 26"/>
              <a:gd name="T3" fmla="*/ 20 h 25"/>
              <a:gd name="T4" fmla="*/ 22 w 26"/>
              <a:gd name="T5" fmla="*/ 0 h 25"/>
              <a:gd name="T6" fmla="*/ 0 w 26"/>
              <a:gd name="T7" fmla="*/ 22 h 25"/>
              <a:gd name="T8" fmla="*/ 9 w 26"/>
              <a:gd name="T9" fmla="*/ 25 h 25"/>
            </a:gdLst>
            <a:ahLst/>
            <a:cxnLst>
              <a:cxn ang="0">
                <a:pos x="T0" y="T1"/>
              </a:cxn>
              <a:cxn ang="0">
                <a:pos x="T2" y="T3"/>
              </a:cxn>
              <a:cxn ang="0">
                <a:pos x="T4" y="T5"/>
              </a:cxn>
              <a:cxn ang="0">
                <a:pos x="T6" y="T7"/>
              </a:cxn>
              <a:cxn ang="0">
                <a:pos x="T8" y="T9"/>
              </a:cxn>
            </a:cxnLst>
            <a:rect l="0" t="0" r="r" b="b"/>
            <a:pathLst>
              <a:path w="26" h="25">
                <a:moveTo>
                  <a:pt x="9" y="25"/>
                </a:moveTo>
                <a:cubicBezTo>
                  <a:pt x="13" y="25"/>
                  <a:pt x="17" y="23"/>
                  <a:pt x="20" y="20"/>
                </a:cubicBezTo>
                <a:cubicBezTo>
                  <a:pt x="26" y="15"/>
                  <a:pt x="26" y="6"/>
                  <a:pt x="22" y="0"/>
                </a:cubicBezTo>
                <a:cubicBezTo>
                  <a:pt x="0" y="22"/>
                  <a:pt x="0" y="22"/>
                  <a:pt x="0" y="22"/>
                </a:cubicBezTo>
                <a:cubicBezTo>
                  <a:pt x="3" y="24"/>
                  <a:pt x="6" y="25"/>
                  <a:pt x="9" y="25"/>
                </a:cubicBez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5" name="Oval 917"/>
          <p:cNvSpPr>
            <a:spLocks noChangeArrowheads="1"/>
          </p:cNvSpPr>
          <p:nvPr/>
        </p:nvSpPr>
        <p:spPr bwMode="auto">
          <a:xfrm>
            <a:off x="2313687" y="4664095"/>
            <a:ext cx="6350" cy="7936"/>
          </a:xfrm>
          <a:prstGeom prst="ellipse">
            <a:avLst/>
          </a:pr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6" name="Freeform 918"/>
          <p:cNvSpPr>
            <a:spLocks/>
          </p:cNvSpPr>
          <p:nvPr/>
        </p:nvSpPr>
        <p:spPr bwMode="auto">
          <a:xfrm>
            <a:off x="2281942" y="4754568"/>
            <a:ext cx="11112" cy="9524"/>
          </a:xfrm>
          <a:custGeom>
            <a:avLst/>
            <a:gdLst>
              <a:gd name="T0" fmla="*/ 7 w 7"/>
              <a:gd name="T1" fmla="*/ 0 h 6"/>
              <a:gd name="T2" fmla="*/ 7 w 7"/>
              <a:gd name="T3" fmla="*/ 6 h 6"/>
              <a:gd name="T4" fmla="*/ 0 w 7"/>
              <a:gd name="T5" fmla="*/ 0 h 6"/>
              <a:gd name="T6" fmla="*/ 7 w 7"/>
              <a:gd name="T7" fmla="*/ 0 h 6"/>
            </a:gdLst>
            <a:ahLst/>
            <a:cxnLst>
              <a:cxn ang="0">
                <a:pos x="T0" y="T1"/>
              </a:cxn>
              <a:cxn ang="0">
                <a:pos x="T2" y="T3"/>
              </a:cxn>
              <a:cxn ang="0">
                <a:pos x="T4" y="T5"/>
              </a:cxn>
              <a:cxn ang="0">
                <a:pos x="T6" y="T7"/>
              </a:cxn>
            </a:cxnLst>
            <a:rect l="0" t="0" r="r" b="b"/>
            <a:pathLst>
              <a:path w="7" h="6">
                <a:moveTo>
                  <a:pt x="7" y="0"/>
                </a:moveTo>
                <a:lnTo>
                  <a:pt x="7" y="6"/>
                </a:lnTo>
                <a:lnTo>
                  <a:pt x="0" y="0"/>
                </a:lnTo>
                <a:lnTo>
                  <a:pt x="7"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7" name="Freeform 919"/>
          <p:cNvSpPr>
            <a:spLocks/>
          </p:cNvSpPr>
          <p:nvPr/>
        </p:nvSpPr>
        <p:spPr bwMode="auto">
          <a:xfrm>
            <a:off x="2267658" y="4754569"/>
            <a:ext cx="11112" cy="12698"/>
          </a:xfrm>
          <a:custGeom>
            <a:avLst/>
            <a:gdLst>
              <a:gd name="T0" fmla="*/ 7 w 7"/>
              <a:gd name="T1" fmla="*/ 0 h 8"/>
              <a:gd name="T2" fmla="*/ 7 w 7"/>
              <a:gd name="T3" fmla="*/ 8 h 8"/>
              <a:gd name="T4" fmla="*/ 0 w 7"/>
              <a:gd name="T5" fmla="*/ 2 h 8"/>
              <a:gd name="T6" fmla="*/ 7 w 7"/>
              <a:gd name="T7" fmla="*/ 0 h 8"/>
            </a:gdLst>
            <a:ahLst/>
            <a:cxnLst>
              <a:cxn ang="0">
                <a:pos x="T0" y="T1"/>
              </a:cxn>
              <a:cxn ang="0">
                <a:pos x="T2" y="T3"/>
              </a:cxn>
              <a:cxn ang="0">
                <a:pos x="T4" y="T5"/>
              </a:cxn>
              <a:cxn ang="0">
                <a:pos x="T6" y="T7"/>
              </a:cxn>
            </a:cxnLst>
            <a:rect l="0" t="0" r="r" b="b"/>
            <a:pathLst>
              <a:path w="7" h="8">
                <a:moveTo>
                  <a:pt x="7" y="0"/>
                </a:moveTo>
                <a:lnTo>
                  <a:pt x="7" y="8"/>
                </a:lnTo>
                <a:lnTo>
                  <a:pt x="0" y="2"/>
                </a:lnTo>
                <a:lnTo>
                  <a:pt x="7"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2" name="AutoShape 921"/>
          <p:cNvSpPr>
            <a:spLocks noChangeAspect="1" noChangeArrowheads="1" noTextEdit="1"/>
          </p:cNvSpPr>
          <p:nvPr/>
        </p:nvSpPr>
        <p:spPr bwMode="auto">
          <a:xfrm>
            <a:off x="-26119" y="5389284"/>
            <a:ext cx="12461695" cy="161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3" name="Rectangle 923"/>
          <p:cNvSpPr>
            <a:spLocks noChangeArrowheads="1"/>
          </p:cNvSpPr>
          <p:nvPr/>
        </p:nvSpPr>
        <p:spPr bwMode="auto">
          <a:xfrm>
            <a:off x="-21355" y="5414681"/>
            <a:ext cx="12461695" cy="1593625"/>
          </a:xfrm>
          <a:prstGeom prst="rect">
            <a:avLst/>
          </a:prstGeom>
          <a:solidFill>
            <a:srgbClr val="5E5E5E"/>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4" name="Rectangle 924"/>
          <p:cNvSpPr>
            <a:spLocks noChangeArrowheads="1"/>
          </p:cNvSpPr>
          <p:nvPr/>
        </p:nvSpPr>
        <p:spPr bwMode="auto">
          <a:xfrm>
            <a:off x="-21355" y="5394047"/>
            <a:ext cx="12461695" cy="44445"/>
          </a:xfrm>
          <a:prstGeom prst="rect">
            <a:avLst/>
          </a:prstGeom>
          <a:solidFill>
            <a:schemeClr val="tx1"/>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451" name="Group 450"/>
          <p:cNvGrpSpPr/>
          <p:nvPr/>
        </p:nvGrpSpPr>
        <p:grpSpPr>
          <a:xfrm>
            <a:off x="2383527" y="4581213"/>
            <a:ext cx="641147" cy="2004873"/>
            <a:chOff x="5700713" y="1539875"/>
            <a:chExt cx="787400" cy="2462213"/>
          </a:xfrm>
        </p:grpSpPr>
        <p:sp>
          <p:nvSpPr>
            <p:cNvPr id="154" name="Rectangle 89"/>
            <p:cNvSpPr>
              <a:spLocks noChangeArrowheads="1"/>
            </p:cNvSpPr>
            <p:nvPr/>
          </p:nvSpPr>
          <p:spPr bwMode="auto">
            <a:xfrm>
              <a:off x="5929313" y="1965325"/>
              <a:ext cx="338137" cy="2016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5" name="Freeform 90"/>
            <p:cNvSpPr>
              <a:spLocks/>
            </p:cNvSpPr>
            <p:nvPr/>
          </p:nvSpPr>
          <p:spPr bwMode="auto">
            <a:xfrm>
              <a:off x="5891213" y="1768475"/>
              <a:ext cx="412750" cy="85725"/>
            </a:xfrm>
            <a:custGeom>
              <a:avLst/>
              <a:gdLst>
                <a:gd name="T0" fmla="*/ 166 w 166"/>
                <a:gd name="T1" fmla="*/ 27 h 35"/>
                <a:gd name="T2" fmla="*/ 158 w 166"/>
                <a:gd name="T3" fmla="*/ 35 h 35"/>
                <a:gd name="T4" fmla="*/ 8 w 166"/>
                <a:gd name="T5" fmla="*/ 35 h 35"/>
                <a:gd name="T6" fmla="*/ 0 w 166"/>
                <a:gd name="T7" fmla="*/ 27 h 35"/>
                <a:gd name="T8" fmla="*/ 0 w 166"/>
                <a:gd name="T9" fmla="*/ 9 h 35"/>
                <a:gd name="T10" fmla="*/ 8 w 166"/>
                <a:gd name="T11" fmla="*/ 0 h 35"/>
                <a:gd name="T12" fmla="*/ 158 w 166"/>
                <a:gd name="T13" fmla="*/ 0 h 35"/>
                <a:gd name="T14" fmla="*/ 166 w 166"/>
                <a:gd name="T15" fmla="*/ 9 h 35"/>
                <a:gd name="T16" fmla="*/ 166 w 1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5">
                  <a:moveTo>
                    <a:pt x="166" y="27"/>
                  </a:moveTo>
                  <a:cubicBezTo>
                    <a:pt x="166" y="32"/>
                    <a:pt x="162" y="35"/>
                    <a:pt x="158" y="35"/>
                  </a:cubicBezTo>
                  <a:cubicBezTo>
                    <a:pt x="8" y="35"/>
                    <a:pt x="8" y="35"/>
                    <a:pt x="8" y="35"/>
                  </a:cubicBezTo>
                  <a:cubicBezTo>
                    <a:pt x="3" y="35"/>
                    <a:pt x="0" y="32"/>
                    <a:pt x="0" y="27"/>
                  </a:cubicBezTo>
                  <a:cubicBezTo>
                    <a:pt x="0" y="9"/>
                    <a:pt x="0" y="9"/>
                    <a:pt x="0" y="9"/>
                  </a:cubicBezTo>
                  <a:cubicBezTo>
                    <a:pt x="0" y="4"/>
                    <a:pt x="3" y="0"/>
                    <a:pt x="8" y="0"/>
                  </a:cubicBezTo>
                  <a:cubicBezTo>
                    <a:pt x="158" y="0"/>
                    <a:pt x="158" y="0"/>
                    <a:pt x="158" y="0"/>
                  </a:cubicBezTo>
                  <a:cubicBezTo>
                    <a:pt x="162" y="0"/>
                    <a:pt x="166" y="4"/>
                    <a:pt x="166" y="9"/>
                  </a:cubicBezTo>
                  <a:lnTo>
                    <a:pt x="166" y="27"/>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6" name="Rectangle 91"/>
            <p:cNvSpPr>
              <a:spLocks noChangeArrowheads="1"/>
            </p:cNvSpPr>
            <p:nvPr/>
          </p:nvSpPr>
          <p:spPr bwMode="auto">
            <a:xfrm>
              <a:off x="5886450" y="2089150"/>
              <a:ext cx="417512" cy="17938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7" name="Rectangle 92"/>
            <p:cNvSpPr>
              <a:spLocks noChangeArrowheads="1"/>
            </p:cNvSpPr>
            <p:nvPr/>
          </p:nvSpPr>
          <p:spPr bwMode="auto">
            <a:xfrm>
              <a:off x="5868988" y="2898775"/>
              <a:ext cx="455612" cy="147638"/>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8" name="Rectangle 93"/>
            <p:cNvSpPr>
              <a:spLocks noChangeArrowheads="1"/>
            </p:cNvSpPr>
            <p:nvPr/>
          </p:nvSpPr>
          <p:spPr bwMode="auto">
            <a:xfrm>
              <a:off x="5868988" y="2898775"/>
              <a:ext cx="117475" cy="97790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9" name="Freeform 94"/>
            <p:cNvSpPr>
              <a:spLocks/>
            </p:cNvSpPr>
            <p:nvPr/>
          </p:nvSpPr>
          <p:spPr bwMode="auto">
            <a:xfrm>
              <a:off x="5715000" y="3860800"/>
              <a:ext cx="273050" cy="141288"/>
            </a:xfrm>
            <a:custGeom>
              <a:avLst/>
              <a:gdLst>
                <a:gd name="T0" fmla="*/ 62 w 110"/>
                <a:gd name="T1" fmla="*/ 0 h 57"/>
                <a:gd name="T2" fmla="*/ 0 w 110"/>
                <a:gd name="T3" fmla="*/ 57 h 57"/>
                <a:gd name="T4" fmla="*/ 62 w 110"/>
                <a:gd name="T5" fmla="*/ 57 h 57"/>
                <a:gd name="T6" fmla="*/ 110 w 110"/>
                <a:gd name="T7" fmla="*/ 57 h 57"/>
                <a:gd name="T8" fmla="*/ 110 w 110"/>
                <a:gd name="T9" fmla="*/ 0 h 57"/>
                <a:gd name="T10" fmla="*/ 62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62" y="0"/>
                  </a:moveTo>
                  <a:cubicBezTo>
                    <a:pt x="30" y="0"/>
                    <a:pt x="3" y="25"/>
                    <a:pt x="0" y="57"/>
                  </a:cubicBezTo>
                  <a:cubicBezTo>
                    <a:pt x="62" y="57"/>
                    <a:pt x="62" y="57"/>
                    <a:pt x="62" y="57"/>
                  </a:cubicBezTo>
                  <a:cubicBezTo>
                    <a:pt x="110" y="57"/>
                    <a:pt x="110" y="57"/>
                    <a:pt x="110" y="57"/>
                  </a:cubicBezTo>
                  <a:cubicBezTo>
                    <a:pt x="110" y="0"/>
                    <a:pt x="110" y="0"/>
                    <a:pt x="110" y="0"/>
                  </a:cubicBez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0" name="Rectangle 95"/>
            <p:cNvSpPr>
              <a:spLocks noChangeArrowheads="1"/>
            </p:cNvSpPr>
            <p:nvPr/>
          </p:nvSpPr>
          <p:spPr bwMode="auto">
            <a:xfrm>
              <a:off x="6210300" y="2898775"/>
              <a:ext cx="115887" cy="97790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1" name="Rectangle 96"/>
            <p:cNvSpPr>
              <a:spLocks noChangeArrowheads="1"/>
            </p:cNvSpPr>
            <p:nvPr/>
          </p:nvSpPr>
          <p:spPr bwMode="auto">
            <a:xfrm>
              <a:off x="6346825" y="2392363"/>
              <a:ext cx="122237" cy="7239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2" name="Freeform 97"/>
            <p:cNvSpPr>
              <a:spLocks/>
            </p:cNvSpPr>
            <p:nvPr/>
          </p:nvSpPr>
          <p:spPr bwMode="auto">
            <a:xfrm>
              <a:off x="6346825" y="2992438"/>
              <a:ext cx="123825" cy="246063"/>
            </a:xfrm>
            <a:custGeom>
              <a:avLst/>
              <a:gdLst>
                <a:gd name="T0" fmla="*/ 0 w 50"/>
                <a:gd name="T1" fmla="*/ 0 h 100"/>
                <a:gd name="T2" fmla="*/ 0 w 50"/>
                <a:gd name="T3" fmla="*/ 100 h 100"/>
                <a:gd name="T4" fmla="*/ 50 w 50"/>
                <a:gd name="T5" fmla="*/ 50 h 100"/>
                <a:gd name="T6" fmla="*/ 0 w 50"/>
                <a:gd name="T7" fmla="*/ 0 h 100"/>
              </a:gdLst>
              <a:ahLst/>
              <a:cxnLst>
                <a:cxn ang="0">
                  <a:pos x="T0" y="T1"/>
                </a:cxn>
                <a:cxn ang="0">
                  <a:pos x="T2" y="T3"/>
                </a:cxn>
                <a:cxn ang="0">
                  <a:pos x="T4" y="T5"/>
                </a:cxn>
                <a:cxn ang="0">
                  <a:pos x="T6" y="T7"/>
                </a:cxn>
              </a:cxnLst>
              <a:rect l="0" t="0" r="r" b="b"/>
              <a:pathLst>
                <a:path w="50" h="100">
                  <a:moveTo>
                    <a:pt x="0" y="0"/>
                  </a:moveTo>
                  <a:cubicBezTo>
                    <a:pt x="0" y="100"/>
                    <a:pt x="0" y="100"/>
                    <a:pt x="0" y="100"/>
                  </a:cubicBezTo>
                  <a:cubicBezTo>
                    <a:pt x="28" y="100"/>
                    <a:pt x="50" y="78"/>
                    <a:pt x="50" y="50"/>
                  </a:cubicBezTo>
                  <a:cubicBezTo>
                    <a:pt x="50" y="23"/>
                    <a:pt x="28"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3" name="Rectangle 98"/>
            <p:cNvSpPr>
              <a:spLocks noChangeArrowheads="1"/>
            </p:cNvSpPr>
            <p:nvPr/>
          </p:nvSpPr>
          <p:spPr bwMode="auto">
            <a:xfrm>
              <a:off x="5727700" y="2392363"/>
              <a:ext cx="122237" cy="7239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4" name="Freeform 99"/>
            <p:cNvSpPr>
              <a:spLocks/>
            </p:cNvSpPr>
            <p:nvPr/>
          </p:nvSpPr>
          <p:spPr bwMode="auto">
            <a:xfrm>
              <a:off x="5724525" y="2992438"/>
              <a:ext cx="125412" cy="246063"/>
            </a:xfrm>
            <a:custGeom>
              <a:avLst/>
              <a:gdLst>
                <a:gd name="T0" fmla="*/ 50 w 50"/>
                <a:gd name="T1" fmla="*/ 0 h 100"/>
                <a:gd name="T2" fmla="*/ 50 w 50"/>
                <a:gd name="T3" fmla="*/ 100 h 100"/>
                <a:gd name="T4" fmla="*/ 0 w 50"/>
                <a:gd name="T5" fmla="*/ 50 h 100"/>
                <a:gd name="T6" fmla="*/ 50 w 50"/>
                <a:gd name="T7" fmla="*/ 0 h 100"/>
              </a:gdLst>
              <a:ahLst/>
              <a:cxnLst>
                <a:cxn ang="0">
                  <a:pos x="T0" y="T1"/>
                </a:cxn>
                <a:cxn ang="0">
                  <a:pos x="T2" y="T3"/>
                </a:cxn>
                <a:cxn ang="0">
                  <a:pos x="T4" y="T5"/>
                </a:cxn>
                <a:cxn ang="0">
                  <a:pos x="T6" y="T7"/>
                </a:cxn>
              </a:cxnLst>
              <a:rect l="0" t="0" r="r" b="b"/>
              <a:pathLst>
                <a:path w="50" h="100">
                  <a:moveTo>
                    <a:pt x="50" y="0"/>
                  </a:moveTo>
                  <a:cubicBezTo>
                    <a:pt x="50" y="100"/>
                    <a:pt x="50" y="100"/>
                    <a:pt x="50" y="100"/>
                  </a:cubicBezTo>
                  <a:cubicBezTo>
                    <a:pt x="22" y="100"/>
                    <a:pt x="0" y="78"/>
                    <a:pt x="0" y="50"/>
                  </a:cubicBezTo>
                  <a:cubicBezTo>
                    <a:pt x="0" y="23"/>
                    <a:pt x="22" y="0"/>
                    <a:pt x="5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5" name="Freeform 100"/>
            <p:cNvSpPr>
              <a:spLocks/>
            </p:cNvSpPr>
            <p:nvPr/>
          </p:nvSpPr>
          <p:spPr bwMode="auto">
            <a:xfrm>
              <a:off x="6026150" y="1924050"/>
              <a:ext cx="144462" cy="233363"/>
            </a:xfrm>
            <a:custGeom>
              <a:avLst/>
              <a:gdLst>
                <a:gd name="T0" fmla="*/ 45 w 91"/>
                <a:gd name="T1" fmla="*/ 147 h 147"/>
                <a:gd name="T2" fmla="*/ 0 w 91"/>
                <a:gd name="T3" fmla="*/ 104 h 147"/>
                <a:gd name="T4" fmla="*/ 0 w 91"/>
                <a:gd name="T5" fmla="*/ 0 h 147"/>
                <a:gd name="T6" fmla="*/ 91 w 91"/>
                <a:gd name="T7" fmla="*/ 0 h 147"/>
                <a:gd name="T8" fmla="*/ 91 w 91"/>
                <a:gd name="T9" fmla="*/ 104 h 147"/>
                <a:gd name="T10" fmla="*/ 45 w 91"/>
                <a:gd name="T11" fmla="*/ 147 h 147"/>
              </a:gdLst>
              <a:ahLst/>
              <a:cxnLst>
                <a:cxn ang="0">
                  <a:pos x="T0" y="T1"/>
                </a:cxn>
                <a:cxn ang="0">
                  <a:pos x="T2" y="T3"/>
                </a:cxn>
                <a:cxn ang="0">
                  <a:pos x="T4" y="T5"/>
                </a:cxn>
                <a:cxn ang="0">
                  <a:pos x="T6" y="T7"/>
                </a:cxn>
                <a:cxn ang="0">
                  <a:pos x="T8" y="T9"/>
                </a:cxn>
                <a:cxn ang="0">
                  <a:pos x="T10" y="T11"/>
                </a:cxn>
              </a:cxnLst>
              <a:rect l="0" t="0" r="r" b="b"/>
              <a:pathLst>
                <a:path w="91" h="147">
                  <a:moveTo>
                    <a:pt x="45" y="147"/>
                  </a:moveTo>
                  <a:lnTo>
                    <a:pt x="0" y="104"/>
                  </a:lnTo>
                  <a:lnTo>
                    <a:pt x="0" y="0"/>
                  </a:lnTo>
                  <a:lnTo>
                    <a:pt x="91" y="0"/>
                  </a:lnTo>
                  <a:lnTo>
                    <a:pt x="91" y="104"/>
                  </a:lnTo>
                  <a:lnTo>
                    <a:pt x="45" y="147"/>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6" name="Freeform 101"/>
            <p:cNvSpPr>
              <a:spLocks/>
            </p:cNvSpPr>
            <p:nvPr/>
          </p:nvSpPr>
          <p:spPr bwMode="auto">
            <a:xfrm>
              <a:off x="6026150" y="1924050"/>
              <a:ext cx="144462" cy="122238"/>
            </a:xfrm>
            <a:custGeom>
              <a:avLst/>
              <a:gdLst>
                <a:gd name="T0" fmla="*/ 0 w 58"/>
                <a:gd name="T1" fmla="*/ 46 h 50"/>
                <a:gd name="T2" fmla="*/ 28 w 58"/>
                <a:gd name="T3" fmla="*/ 50 h 50"/>
                <a:gd name="T4" fmla="*/ 58 w 58"/>
                <a:gd name="T5" fmla="*/ 46 h 50"/>
                <a:gd name="T6" fmla="*/ 58 w 58"/>
                <a:gd name="T7" fmla="*/ 0 h 50"/>
                <a:gd name="T8" fmla="*/ 0 w 58"/>
                <a:gd name="T9" fmla="*/ 0 h 50"/>
                <a:gd name="T10" fmla="*/ 0 w 58"/>
                <a:gd name="T11" fmla="*/ 46 h 50"/>
              </a:gdLst>
              <a:ahLst/>
              <a:cxnLst>
                <a:cxn ang="0">
                  <a:pos x="T0" y="T1"/>
                </a:cxn>
                <a:cxn ang="0">
                  <a:pos x="T2" y="T3"/>
                </a:cxn>
                <a:cxn ang="0">
                  <a:pos x="T4" y="T5"/>
                </a:cxn>
                <a:cxn ang="0">
                  <a:pos x="T6" y="T7"/>
                </a:cxn>
                <a:cxn ang="0">
                  <a:pos x="T8" y="T9"/>
                </a:cxn>
                <a:cxn ang="0">
                  <a:pos x="T10" y="T11"/>
                </a:cxn>
              </a:cxnLst>
              <a:rect l="0" t="0" r="r" b="b"/>
              <a:pathLst>
                <a:path w="58" h="50">
                  <a:moveTo>
                    <a:pt x="0" y="46"/>
                  </a:moveTo>
                  <a:cubicBezTo>
                    <a:pt x="9" y="49"/>
                    <a:pt x="18" y="50"/>
                    <a:pt x="28" y="50"/>
                  </a:cubicBezTo>
                  <a:cubicBezTo>
                    <a:pt x="39" y="50"/>
                    <a:pt x="48" y="49"/>
                    <a:pt x="58" y="46"/>
                  </a:cubicBezTo>
                  <a:cubicBezTo>
                    <a:pt x="58" y="0"/>
                    <a:pt x="58" y="0"/>
                    <a:pt x="58" y="0"/>
                  </a:cubicBezTo>
                  <a:cubicBezTo>
                    <a:pt x="0" y="0"/>
                    <a:pt x="0" y="0"/>
                    <a:pt x="0" y="0"/>
                  </a:cubicBezTo>
                  <a:lnTo>
                    <a:pt x="0" y="46"/>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7" name="Freeform 102"/>
            <p:cNvSpPr>
              <a:spLocks/>
            </p:cNvSpPr>
            <p:nvPr/>
          </p:nvSpPr>
          <p:spPr bwMode="auto">
            <a:xfrm>
              <a:off x="5929313" y="1701800"/>
              <a:ext cx="338137" cy="317500"/>
            </a:xfrm>
            <a:custGeom>
              <a:avLst/>
              <a:gdLst>
                <a:gd name="T0" fmla="*/ 0 w 136"/>
                <a:gd name="T1" fmla="*/ 0 h 129"/>
                <a:gd name="T2" fmla="*/ 0 w 136"/>
                <a:gd name="T3" fmla="*/ 107 h 129"/>
                <a:gd name="T4" fmla="*/ 0 w 136"/>
                <a:gd name="T5" fmla="*/ 107 h 129"/>
                <a:gd name="T6" fmla="*/ 67 w 136"/>
                <a:gd name="T7" fmla="*/ 129 h 129"/>
                <a:gd name="T8" fmla="*/ 135 w 136"/>
                <a:gd name="T9" fmla="*/ 107 h 129"/>
                <a:gd name="T10" fmla="*/ 136 w 136"/>
                <a:gd name="T11" fmla="*/ 107 h 129"/>
                <a:gd name="T12" fmla="*/ 136 w 136"/>
                <a:gd name="T13" fmla="*/ 0 h 129"/>
                <a:gd name="T14" fmla="*/ 0 w 136"/>
                <a:gd name="T15" fmla="*/ 0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29">
                  <a:moveTo>
                    <a:pt x="0" y="0"/>
                  </a:moveTo>
                  <a:cubicBezTo>
                    <a:pt x="0" y="107"/>
                    <a:pt x="0" y="107"/>
                    <a:pt x="0" y="107"/>
                  </a:cubicBezTo>
                  <a:cubicBezTo>
                    <a:pt x="0" y="107"/>
                    <a:pt x="0" y="107"/>
                    <a:pt x="0" y="107"/>
                  </a:cubicBezTo>
                  <a:cubicBezTo>
                    <a:pt x="19" y="121"/>
                    <a:pt x="42" y="129"/>
                    <a:pt x="67" y="129"/>
                  </a:cubicBezTo>
                  <a:cubicBezTo>
                    <a:pt x="93" y="129"/>
                    <a:pt x="116" y="121"/>
                    <a:pt x="135" y="107"/>
                  </a:cubicBezTo>
                  <a:cubicBezTo>
                    <a:pt x="136" y="107"/>
                    <a:pt x="136" y="107"/>
                    <a:pt x="136" y="107"/>
                  </a:cubicBezTo>
                  <a:cubicBezTo>
                    <a:pt x="136" y="0"/>
                    <a:pt x="136" y="0"/>
                    <a:pt x="136"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8" name="Freeform 103"/>
            <p:cNvSpPr>
              <a:spLocks/>
            </p:cNvSpPr>
            <p:nvPr/>
          </p:nvSpPr>
          <p:spPr bwMode="auto">
            <a:xfrm>
              <a:off x="5926138" y="1539875"/>
              <a:ext cx="241300" cy="252413"/>
            </a:xfrm>
            <a:custGeom>
              <a:avLst/>
              <a:gdLst>
                <a:gd name="T0" fmla="*/ 97 w 97"/>
                <a:gd name="T1" fmla="*/ 6 h 102"/>
                <a:gd name="T2" fmla="*/ 69 w 97"/>
                <a:gd name="T3" fmla="*/ 0 h 102"/>
                <a:gd name="T4" fmla="*/ 0 w 97"/>
                <a:gd name="T5" fmla="*/ 68 h 102"/>
                <a:gd name="T6" fmla="*/ 0 w 97"/>
                <a:gd name="T7" fmla="*/ 102 h 102"/>
                <a:gd name="T8" fmla="*/ 97 w 97"/>
                <a:gd name="T9" fmla="*/ 6 h 102"/>
              </a:gdLst>
              <a:ahLst/>
              <a:cxnLst>
                <a:cxn ang="0">
                  <a:pos x="T0" y="T1"/>
                </a:cxn>
                <a:cxn ang="0">
                  <a:pos x="T2" y="T3"/>
                </a:cxn>
                <a:cxn ang="0">
                  <a:pos x="T4" y="T5"/>
                </a:cxn>
                <a:cxn ang="0">
                  <a:pos x="T6" y="T7"/>
                </a:cxn>
                <a:cxn ang="0">
                  <a:pos x="T8" y="T9"/>
                </a:cxn>
              </a:cxnLst>
              <a:rect l="0" t="0" r="r" b="b"/>
              <a:pathLst>
                <a:path w="97" h="102">
                  <a:moveTo>
                    <a:pt x="97" y="6"/>
                  </a:moveTo>
                  <a:cubicBezTo>
                    <a:pt x="88" y="2"/>
                    <a:pt x="79" y="0"/>
                    <a:pt x="69" y="0"/>
                  </a:cubicBezTo>
                  <a:cubicBezTo>
                    <a:pt x="31" y="0"/>
                    <a:pt x="0" y="31"/>
                    <a:pt x="0" y="68"/>
                  </a:cubicBezTo>
                  <a:cubicBezTo>
                    <a:pt x="0" y="102"/>
                    <a:pt x="0" y="102"/>
                    <a:pt x="0" y="102"/>
                  </a:cubicBezTo>
                  <a:cubicBezTo>
                    <a:pt x="51" y="97"/>
                    <a:pt x="91" y="57"/>
                    <a:pt x="97" y="6"/>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9" name="Freeform 104"/>
            <p:cNvSpPr>
              <a:spLocks/>
            </p:cNvSpPr>
            <p:nvPr/>
          </p:nvSpPr>
          <p:spPr bwMode="auto">
            <a:xfrm>
              <a:off x="6027738" y="1539875"/>
              <a:ext cx="239712" cy="252413"/>
            </a:xfrm>
            <a:custGeom>
              <a:avLst/>
              <a:gdLst>
                <a:gd name="T0" fmla="*/ 0 w 96"/>
                <a:gd name="T1" fmla="*/ 6 h 102"/>
                <a:gd name="T2" fmla="*/ 28 w 96"/>
                <a:gd name="T3" fmla="*/ 0 h 102"/>
                <a:gd name="T4" fmla="*/ 96 w 96"/>
                <a:gd name="T5" fmla="*/ 68 h 102"/>
                <a:gd name="T6" fmla="*/ 96 w 96"/>
                <a:gd name="T7" fmla="*/ 102 h 102"/>
                <a:gd name="T8" fmla="*/ 0 w 96"/>
                <a:gd name="T9" fmla="*/ 6 h 102"/>
              </a:gdLst>
              <a:ahLst/>
              <a:cxnLst>
                <a:cxn ang="0">
                  <a:pos x="T0" y="T1"/>
                </a:cxn>
                <a:cxn ang="0">
                  <a:pos x="T2" y="T3"/>
                </a:cxn>
                <a:cxn ang="0">
                  <a:pos x="T4" y="T5"/>
                </a:cxn>
                <a:cxn ang="0">
                  <a:pos x="T6" y="T7"/>
                </a:cxn>
                <a:cxn ang="0">
                  <a:pos x="T8" y="T9"/>
                </a:cxn>
              </a:cxnLst>
              <a:rect l="0" t="0" r="r" b="b"/>
              <a:pathLst>
                <a:path w="96" h="102">
                  <a:moveTo>
                    <a:pt x="0" y="6"/>
                  </a:moveTo>
                  <a:cubicBezTo>
                    <a:pt x="8" y="2"/>
                    <a:pt x="18" y="0"/>
                    <a:pt x="28" y="0"/>
                  </a:cubicBezTo>
                  <a:cubicBezTo>
                    <a:pt x="66" y="0"/>
                    <a:pt x="96" y="31"/>
                    <a:pt x="96" y="68"/>
                  </a:cubicBezTo>
                  <a:cubicBezTo>
                    <a:pt x="96" y="102"/>
                    <a:pt x="96" y="102"/>
                    <a:pt x="96" y="102"/>
                  </a:cubicBezTo>
                  <a:cubicBezTo>
                    <a:pt x="46" y="97"/>
                    <a:pt x="5" y="57"/>
                    <a:pt x="0" y="6"/>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0" name="Freeform 105"/>
            <p:cNvSpPr>
              <a:spLocks/>
            </p:cNvSpPr>
            <p:nvPr/>
          </p:nvSpPr>
          <p:spPr bwMode="auto">
            <a:xfrm>
              <a:off x="5700713" y="2090738"/>
              <a:ext cx="787400" cy="1279525"/>
            </a:xfrm>
            <a:custGeom>
              <a:avLst/>
              <a:gdLst>
                <a:gd name="T0" fmla="*/ 250 w 317"/>
                <a:gd name="T1" fmla="*/ 0 h 518"/>
                <a:gd name="T2" fmla="*/ 244 w 317"/>
                <a:gd name="T3" fmla="*/ 0 h 518"/>
                <a:gd name="T4" fmla="*/ 159 w 317"/>
                <a:gd name="T5" fmla="*/ 57 h 518"/>
                <a:gd name="T6" fmla="*/ 74 w 317"/>
                <a:gd name="T7" fmla="*/ 0 h 518"/>
                <a:gd name="T8" fmla="*/ 67 w 317"/>
                <a:gd name="T9" fmla="*/ 0 h 518"/>
                <a:gd name="T10" fmla="*/ 0 w 317"/>
                <a:gd name="T11" fmla="*/ 67 h 518"/>
                <a:gd name="T12" fmla="*/ 0 w 317"/>
                <a:gd name="T13" fmla="*/ 220 h 518"/>
                <a:gd name="T14" fmla="*/ 59 w 317"/>
                <a:gd name="T15" fmla="*/ 220 h 518"/>
                <a:gd name="T16" fmla="*/ 59 w 317"/>
                <a:gd name="T17" fmla="*/ 123 h 518"/>
                <a:gd name="T18" fmla="*/ 67 w 317"/>
                <a:gd name="T19" fmla="*/ 123 h 518"/>
                <a:gd name="T20" fmla="*/ 68 w 317"/>
                <a:gd name="T21" fmla="*/ 518 h 518"/>
                <a:gd name="T22" fmla="*/ 251 w 317"/>
                <a:gd name="T23" fmla="*/ 518 h 518"/>
                <a:gd name="T24" fmla="*/ 250 w 317"/>
                <a:gd name="T25" fmla="*/ 123 h 518"/>
                <a:gd name="T26" fmla="*/ 259 w 317"/>
                <a:gd name="T27" fmla="*/ 123 h 518"/>
                <a:gd name="T28" fmla="*/ 259 w 317"/>
                <a:gd name="T29" fmla="*/ 213 h 518"/>
                <a:gd name="T30" fmla="*/ 317 w 317"/>
                <a:gd name="T31" fmla="*/ 213 h 518"/>
                <a:gd name="T32" fmla="*/ 317 w 317"/>
                <a:gd name="T33" fmla="*/ 67 h 518"/>
                <a:gd name="T34" fmla="*/ 250 w 317"/>
                <a:gd name="T35"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518">
                  <a:moveTo>
                    <a:pt x="250" y="0"/>
                  </a:moveTo>
                  <a:cubicBezTo>
                    <a:pt x="244" y="0"/>
                    <a:pt x="244" y="0"/>
                    <a:pt x="244" y="0"/>
                  </a:cubicBezTo>
                  <a:cubicBezTo>
                    <a:pt x="230" y="33"/>
                    <a:pt x="197" y="57"/>
                    <a:pt x="159" y="57"/>
                  </a:cubicBezTo>
                  <a:cubicBezTo>
                    <a:pt x="120" y="57"/>
                    <a:pt x="88" y="33"/>
                    <a:pt x="74" y="0"/>
                  </a:cubicBezTo>
                  <a:cubicBezTo>
                    <a:pt x="67" y="0"/>
                    <a:pt x="67" y="0"/>
                    <a:pt x="67" y="0"/>
                  </a:cubicBezTo>
                  <a:cubicBezTo>
                    <a:pt x="30" y="0"/>
                    <a:pt x="0" y="30"/>
                    <a:pt x="0" y="67"/>
                  </a:cubicBezTo>
                  <a:cubicBezTo>
                    <a:pt x="0" y="220"/>
                    <a:pt x="0" y="220"/>
                    <a:pt x="0" y="220"/>
                  </a:cubicBezTo>
                  <a:cubicBezTo>
                    <a:pt x="59" y="220"/>
                    <a:pt x="59" y="220"/>
                    <a:pt x="59" y="220"/>
                  </a:cubicBezTo>
                  <a:cubicBezTo>
                    <a:pt x="59" y="123"/>
                    <a:pt x="59" y="123"/>
                    <a:pt x="59" y="123"/>
                  </a:cubicBezTo>
                  <a:cubicBezTo>
                    <a:pt x="67" y="123"/>
                    <a:pt x="67" y="123"/>
                    <a:pt x="67" y="123"/>
                  </a:cubicBezTo>
                  <a:cubicBezTo>
                    <a:pt x="68" y="518"/>
                    <a:pt x="68" y="518"/>
                    <a:pt x="68" y="518"/>
                  </a:cubicBezTo>
                  <a:cubicBezTo>
                    <a:pt x="251" y="518"/>
                    <a:pt x="251" y="518"/>
                    <a:pt x="251" y="518"/>
                  </a:cubicBezTo>
                  <a:cubicBezTo>
                    <a:pt x="250" y="123"/>
                    <a:pt x="250" y="123"/>
                    <a:pt x="250" y="123"/>
                  </a:cubicBezTo>
                  <a:cubicBezTo>
                    <a:pt x="259" y="123"/>
                    <a:pt x="259" y="123"/>
                    <a:pt x="259" y="123"/>
                  </a:cubicBezTo>
                  <a:cubicBezTo>
                    <a:pt x="259" y="213"/>
                    <a:pt x="259" y="213"/>
                    <a:pt x="259" y="213"/>
                  </a:cubicBezTo>
                  <a:cubicBezTo>
                    <a:pt x="317" y="213"/>
                    <a:pt x="317" y="213"/>
                    <a:pt x="317" y="213"/>
                  </a:cubicBezTo>
                  <a:cubicBezTo>
                    <a:pt x="317" y="67"/>
                    <a:pt x="317" y="67"/>
                    <a:pt x="317" y="67"/>
                  </a:cubicBezTo>
                  <a:cubicBezTo>
                    <a:pt x="317" y="30"/>
                    <a:pt x="287" y="0"/>
                    <a:pt x="250" y="0"/>
                  </a:cubicBezTo>
                  <a:close/>
                </a:path>
              </a:pathLst>
            </a:custGeom>
            <a:solidFill>
              <a:srgbClr val="107C10"/>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1" name="Rectangle 106"/>
            <p:cNvSpPr>
              <a:spLocks noChangeArrowheads="1"/>
            </p:cNvSpPr>
            <p:nvPr/>
          </p:nvSpPr>
          <p:spPr bwMode="auto">
            <a:xfrm>
              <a:off x="5868988" y="2659063"/>
              <a:ext cx="455612" cy="539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2" name="Freeform 107"/>
            <p:cNvSpPr>
              <a:spLocks/>
            </p:cNvSpPr>
            <p:nvPr/>
          </p:nvSpPr>
          <p:spPr bwMode="auto">
            <a:xfrm>
              <a:off x="5740400" y="3860800"/>
              <a:ext cx="246062" cy="69850"/>
            </a:xfrm>
            <a:custGeom>
              <a:avLst/>
              <a:gdLst>
                <a:gd name="T0" fmla="*/ 52 w 99"/>
                <a:gd name="T1" fmla="*/ 0 h 28"/>
                <a:gd name="T2" fmla="*/ 0 w 99"/>
                <a:gd name="T3" fmla="*/ 28 h 28"/>
                <a:gd name="T4" fmla="*/ 67 w 99"/>
                <a:gd name="T5" fmla="*/ 28 h 28"/>
                <a:gd name="T6" fmla="*/ 99 w 99"/>
                <a:gd name="T7" fmla="*/ 0 h 28"/>
                <a:gd name="T8" fmla="*/ 52 w 99"/>
                <a:gd name="T9" fmla="*/ 0 h 28"/>
              </a:gdLst>
              <a:ahLst/>
              <a:cxnLst>
                <a:cxn ang="0">
                  <a:pos x="T0" y="T1"/>
                </a:cxn>
                <a:cxn ang="0">
                  <a:pos x="T2" y="T3"/>
                </a:cxn>
                <a:cxn ang="0">
                  <a:pos x="T4" y="T5"/>
                </a:cxn>
                <a:cxn ang="0">
                  <a:pos x="T6" y="T7"/>
                </a:cxn>
                <a:cxn ang="0">
                  <a:pos x="T8" y="T9"/>
                </a:cxn>
              </a:cxnLst>
              <a:rect l="0" t="0" r="r" b="b"/>
              <a:pathLst>
                <a:path w="99" h="28">
                  <a:moveTo>
                    <a:pt x="52" y="0"/>
                  </a:moveTo>
                  <a:cubicBezTo>
                    <a:pt x="30" y="0"/>
                    <a:pt x="11" y="11"/>
                    <a:pt x="0" y="28"/>
                  </a:cubicBezTo>
                  <a:cubicBezTo>
                    <a:pt x="67" y="28"/>
                    <a:pt x="67" y="28"/>
                    <a:pt x="67" y="28"/>
                  </a:cubicBezTo>
                  <a:cubicBezTo>
                    <a:pt x="84" y="28"/>
                    <a:pt x="97" y="16"/>
                    <a:pt x="99" y="0"/>
                  </a:cubicBez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3" name="Freeform 108"/>
            <p:cNvSpPr>
              <a:spLocks/>
            </p:cNvSpPr>
            <p:nvPr/>
          </p:nvSpPr>
          <p:spPr bwMode="auto">
            <a:xfrm>
              <a:off x="6053138" y="3860800"/>
              <a:ext cx="273050" cy="141288"/>
            </a:xfrm>
            <a:custGeom>
              <a:avLst/>
              <a:gdLst>
                <a:gd name="T0" fmla="*/ 63 w 110"/>
                <a:gd name="T1" fmla="*/ 0 h 57"/>
                <a:gd name="T2" fmla="*/ 0 w 110"/>
                <a:gd name="T3" fmla="*/ 57 h 57"/>
                <a:gd name="T4" fmla="*/ 63 w 110"/>
                <a:gd name="T5" fmla="*/ 57 h 57"/>
                <a:gd name="T6" fmla="*/ 110 w 110"/>
                <a:gd name="T7" fmla="*/ 57 h 57"/>
                <a:gd name="T8" fmla="*/ 110 w 110"/>
                <a:gd name="T9" fmla="*/ 0 h 57"/>
                <a:gd name="T10" fmla="*/ 63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63" y="0"/>
                  </a:moveTo>
                  <a:cubicBezTo>
                    <a:pt x="30" y="0"/>
                    <a:pt x="3" y="25"/>
                    <a:pt x="0" y="57"/>
                  </a:cubicBezTo>
                  <a:cubicBezTo>
                    <a:pt x="63" y="57"/>
                    <a:pt x="63" y="57"/>
                    <a:pt x="63" y="57"/>
                  </a:cubicBezTo>
                  <a:cubicBezTo>
                    <a:pt x="110" y="57"/>
                    <a:pt x="110" y="57"/>
                    <a:pt x="110" y="57"/>
                  </a:cubicBezTo>
                  <a:cubicBezTo>
                    <a:pt x="110" y="0"/>
                    <a:pt x="110" y="0"/>
                    <a:pt x="110" y="0"/>
                  </a:cubicBezTo>
                  <a:lnTo>
                    <a:pt x="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4" name="Freeform 109"/>
            <p:cNvSpPr>
              <a:spLocks/>
            </p:cNvSpPr>
            <p:nvPr/>
          </p:nvSpPr>
          <p:spPr bwMode="auto">
            <a:xfrm>
              <a:off x="6078538" y="3860800"/>
              <a:ext cx="246062" cy="69850"/>
            </a:xfrm>
            <a:custGeom>
              <a:avLst/>
              <a:gdLst>
                <a:gd name="T0" fmla="*/ 53 w 99"/>
                <a:gd name="T1" fmla="*/ 0 h 28"/>
                <a:gd name="T2" fmla="*/ 0 w 99"/>
                <a:gd name="T3" fmla="*/ 28 h 28"/>
                <a:gd name="T4" fmla="*/ 68 w 99"/>
                <a:gd name="T5" fmla="*/ 28 h 28"/>
                <a:gd name="T6" fmla="*/ 99 w 99"/>
                <a:gd name="T7" fmla="*/ 0 h 28"/>
                <a:gd name="T8" fmla="*/ 53 w 99"/>
                <a:gd name="T9" fmla="*/ 0 h 28"/>
              </a:gdLst>
              <a:ahLst/>
              <a:cxnLst>
                <a:cxn ang="0">
                  <a:pos x="T0" y="T1"/>
                </a:cxn>
                <a:cxn ang="0">
                  <a:pos x="T2" y="T3"/>
                </a:cxn>
                <a:cxn ang="0">
                  <a:pos x="T4" y="T5"/>
                </a:cxn>
                <a:cxn ang="0">
                  <a:pos x="T6" y="T7"/>
                </a:cxn>
                <a:cxn ang="0">
                  <a:pos x="T8" y="T9"/>
                </a:cxn>
              </a:cxnLst>
              <a:rect l="0" t="0" r="r" b="b"/>
              <a:pathLst>
                <a:path w="99" h="28">
                  <a:moveTo>
                    <a:pt x="53" y="0"/>
                  </a:moveTo>
                  <a:cubicBezTo>
                    <a:pt x="31" y="0"/>
                    <a:pt x="12" y="11"/>
                    <a:pt x="0" y="28"/>
                  </a:cubicBezTo>
                  <a:cubicBezTo>
                    <a:pt x="68" y="28"/>
                    <a:pt x="68" y="28"/>
                    <a:pt x="68" y="28"/>
                  </a:cubicBezTo>
                  <a:cubicBezTo>
                    <a:pt x="84" y="28"/>
                    <a:pt x="97" y="16"/>
                    <a:pt x="99" y="0"/>
                  </a:cubicBez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5" name="Freeform 110"/>
            <p:cNvSpPr>
              <a:spLocks/>
            </p:cNvSpPr>
            <p:nvPr/>
          </p:nvSpPr>
          <p:spPr bwMode="auto">
            <a:xfrm>
              <a:off x="5934075" y="1770063"/>
              <a:ext cx="320675" cy="109538"/>
            </a:xfrm>
            <a:custGeom>
              <a:avLst/>
              <a:gdLst>
                <a:gd name="T0" fmla="*/ 128 w 129"/>
                <a:gd name="T1" fmla="*/ 4 h 44"/>
                <a:gd name="T2" fmla="*/ 2 w 129"/>
                <a:gd name="T3" fmla="*/ 4 h 44"/>
                <a:gd name="T4" fmla="*/ 2 w 129"/>
                <a:gd name="T5" fmla="*/ 30 h 44"/>
                <a:gd name="T6" fmla="*/ 44 w 129"/>
                <a:gd name="T7" fmla="*/ 44 h 44"/>
                <a:gd name="T8" fmla="*/ 59 w 129"/>
                <a:gd name="T9" fmla="*/ 25 h 44"/>
                <a:gd name="T10" fmla="*/ 65 w 129"/>
                <a:gd name="T11" fmla="*/ 20 h 44"/>
                <a:gd name="T12" fmla="*/ 71 w 129"/>
                <a:gd name="T13" fmla="*/ 25 h 44"/>
                <a:gd name="T14" fmla="*/ 86 w 129"/>
                <a:gd name="T15" fmla="*/ 44 h 44"/>
                <a:gd name="T16" fmla="*/ 128 w 129"/>
                <a:gd name="T17" fmla="*/ 30 h 44"/>
                <a:gd name="T18" fmla="*/ 128 w 129"/>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44">
                  <a:moveTo>
                    <a:pt x="128" y="4"/>
                  </a:moveTo>
                  <a:cubicBezTo>
                    <a:pt x="113" y="0"/>
                    <a:pt x="16" y="0"/>
                    <a:pt x="2" y="4"/>
                  </a:cubicBezTo>
                  <a:cubicBezTo>
                    <a:pt x="0" y="14"/>
                    <a:pt x="2" y="30"/>
                    <a:pt x="2" y="30"/>
                  </a:cubicBezTo>
                  <a:cubicBezTo>
                    <a:pt x="6" y="38"/>
                    <a:pt x="37" y="44"/>
                    <a:pt x="44" y="44"/>
                  </a:cubicBezTo>
                  <a:cubicBezTo>
                    <a:pt x="51" y="44"/>
                    <a:pt x="57" y="31"/>
                    <a:pt x="59" y="25"/>
                  </a:cubicBezTo>
                  <a:cubicBezTo>
                    <a:pt x="61" y="19"/>
                    <a:pt x="65" y="20"/>
                    <a:pt x="65" y="20"/>
                  </a:cubicBezTo>
                  <a:cubicBezTo>
                    <a:pt x="65" y="20"/>
                    <a:pt x="69" y="19"/>
                    <a:pt x="71" y="25"/>
                  </a:cubicBezTo>
                  <a:cubicBezTo>
                    <a:pt x="73" y="31"/>
                    <a:pt x="79" y="44"/>
                    <a:pt x="86" y="44"/>
                  </a:cubicBezTo>
                  <a:cubicBezTo>
                    <a:pt x="93" y="44"/>
                    <a:pt x="124" y="38"/>
                    <a:pt x="128" y="30"/>
                  </a:cubicBezTo>
                  <a:cubicBezTo>
                    <a:pt x="128" y="30"/>
                    <a:pt x="129" y="14"/>
                    <a:pt x="128" y="4"/>
                  </a:cubicBez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9" name="Freeform 114"/>
            <p:cNvSpPr>
              <a:spLocks/>
            </p:cNvSpPr>
            <p:nvPr/>
          </p:nvSpPr>
          <p:spPr bwMode="auto">
            <a:xfrm>
              <a:off x="5710238" y="2089150"/>
              <a:ext cx="315912" cy="868363"/>
            </a:xfrm>
            <a:custGeom>
              <a:avLst/>
              <a:gdLst>
                <a:gd name="T0" fmla="*/ 0 w 127"/>
                <a:gd name="T1" fmla="*/ 67 h 352"/>
                <a:gd name="T2" fmla="*/ 0 w 127"/>
                <a:gd name="T3" fmla="*/ 123 h 352"/>
                <a:gd name="T4" fmla="*/ 0 w 127"/>
                <a:gd name="T5" fmla="*/ 352 h 352"/>
                <a:gd name="T6" fmla="*/ 56 w 127"/>
                <a:gd name="T7" fmla="*/ 352 h 352"/>
                <a:gd name="T8" fmla="*/ 56 w 127"/>
                <a:gd name="T9" fmla="*/ 136 h 352"/>
                <a:gd name="T10" fmla="*/ 63 w 127"/>
                <a:gd name="T11" fmla="*/ 136 h 352"/>
                <a:gd name="T12" fmla="*/ 63 w 127"/>
                <a:gd name="T13" fmla="*/ 328 h 352"/>
                <a:gd name="T14" fmla="*/ 127 w 127"/>
                <a:gd name="T15" fmla="*/ 328 h 352"/>
                <a:gd name="T16" fmla="*/ 127 w 127"/>
                <a:gd name="T17" fmla="*/ 0 h 352"/>
                <a:gd name="T18" fmla="*/ 67 w 127"/>
                <a:gd name="T19" fmla="*/ 0 h 352"/>
                <a:gd name="T20" fmla="*/ 0 w 127"/>
                <a:gd name="T21" fmla="*/ 6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352">
                  <a:moveTo>
                    <a:pt x="0" y="67"/>
                  </a:moveTo>
                  <a:cubicBezTo>
                    <a:pt x="0" y="123"/>
                    <a:pt x="0" y="123"/>
                    <a:pt x="0" y="123"/>
                  </a:cubicBezTo>
                  <a:cubicBezTo>
                    <a:pt x="0" y="352"/>
                    <a:pt x="0" y="352"/>
                    <a:pt x="0" y="352"/>
                  </a:cubicBezTo>
                  <a:cubicBezTo>
                    <a:pt x="56" y="352"/>
                    <a:pt x="56" y="352"/>
                    <a:pt x="56" y="352"/>
                  </a:cubicBezTo>
                  <a:cubicBezTo>
                    <a:pt x="56" y="136"/>
                    <a:pt x="56" y="136"/>
                    <a:pt x="56" y="136"/>
                  </a:cubicBezTo>
                  <a:cubicBezTo>
                    <a:pt x="63" y="136"/>
                    <a:pt x="63" y="136"/>
                    <a:pt x="63" y="136"/>
                  </a:cubicBezTo>
                  <a:cubicBezTo>
                    <a:pt x="63" y="328"/>
                    <a:pt x="63" y="328"/>
                    <a:pt x="63" y="328"/>
                  </a:cubicBezTo>
                  <a:cubicBezTo>
                    <a:pt x="127" y="328"/>
                    <a:pt x="127" y="328"/>
                    <a:pt x="127" y="328"/>
                  </a:cubicBezTo>
                  <a:cubicBezTo>
                    <a:pt x="127" y="0"/>
                    <a:pt x="127" y="0"/>
                    <a:pt x="127" y="0"/>
                  </a:cubicBezTo>
                  <a:cubicBezTo>
                    <a:pt x="67" y="0"/>
                    <a:pt x="67" y="0"/>
                    <a:pt x="67" y="0"/>
                  </a:cubicBezTo>
                  <a:cubicBezTo>
                    <a:pt x="30" y="0"/>
                    <a:pt x="0" y="30"/>
                    <a:pt x="0"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0" name="Freeform 115"/>
            <p:cNvSpPr>
              <a:spLocks/>
            </p:cNvSpPr>
            <p:nvPr/>
          </p:nvSpPr>
          <p:spPr bwMode="auto">
            <a:xfrm>
              <a:off x="6170613" y="2089150"/>
              <a:ext cx="312737" cy="868363"/>
            </a:xfrm>
            <a:custGeom>
              <a:avLst/>
              <a:gdLst>
                <a:gd name="T0" fmla="*/ 59 w 126"/>
                <a:gd name="T1" fmla="*/ 0 h 352"/>
                <a:gd name="T2" fmla="*/ 0 w 126"/>
                <a:gd name="T3" fmla="*/ 0 h 352"/>
                <a:gd name="T4" fmla="*/ 0 w 126"/>
                <a:gd name="T5" fmla="*/ 328 h 352"/>
                <a:gd name="T6" fmla="*/ 62 w 126"/>
                <a:gd name="T7" fmla="*/ 328 h 352"/>
                <a:gd name="T8" fmla="*/ 62 w 126"/>
                <a:gd name="T9" fmla="*/ 133 h 352"/>
                <a:gd name="T10" fmla="*/ 71 w 126"/>
                <a:gd name="T11" fmla="*/ 133 h 352"/>
                <a:gd name="T12" fmla="*/ 71 w 126"/>
                <a:gd name="T13" fmla="*/ 352 h 352"/>
                <a:gd name="T14" fmla="*/ 126 w 126"/>
                <a:gd name="T15" fmla="*/ 352 h 352"/>
                <a:gd name="T16" fmla="*/ 126 w 126"/>
                <a:gd name="T17" fmla="*/ 123 h 352"/>
                <a:gd name="T18" fmla="*/ 126 w 126"/>
                <a:gd name="T19" fmla="*/ 67 h 352"/>
                <a:gd name="T20" fmla="*/ 59 w 126"/>
                <a:gd name="T2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52">
                  <a:moveTo>
                    <a:pt x="59" y="0"/>
                  </a:moveTo>
                  <a:cubicBezTo>
                    <a:pt x="0" y="0"/>
                    <a:pt x="0" y="0"/>
                    <a:pt x="0" y="0"/>
                  </a:cubicBezTo>
                  <a:cubicBezTo>
                    <a:pt x="0" y="328"/>
                    <a:pt x="0" y="328"/>
                    <a:pt x="0" y="328"/>
                  </a:cubicBezTo>
                  <a:cubicBezTo>
                    <a:pt x="62" y="328"/>
                    <a:pt x="62" y="328"/>
                    <a:pt x="62" y="328"/>
                  </a:cubicBezTo>
                  <a:cubicBezTo>
                    <a:pt x="62" y="133"/>
                    <a:pt x="62" y="133"/>
                    <a:pt x="62" y="133"/>
                  </a:cubicBezTo>
                  <a:cubicBezTo>
                    <a:pt x="71" y="133"/>
                    <a:pt x="71" y="133"/>
                    <a:pt x="71" y="133"/>
                  </a:cubicBezTo>
                  <a:cubicBezTo>
                    <a:pt x="71" y="352"/>
                    <a:pt x="71" y="352"/>
                    <a:pt x="71" y="352"/>
                  </a:cubicBezTo>
                  <a:cubicBezTo>
                    <a:pt x="126" y="352"/>
                    <a:pt x="126" y="352"/>
                    <a:pt x="126" y="352"/>
                  </a:cubicBezTo>
                  <a:cubicBezTo>
                    <a:pt x="126" y="123"/>
                    <a:pt x="126" y="123"/>
                    <a:pt x="126" y="123"/>
                  </a:cubicBezTo>
                  <a:cubicBezTo>
                    <a:pt x="126" y="67"/>
                    <a:pt x="126" y="67"/>
                    <a:pt x="126" y="67"/>
                  </a:cubicBezTo>
                  <a:cubicBezTo>
                    <a:pt x="126" y="30"/>
                    <a:pt x="96" y="0"/>
                    <a:pt x="5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1" name="Freeform 116"/>
            <p:cNvSpPr>
              <a:spLocks/>
            </p:cNvSpPr>
            <p:nvPr/>
          </p:nvSpPr>
          <p:spPr bwMode="auto">
            <a:xfrm>
              <a:off x="6170613" y="2089150"/>
              <a:ext cx="312737" cy="868363"/>
            </a:xfrm>
            <a:custGeom>
              <a:avLst/>
              <a:gdLst>
                <a:gd name="T0" fmla="*/ 126 w 126"/>
                <a:gd name="T1" fmla="*/ 352 h 352"/>
                <a:gd name="T2" fmla="*/ 126 w 126"/>
                <a:gd name="T3" fmla="*/ 123 h 352"/>
                <a:gd name="T4" fmla="*/ 126 w 126"/>
                <a:gd name="T5" fmla="*/ 67 h 352"/>
                <a:gd name="T6" fmla="*/ 59 w 126"/>
                <a:gd name="T7" fmla="*/ 0 h 352"/>
                <a:gd name="T8" fmla="*/ 0 w 126"/>
                <a:gd name="T9" fmla="*/ 0 h 352"/>
              </a:gdLst>
              <a:ahLst/>
              <a:cxnLst>
                <a:cxn ang="0">
                  <a:pos x="T0" y="T1"/>
                </a:cxn>
                <a:cxn ang="0">
                  <a:pos x="T2" y="T3"/>
                </a:cxn>
                <a:cxn ang="0">
                  <a:pos x="T4" y="T5"/>
                </a:cxn>
                <a:cxn ang="0">
                  <a:pos x="T6" y="T7"/>
                </a:cxn>
                <a:cxn ang="0">
                  <a:pos x="T8" y="T9"/>
                </a:cxn>
              </a:cxnLst>
              <a:rect l="0" t="0" r="r" b="b"/>
              <a:pathLst>
                <a:path w="126" h="352">
                  <a:moveTo>
                    <a:pt x="126" y="352"/>
                  </a:moveTo>
                  <a:cubicBezTo>
                    <a:pt x="126" y="123"/>
                    <a:pt x="126" y="123"/>
                    <a:pt x="126" y="123"/>
                  </a:cubicBezTo>
                  <a:cubicBezTo>
                    <a:pt x="126" y="67"/>
                    <a:pt x="126" y="67"/>
                    <a:pt x="126" y="67"/>
                  </a:cubicBezTo>
                  <a:cubicBezTo>
                    <a:pt x="126" y="30"/>
                    <a:pt x="96" y="0"/>
                    <a:pt x="59" y="0"/>
                  </a:cubicBezTo>
                  <a:cubicBezTo>
                    <a:pt x="0" y="0"/>
                    <a:pt x="0" y="0"/>
                    <a:pt x="0" y="0"/>
                  </a:cubicBezTo>
                </a:path>
              </a:pathLst>
            </a:custGeom>
            <a:noFill/>
            <a:ln w="17463" cap="flat">
              <a:solidFill>
                <a:srgbClr val="9B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2" name="Freeform 117"/>
            <p:cNvSpPr>
              <a:spLocks/>
            </p:cNvSpPr>
            <p:nvPr/>
          </p:nvSpPr>
          <p:spPr bwMode="auto">
            <a:xfrm>
              <a:off x="5710238" y="2089150"/>
              <a:ext cx="315912" cy="868363"/>
            </a:xfrm>
            <a:custGeom>
              <a:avLst/>
              <a:gdLst>
                <a:gd name="T0" fmla="*/ 0 w 127"/>
                <a:gd name="T1" fmla="*/ 352 h 352"/>
                <a:gd name="T2" fmla="*/ 0 w 127"/>
                <a:gd name="T3" fmla="*/ 123 h 352"/>
                <a:gd name="T4" fmla="*/ 0 w 127"/>
                <a:gd name="T5" fmla="*/ 67 h 352"/>
                <a:gd name="T6" fmla="*/ 67 w 127"/>
                <a:gd name="T7" fmla="*/ 0 h 352"/>
                <a:gd name="T8" fmla="*/ 127 w 127"/>
                <a:gd name="T9" fmla="*/ 0 h 352"/>
              </a:gdLst>
              <a:ahLst/>
              <a:cxnLst>
                <a:cxn ang="0">
                  <a:pos x="T0" y="T1"/>
                </a:cxn>
                <a:cxn ang="0">
                  <a:pos x="T2" y="T3"/>
                </a:cxn>
                <a:cxn ang="0">
                  <a:pos x="T4" y="T5"/>
                </a:cxn>
                <a:cxn ang="0">
                  <a:pos x="T6" y="T7"/>
                </a:cxn>
                <a:cxn ang="0">
                  <a:pos x="T8" y="T9"/>
                </a:cxn>
              </a:cxnLst>
              <a:rect l="0" t="0" r="r" b="b"/>
              <a:pathLst>
                <a:path w="127" h="352">
                  <a:moveTo>
                    <a:pt x="0" y="352"/>
                  </a:moveTo>
                  <a:cubicBezTo>
                    <a:pt x="0" y="123"/>
                    <a:pt x="0" y="123"/>
                    <a:pt x="0" y="123"/>
                  </a:cubicBezTo>
                  <a:cubicBezTo>
                    <a:pt x="0" y="67"/>
                    <a:pt x="0" y="67"/>
                    <a:pt x="0" y="67"/>
                  </a:cubicBezTo>
                  <a:cubicBezTo>
                    <a:pt x="0" y="30"/>
                    <a:pt x="30" y="0"/>
                    <a:pt x="67" y="0"/>
                  </a:cubicBezTo>
                  <a:cubicBezTo>
                    <a:pt x="127" y="0"/>
                    <a:pt x="127" y="0"/>
                    <a:pt x="127" y="0"/>
                  </a:cubicBezTo>
                </a:path>
              </a:pathLst>
            </a:custGeom>
            <a:noFill/>
            <a:ln w="17463" cap="flat">
              <a:solidFill>
                <a:srgbClr val="9B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3" name="Rectangle 118"/>
            <p:cNvSpPr>
              <a:spLocks noChangeArrowheads="1"/>
            </p:cNvSpPr>
            <p:nvPr/>
          </p:nvSpPr>
          <p:spPr bwMode="auto">
            <a:xfrm>
              <a:off x="6026150" y="2271713"/>
              <a:ext cx="17462" cy="627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4" name="Freeform 119"/>
            <p:cNvSpPr>
              <a:spLocks/>
            </p:cNvSpPr>
            <p:nvPr/>
          </p:nvSpPr>
          <p:spPr bwMode="auto">
            <a:xfrm>
              <a:off x="5988050" y="2022475"/>
              <a:ext cx="38100" cy="219075"/>
            </a:xfrm>
            <a:custGeom>
              <a:avLst/>
              <a:gdLst>
                <a:gd name="T0" fmla="*/ 15 w 15"/>
                <a:gd name="T1" fmla="*/ 0 h 89"/>
                <a:gd name="T2" fmla="*/ 0 w 15"/>
                <a:gd name="T3" fmla="*/ 14 h 89"/>
                <a:gd name="T4" fmla="*/ 0 w 15"/>
                <a:gd name="T5" fmla="*/ 75 h 89"/>
                <a:gd name="T6" fmla="*/ 15 w 15"/>
                <a:gd name="T7" fmla="*/ 89 h 89"/>
                <a:gd name="T8" fmla="*/ 15 w 15"/>
                <a:gd name="T9" fmla="*/ 0 h 89"/>
              </a:gdLst>
              <a:ahLst/>
              <a:cxnLst>
                <a:cxn ang="0">
                  <a:pos x="T0" y="T1"/>
                </a:cxn>
                <a:cxn ang="0">
                  <a:pos x="T2" y="T3"/>
                </a:cxn>
                <a:cxn ang="0">
                  <a:pos x="T4" y="T5"/>
                </a:cxn>
                <a:cxn ang="0">
                  <a:pos x="T6" y="T7"/>
                </a:cxn>
                <a:cxn ang="0">
                  <a:pos x="T8" y="T9"/>
                </a:cxn>
              </a:cxnLst>
              <a:rect l="0" t="0" r="r" b="b"/>
              <a:pathLst>
                <a:path w="15" h="89">
                  <a:moveTo>
                    <a:pt x="15" y="0"/>
                  </a:moveTo>
                  <a:cubicBezTo>
                    <a:pt x="6" y="0"/>
                    <a:pt x="0" y="6"/>
                    <a:pt x="0" y="14"/>
                  </a:cubicBezTo>
                  <a:cubicBezTo>
                    <a:pt x="0" y="75"/>
                    <a:pt x="0" y="75"/>
                    <a:pt x="0" y="75"/>
                  </a:cubicBezTo>
                  <a:cubicBezTo>
                    <a:pt x="0" y="83"/>
                    <a:pt x="6" y="89"/>
                    <a:pt x="15" y="89"/>
                  </a:cubicBez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5" name="Freeform 120"/>
            <p:cNvSpPr>
              <a:spLocks/>
            </p:cNvSpPr>
            <p:nvPr/>
          </p:nvSpPr>
          <p:spPr bwMode="auto">
            <a:xfrm>
              <a:off x="6170613" y="2022475"/>
              <a:ext cx="34925" cy="219075"/>
            </a:xfrm>
            <a:custGeom>
              <a:avLst/>
              <a:gdLst>
                <a:gd name="T0" fmla="*/ 0 w 14"/>
                <a:gd name="T1" fmla="*/ 89 h 89"/>
                <a:gd name="T2" fmla="*/ 14 w 14"/>
                <a:gd name="T3" fmla="*/ 75 h 89"/>
                <a:gd name="T4" fmla="*/ 14 w 14"/>
                <a:gd name="T5" fmla="*/ 14 h 89"/>
                <a:gd name="T6" fmla="*/ 0 w 14"/>
                <a:gd name="T7" fmla="*/ 0 h 89"/>
                <a:gd name="T8" fmla="*/ 0 w 14"/>
                <a:gd name="T9" fmla="*/ 89 h 89"/>
              </a:gdLst>
              <a:ahLst/>
              <a:cxnLst>
                <a:cxn ang="0">
                  <a:pos x="T0" y="T1"/>
                </a:cxn>
                <a:cxn ang="0">
                  <a:pos x="T2" y="T3"/>
                </a:cxn>
                <a:cxn ang="0">
                  <a:pos x="T4" y="T5"/>
                </a:cxn>
                <a:cxn ang="0">
                  <a:pos x="T6" y="T7"/>
                </a:cxn>
                <a:cxn ang="0">
                  <a:pos x="T8" y="T9"/>
                </a:cxn>
              </a:cxnLst>
              <a:rect l="0" t="0" r="r" b="b"/>
              <a:pathLst>
                <a:path w="14" h="89">
                  <a:moveTo>
                    <a:pt x="0" y="89"/>
                  </a:moveTo>
                  <a:cubicBezTo>
                    <a:pt x="8" y="89"/>
                    <a:pt x="14" y="83"/>
                    <a:pt x="14" y="75"/>
                  </a:cubicBezTo>
                  <a:cubicBezTo>
                    <a:pt x="14" y="14"/>
                    <a:pt x="14" y="14"/>
                    <a:pt x="14" y="14"/>
                  </a:cubicBezTo>
                  <a:cubicBezTo>
                    <a:pt x="14" y="6"/>
                    <a:pt x="8" y="0"/>
                    <a:pt x="0" y="0"/>
                  </a:cubicBezTo>
                  <a:lnTo>
                    <a:pt x="0"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6" name="Rectangle 121"/>
            <p:cNvSpPr>
              <a:spLocks noChangeArrowheads="1"/>
            </p:cNvSpPr>
            <p:nvPr/>
          </p:nvSpPr>
          <p:spPr bwMode="auto">
            <a:xfrm>
              <a:off x="5737225" y="2871788"/>
              <a:ext cx="17462" cy="85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7" name="Rectangle 122"/>
            <p:cNvSpPr>
              <a:spLocks noChangeArrowheads="1"/>
            </p:cNvSpPr>
            <p:nvPr/>
          </p:nvSpPr>
          <p:spPr bwMode="auto">
            <a:xfrm>
              <a:off x="6434138" y="2871788"/>
              <a:ext cx="17462" cy="85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8" name="Rectangle 123"/>
            <p:cNvSpPr>
              <a:spLocks noChangeArrowheads="1"/>
            </p:cNvSpPr>
            <p:nvPr/>
          </p:nvSpPr>
          <p:spPr bwMode="auto">
            <a:xfrm>
              <a:off x="6026150" y="2913063"/>
              <a:ext cx="17462" cy="492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9" name="Freeform 124"/>
            <p:cNvSpPr>
              <a:spLocks/>
            </p:cNvSpPr>
            <p:nvPr/>
          </p:nvSpPr>
          <p:spPr bwMode="auto">
            <a:xfrm>
              <a:off x="6205538" y="2335213"/>
              <a:ext cx="71437" cy="69850"/>
            </a:xfrm>
            <a:custGeom>
              <a:avLst/>
              <a:gdLst>
                <a:gd name="T0" fmla="*/ 39 w 45"/>
                <a:gd name="T1" fmla="*/ 44 h 44"/>
                <a:gd name="T2" fmla="*/ 0 w 45"/>
                <a:gd name="T3" fmla="*/ 6 h 44"/>
                <a:gd name="T4" fmla="*/ 8 w 45"/>
                <a:gd name="T5" fmla="*/ 0 h 44"/>
                <a:gd name="T6" fmla="*/ 45 w 45"/>
                <a:gd name="T7" fmla="*/ 38 h 44"/>
                <a:gd name="T8" fmla="*/ 39 w 45"/>
                <a:gd name="T9" fmla="*/ 44 h 44"/>
              </a:gdLst>
              <a:ahLst/>
              <a:cxnLst>
                <a:cxn ang="0">
                  <a:pos x="T0" y="T1"/>
                </a:cxn>
                <a:cxn ang="0">
                  <a:pos x="T2" y="T3"/>
                </a:cxn>
                <a:cxn ang="0">
                  <a:pos x="T4" y="T5"/>
                </a:cxn>
                <a:cxn ang="0">
                  <a:pos x="T6" y="T7"/>
                </a:cxn>
                <a:cxn ang="0">
                  <a:pos x="T8" y="T9"/>
                </a:cxn>
              </a:cxnLst>
              <a:rect l="0" t="0" r="r" b="b"/>
              <a:pathLst>
                <a:path w="45" h="44">
                  <a:moveTo>
                    <a:pt x="39" y="44"/>
                  </a:moveTo>
                  <a:lnTo>
                    <a:pt x="0" y="6"/>
                  </a:lnTo>
                  <a:lnTo>
                    <a:pt x="8" y="0"/>
                  </a:lnTo>
                  <a:lnTo>
                    <a:pt x="45" y="38"/>
                  </a:lnTo>
                  <a:lnTo>
                    <a:pt x="39"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0" name="Rectangle 125"/>
            <p:cNvSpPr>
              <a:spLocks noChangeArrowheads="1"/>
            </p:cNvSpPr>
            <p:nvPr/>
          </p:nvSpPr>
          <p:spPr bwMode="auto">
            <a:xfrm>
              <a:off x="6259513" y="2417763"/>
              <a:ext cx="17462" cy="46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1" name="Rectangle 126"/>
            <p:cNvSpPr>
              <a:spLocks noChangeArrowheads="1"/>
            </p:cNvSpPr>
            <p:nvPr/>
          </p:nvSpPr>
          <p:spPr bwMode="auto">
            <a:xfrm>
              <a:off x="5868988" y="3478213"/>
              <a:ext cx="117475" cy="425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2" name="Rectangle 127"/>
            <p:cNvSpPr>
              <a:spLocks noChangeArrowheads="1"/>
            </p:cNvSpPr>
            <p:nvPr/>
          </p:nvSpPr>
          <p:spPr bwMode="auto">
            <a:xfrm>
              <a:off x="6210300" y="3478213"/>
              <a:ext cx="115887" cy="425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3" name="Freeform 128"/>
            <p:cNvSpPr>
              <a:spLocks/>
            </p:cNvSpPr>
            <p:nvPr/>
          </p:nvSpPr>
          <p:spPr bwMode="auto">
            <a:xfrm>
              <a:off x="6038850" y="1933575"/>
              <a:ext cx="114300" cy="41275"/>
            </a:xfrm>
            <a:custGeom>
              <a:avLst/>
              <a:gdLst>
                <a:gd name="T0" fmla="*/ 17 w 46"/>
                <a:gd name="T1" fmla="*/ 17 h 17"/>
                <a:gd name="T2" fmla="*/ 29 w 46"/>
                <a:gd name="T3" fmla="*/ 17 h 17"/>
                <a:gd name="T4" fmla="*/ 46 w 46"/>
                <a:gd name="T5" fmla="*/ 0 h 17"/>
                <a:gd name="T6" fmla="*/ 23 w 46"/>
                <a:gd name="T7" fmla="*/ 1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29" y="17"/>
                    <a:pt x="29" y="17"/>
                    <a:pt x="29" y="17"/>
                  </a:cubicBezTo>
                  <a:cubicBezTo>
                    <a:pt x="38" y="17"/>
                    <a:pt x="46" y="8"/>
                    <a:pt x="46" y="0"/>
                  </a:cubicBezTo>
                  <a:cubicBezTo>
                    <a:pt x="23" y="1"/>
                    <a:pt x="23" y="1"/>
                    <a:pt x="23" y="1"/>
                  </a:cubicBezTo>
                  <a:cubicBezTo>
                    <a:pt x="0" y="0"/>
                    <a:pt x="0" y="0"/>
                    <a:pt x="0" y="0"/>
                  </a:cubicBezTo>
                  <a:cubicBezTo>
                    <a:pt x="0" y="8"/>
                    <a:pt x="8"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4" name="Freeform 129"/>
            <p:cNvSpPr>
              <a:spLocks/>
            </p:cNvSpPr>
            <p:nvPr/>
          </p:nvSpPr>
          <p:spPr bwMode="auto">
            <a:xfrm>
              <a:off x="6038850" y="1933575"/>
              <a:ext cx="114300" cy="26988"/>
            </a:xfrm>
            <a:custGeom>
              <a:avLst/>
              <a:gdLst>
                <a:gd name="T0" fmla="*/ 0 w 46"/>
                <a:gd name="T1" fmla="*/ 0 h 11"/>
                <a:gd name="T2" fmla="*/ 23 w 46"/>
                <a:gd name="T3" fmla="*/ 11 h 11"/>
                <a:gd name="T4" fmla="*/ 46 w 46"/>
                <a:gd name="T5" fmla="*/ 0 h 11"/>
                <a:gd name="T6" fmla="*/ 23 w 46"/>
                <a:gd name="T7" fmla="*/ 2 h 11"/>
                <a:gd name="T8" fmla="*/ 0 w 46"/>
                <a:gd name="T9" fmla="*/ 0 h 11"/>
              </a:gdLst>
              <a:ahLst/>
              <a:cxnLst>
                <a:cxn ang="0">
                  <a:pos x="T0" y="T1"/>
                </a:cxn>
                <a:cxn ang="0">
                  <a:pos x="T2" y="T3"/>
                </a:cxn>
                <a:cxn ang="0">
                  <a:pos x="T4" y="T5"/>
                </a:cxn>
                <a:cxn ang="0">
                  <a:pos x="T6" y="T7"/>
                </a:cxn>
                <a:cxn ang="0">
                  <a:pos x="T8" y="T9"/>
                </a:cxn>
              </a:cxnLst>
              <a:rect l="0" t="0" r="r" b="b"/>
              <a:pathLst>
                <a:path w="46" h="11">
                  <a:moveTo>
                    <a:pt x="0" y="0"/>
                  </a:moveTo>
                  <a:cubicBezTo>
                    <a:pt x="6" y="6"/>
                    <a:pt x="14" y="11"/>
                    <a:pt x="23" y="11"/>
                  </a:cubicBezTo>
                  <a:cubicBezTo>
                    <a:pt x="32" y="11"/>
                    <a:pt x="40" y="6"/>
                    <a:pt x="46" y="0"/>
                  </a:cubicBezTo>
                  <a:cubicBezTo>
                    <a:pt x="23" y="2"/>
                    <a:pt x="23" y="2"/>
                    <a:pt x="23" y="2"/>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5" name="Freeform 130"/>
            <p:cNvSpPr>
              <a:spLocks/>
            </p:cNvSpPr>
            <p:nvPr/>
          </p:nvSpPr>
          <p:spPr bwMode="auto">
            <a:xfrm>
              <a:off x="6038850" y="1924050"/>
              <a:ext cx="114300" cy="19050"/>
            </a:xfrm>
            <a:custGeom>
              <a:avLst/>
              <a:gdLst>
                <a:gd name="T0" fmla="*/ 35 w 46"/>
                <a:gd name="T1" fmla="*/ 0 h 8"/>
                <a:gd name="T2" fmla="*/ 23 w 46"/>
                <a:gd name="T3" fmla="*/ 4 h 8"/>
                <a:gd name="T4" fmla="*/ 11 w 46"/>
                <a:gd name="T5" fmla="*/ 0 h 8"/>
                <a:gd name="T6" fmla="*/ 0 w 46"/>
                <a:gd name="T7" fmla="*/ 4 h 8"/>
                <a:gd name="T8" fmla="*/ 23 w 46"/>
                <a:gd name="T9" fmla="*/ 8 h 8"/>
                <a:gd name="T10" fmla="*/ 46 w 46"/>
                <a:gd name="T11" fmla="*/ 4 h 8"/>
                <a:gd name="T12" fmla="*/ 35 w 4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6" h="8">
                  <a:moveTo>
                    <a:pt x="35" y="0"/>
                  </a:moveTo>
                  <a:cubicBezTo>
                    <a:pt x="30" y="0"/>
                    <a:pt x="26" y="2"/>
                    <a:pt x="23" y="4"/>
                  </a:cubicBezTo>
                  <a:cubicBezTo>
                    <a:pt x="20" y="2"/>
                    <a:pt x="15" y="0"/>
                    <a:pt x="11" y="0"/>
                  </a:cubicBezTo>
                  <a:cubicBezTo>
                    <a:pt x="7" y="0"/>
                    <a:pt x="3" y="1"/>
                    <a:pt x="0" y="4"/>
                  </a:cubicBezTo>
                  <a:cubicBezTo>
                    <a:pt x="7" y="6"/>
                    <a:pt x="15" y="8"/>
                    <a:pt x="23" y="8"/>
                  </a:cubicBezTo>
                  <a:cubicBezTo>
                    <a:pt x="31" y="8"/>
                    <a:pt x="39" y="6"/>
                    <a:pt x="46" y="4"/>
                  </a:cubicBezTo>
                  <a:cubicBezTo>
                    <a:pt x="43" y="1"/>
                    <a:pt x="39"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6" name="Freeform 131"/>
            <p:cNvSpPr>
              <a:spLocks/>
            </p:cNvSpPr>
            <p:nvPr/>
          </p:nvSpPr>
          <p:spPr bwMode="auto">
            <a:xfrm>
              <a:off x="6075363" y="1879600"/>
              <a:ext cx="39687" cy="19050"/>
            </a:xfrm>
            <a:custGeom>
              <a:avLst/>
              <a:gdLst>
                <a:gd name="T0" fmla="*/ 8 w 16"/>
                <a:gd name="T1" fmla="*/ 8 h 8"/>
                <a:gd name="T2" fmla="*/ 16 w 16"/>
                <a:gd name="T3" fmla="*/ 0 h 8"/>
                <a:gd name="T4" fmla="*/ 0 w 16"/>
                <a:gd name="T5" fmla="*/ 0 h 8"/>
                <a:gd name="T6" fmla="*/ 8 w 16"/>
                <a:gd name="T7" fmla="*/ 8 h 8"/>
              </a:gdLst>
              <a:ahLst/>
              <a:cxnLst>
                <a:cxn ang="0">
                  <a:pos x="T0" y="T1"/>
                </a:cxn>
                <a:cxn ang="0">
                  <a:pos x="T2" y="T3"/>
                </a:cxn>
                <a:cxn ang="0">
                  <a:pos x="T4" y="T5"/>
                </a:cxn>
                <a:cxn ang="0">
                  <a:pos x="T6" y="T7"/>
                </a:cxn>
              </a:cxnLst>
              <a:rect l="0" t="0" r="r" b="b"/>
              <a:pathLst>
                <a:path w="16" h="8">
                  <a:moveTo>
                    <a:pt x="8" y="8"/>
                  </a:moveTo>
                  <a:cubicBezTo>
                    <a:pt x="12" y="8"/>
                    <a:pt x="16" y="5"/>
                    <a:pt x="16" y="0"/>
                  </a:cubicBezTo>
                  <a:cubicBezTo>
                    <a:pt x="0" y="0"/>
                    <a:pt x="0" y="0"/>
                    <a:pt x="0" y="0"/>
                  </a:cubicBezTo>
                  <a:cubicBezTo>
                    <a:pt x="0" y="5"/>
                    <a:pt x="3" y="8"/>
                    <a:pt x="8" y="8"/>
                  </a:cubicBez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329" name="Group 328"/>
          <p:cNvGrpSpPr/>
          <p:nvPr/>
        </p:nvGrpSpPr>
        <p:grpSpPr>
          <a:xfrm>
            <a:off x="637152" y="4394607"/>
            <a:ext cx="797835" cy="2226825"/>
            <a:chOff x="692150" y="1233488"/>
            <a:chExt cx="569913" cy="1590675"/>
          </a:xfrm>
        </p:grpSpPr>
        <p:sp>
          <p:nvSpPr>
            <p:cNvPr id="266" name="Oval 191"/>
            <p:cNvSpPr>
              <a:spLocks noChangeArrowheads="1"/>
            </p:cNvSpPr>
            <p:nvPr/>
          </p:nvSpPr>
          <p:spPr bwMode="auto">
            <a:xfrm>
              <a:off x="727075" y="1233488"/>
              <a:ext cx="361950" cy="3587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7" name="Freeform 192"/>
            <p:cNvSpPr>
              <a:spLocks/>
            </p:cNvSpPr>
            <p:nvPr/>
          </p:nvSpPr>
          <p:spPr bwMode="auto">
            <a:xfrm>
              <a:off x="787400" y="1474788"/>
              <a:ext cx="241300" cy="50800"/>
            </a:xfrm>
            <a:custGeom>
              <a:avLst/>
              <a:gdLst>
                <a:gd name="T0" fmla="*/ 0 w 157"/>
                <a:gd name="T1" fmla="*/ 25 h 33"/>
                <a:gd name="T2" fmla="*/ 8 w 157"/>
                <a:gd name="T3" fmla="*/ 33 h 33"/>
                <a:gd name="T4" fmla="*/ 149 w 157"/>
                <a:gd name="T5" fmla="*/ 33 h 33"/>
                <a:gd name="T6" fmla="*/ 157 w 157"/>
                <a:gd name="T7" fmla="*/ 25 h 33"/>
                <a:gd name="T8" fmla="*/ 157 w 157"/>
                <a:gd name="T9" fmla="*/ 8 h 33"/>
                <a:gd name="T10" fmla="*/ 149 w 157"/>
                <a:gd name="T11" fmla="*/ 0 h 33"/>
                <a:gd name="T12" fmla="*/ 8 w 157"/>
                <a:gd name="T13" fmla="*/ 0 h 33"/>
                <a:gd name="T14" fmla="*/ 0 w 157"/>
                <a:gd name="T15" fmla="*/ 8 h 33"/>
                <a:gd name="T16" fmla="*/ 0 w 157"/>
                <a:gd name="T1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33">
                  <a:moveTo>
                    <a:pt x="0" y="25"/>
                  </a:moveTo>
                  <a:cubicBezTo>
                    <a:pt x="0" y="29"/>
                    <a:pt x="4" y="33"/>
                    <a:pt x="8" y="33"/>
                  </a:cubicBezTo>
                  <a:cubicBezTo>
                    <a:pt x="149" y="33"/>
                    <a:pt x="149" y="33"/>
                    <a:pt x="149" y="33"/>
                  </a:cubicBezTo>
                  <a:cubicBezTo>
                    <a:pt x="154" y="33"/>
                    <a:pt x="157" y="29"/>
                    <a:pt x="157" y="25"/>
                  </a:cubicBezTo>
                  <a:cubicBezTo>
                    <a:pt x="157" y="8"/>
                    <a:pt x="157" y="8"/>
                    <a:pt x="157" y="8"/>
                  </a:cubicBezTo>
                  <a:cubicBezTo>
                    <a:pt x="157" y="3"/>
                    <a:pt x="154" y="0"/>
                    <a:pt x="149" y="0"/>
                  </a:cubicBezTo>
                  <a:cubicBezTo>
                    <a:pt x="8" y="0"/>
                    <a:pt x="8" y="0"/>
                    <a:pt x="8" y="0"/>
                  </a:cubicBezTo>
                  <a:cubicBezTo>
                    <a:pt x="4" y="0"/>
                    <a:pt x="0" y="3"/>
                    <a:pt x="0" y="8"/>
                  </a:cubicBezTo>
                  <a:lnTo>
                    <a:pt x="0" y="25"/>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8" name="Freeform 193"/>
            <p:cNvSpPr>
              <a:spLocks/>
            </p:cNvSpPr>
            <p:nvPr/>
          </p:nvSpPr>
          <p:spPr bwMode="auto">
            <a:xfrm>
              <a:off x="971550" y="2741613"/>
              <a:ext cx="158750" cy="82550"/>
            </a:xfrm>
            <a:custGeom>
              <a:avLst/>
              <a:gdLst>
                <a:gd name="T0" fmla="*/ 45 w 103"/>
                <a:gd name="T1" fmla="*/ 0 h 54"/>
                <a:gd name="T2" fmla="*/ 103 w 103"/>
                <a:gd name="T3" fmla="*/ 54 h 54"/>
                <a:gd name="T4" fmla="*/ 45 w 103"/>
                <a:gd name="T5" fmla="*/ 54 h 54"/>
                <a:gd name="T6" fmla="*/ 0 w 103"/>
                <a:gd name="T7" fmla="*/ 54 h 54"/>
                <a:gd name="T8" fmla="*/ 0 w 103"/>
                <a:gd name="T9" fmla="*/ 0 h 54"/>
                <a:gd name="T10" fmla="*/ 45 w 103"/>
                <a:gd name="T11" fmla="*/ 0 h 54"/>
              </a:gdLst>
              <a:ahLst/>
              <a:cxnLst>
                <a:cxn ang="0">
                  <a:pos x="T0" y="T1"/>
                </a:cxn>
                <a:cxn ang="0">
                  <a:pos x="T2" y="T3"/>
                </a:cxn>
                <a:cxn ang="0">
                  <a:pos x="T4" y="T5"/>
                </a:cxn>
                <a:cxn ang="0">
                  <a:pos x="T6" y="T7"/>
                </a:cxn>
                <a:cxn ang="0">
                  <a:pos x="T8" y="T9"/>
                </a:cxn>
                <a:cxn ang="0">
                  <a:pos x="T10" y="T11"/>
                </a:cxn>
              </a:cxnLst>
              <a:rect l="0" t="0" r="r" b="b"/>
              <a:pathLst>
                <a:path w="103" h="54">
                  <a:moveTo>
                    <a:pt x="45" y="0"/>
                  </a:moveTo>
                  <a:cubicBezTo>
                    <a:pt x="75" y="0"/>
                    <a:pt x="101" y="24"/>
                    <a:pt x="103" y="54"/>
                  </a:cubicBezTo>
                  <a:cubicBezTo>
                    <a:pt x="45" y="54"/>
                    <a:pt x="45" y="54"/>
                    <a:pt x="45" y="54"/>
                  </a:cubicBezTo>
                  <a:cubicBezTo>
                    <a:pt x="0" y="54"/>
                    <a:pt x="0" y="54"/>
                    <a:pt x="0" y="54"/>
                  </a:cubicBezTo>
                  <a:cubicBezTo>
                    <a:pt x="0" y="0"/>
                    <a:pt x="0" y="0"/>
                    <a:pt x="0" y="0"/>
                  </a:cubicBezTo>
                  <a:lnTo>
                    <a:pt x="45"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9" name="Freeform 194"/>
            <p:cNvSpPr>
              <a:spLocks/>
            </p:cNvSpPr>
            <p:nvPr/>
          </p:nvSpPr>
          <p:spPr bwMode="auto">
            <a:xfrm>
              <a:off x="774700" y="2133601"/>
              <a:ext cx="266700" cy="244475"/>
            </a:xfrm>
            <a:custGeom>
              <a:avLst/>
              <a:gdLst>
                <a:gd name="T0" fmla="*/ 0 w 168"/>
                <a:gd name="T1" fmla="*/ 0 h 154"/>
                <a:gd name="T2" fmla="*/ 168 w 168"/>
                <a:gd name="T3" fmla="*/ 0 h 154"/>
                <a:gd name="T4" fmla="*/ 168 w 168"/>
                <a:gd name="T5" fmla="*/ 154 h 154"/>
                <a:gd name="T6" fmla="*/ 124 w 168"/>
                <a:gd name="T7" fmla="*/ 154 h 154"/>
                <a:gd name="T8" fmla="*/ 124 w 168"/>
                <a:gd name="T9" fmla="*/ 55 h 154"/>
                <a:gd name="T10" fmla="*/ 44 w 168"/>
                <a:gd name="T11" fmla="*/ 55 h 154"/>
                <a:gd name="T12" fmla="*/ 44 w 168"/>
                <a:gd name="T13" fmla="*/ 154 h 154"/>
                <a:gd name="T14" fmla="*/ 1 w 168"/>
                <a:gd name="T15" fmla="*/ 154 h 154"/>
                <a:gd name="T16" fmla="*/ 0 w 16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54">
                  <a:moveTo>
                    <a:pt x="0" y="0"/>
                  </a:moveTo>
                  <a:lnTo>
                    <a:pt x="168" y="0"/>
                  </a:lnTo>
                  <a:lnTo>
                    <a:pt x="168" y="154"/>
                  </a:lnTo>
                  <a:lnTo>
                    <a:pt x="124" y="154"/>
                  </a:lnTo>
                  <a:lnTo>
                    <a:pt x="124" y="55"/>
                  </a:lnTo>
                  <a:lnTo>
                    <a:pt x="44" y="55"/>
                  </a:lnTo>
                  <a:lnTo>
                    <a:pt x="44" y="154"/>
                  </a:lnTo>
                  <a:lnTo>
                    <a:pt x="1" y="15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0" name="Freeform 195"/>
            <p:cNvSpPr>
              <a:spLocks/>
            </p:cNvSpPr>
            <p:nvPr/>
          </p:nvSpPr>
          <p:spPr bwMode="auto">
            <a:xfrm>
              <a:off x="774700" y="2741613"/>
              <a:ext cx="160338" cy="82550"/>
            </a:xfrm>
            <a:custGeom>
              <a:avLst/>
              <a:gdLst>
                <a:gd name="T0" fmla="*/ 45 w 104"/>
                <a:gd name="T1" fmla="*/ 0 h 54"/>
                <a:gd name="T2" fmla="*/ 104 w 104"/>
                <a:gd name="T3" fmla="*/ 54 h 54"/>
                <a:gd name="T4" fmla="*/ 45 w 104"/>
                <a:gd name="T5" fmla="*/ 54 h 54"/>
                <a:gd name="T6" fmla="*/ 0 w 104"/>
                <a:gd name="T7" fmla="*/ 54 h 54"/>
                <a:gd name="T8" fmla="*/ 0 w 104"/>
                <a:gd name="T9" fmla="*/ 0 h 54"/>
                <a:gd name="T10" fmla="*/ 45 w 104"/>
                <a:gd name="T11" fmla="*/ 0 h 54"/>
              </a:gdLst>
              <a:ahLst/>
              <a:cxnLst>
                <a:cxn ang="0">
                  <a:pos x="T0" y="T1"/>
                </a:cxn>
                <a:cxn ang="0">
                  <a:pos x="T2" y="T3"/>
                </a:cxn>
                <a:cxn ang="0">
                  <a:pos x="T4" y="T5"/>
                </a:cxn>
                <a:cxn ang="0">
                  <a:pos x="T6" y="T7"/>
                </a:cxn>
                <a:cxn ang="0">
                  <a:pos x="T8" y="T9"/>
                </a:cxn>
                <a:cxn ang="0">
                  <a:pos x="T10" y="T11"/>
                </a:cxn>
              </a:cxnLst>
              <a:rect l="0" t="0" r="r" b="b"/>
              <a:pathLst>
                <a:path w="104" h="54">
                  <a:moveTo>
                    <a:pt x="45" y="0"/>
                  </a:moveTo>
                  <a:cubicBezTo>
                    <a:pt x="76" y="0"/>
                    <a:pt x="101" y="24"/>
                    <a:pt x="104" y="54"/>
                  </a:cubicBezTo>
                  <a:cubicBezTo>
                    <a:pt x="45" y="54"/>
                    <a:pt x="45" y="54"/>
                    <a:pt x="45" y="54"/>
                  </a:cubicBezTo>
                  <a:cubicBezTo>
                    <a:pt x="0" y="54"/>
                    <a:pt x="0" y="54"/>
                    <a:pt x="0" y="54"/>
                  </a:cubicBezTo>
                  <a:cubicBezTo>
                    <a:pt x="0" y="0"/>
                    <a:pt x="0" y="0"/>
                    <a:pt x="0" y="0"/>
                  </a:cubicBezTo>
                  <a:lnTo>
                    <a:pt x="45"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1" name="Rectangle 196"/>
            <p:cNvSpPr>
              <a:spLocks noChangeArrowheads="1"/>
            </p:cNvSpPr>
            <p:nvPr/>
          </p:nvSpPr>
          <p:spPr bwMode="auto">
            <a:xfrm>
              <a:off x="692150" y="1751013"/>
              <a:ext cx="71438" cy="463550"/>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2" name="Freeform 197"/>
            <p:cNvSpPr>
              <a:spLocks/>
            </p:cNvSpPr>
            <p:nvPr/>
          </p:nvSpPr>
          <p:spPr bwMode="auto">
            <a:xfrm>
              <a:off x="692150" y="2143126"/>
              <a:ext cx="71438" cy="139700"/>
            </a:xfrm>
            <a:custGeom>
              <a:avLst/>
              <a:gdLst>
                <a:gd name="T0" fmla="*/ 46 w 46"/>
                <a:gd name="T1" fmla="*/ 0 h 92"/>
                <a:gd name="T2" fmla="*/ 46 w 46"/>
                <a:gd name="T3" fmla="*/ 92 h 92"/>
                <a:gd name="T4" fmla="*/ 0 w 46"/>
                <a:gd name="T5" fmla="*/ 46 h 92"/>
                <a:gd name="T6" fmla="*/ 46 w 46"/>
                <a:gd name="T7" fmla="*/ 0 h 92"/>
              </a:gdLst>
              <a:ahLst/>
              <a:cxnLst>
                <a:cxn ang="0">
                  <a:pos x="T0" y="T1"/>
                </a:cxn>
                <a:cxn ang="0">
                  <a:pos x="T2" y="T3"/>
                </a:cxn>
                <a:cxn ang="0">
                  <a:pos x="T4" y="T5"/>
                </a:cxn>
                <a:cxn ang="0">
                  <a:pos x="T6" y="T7"/>
                </a:cxn>
              </a:cxnLst>
              <a:rect l="0" t="0" r="r" b="b"/>
              <a:pathLst>
                <a:path w="46" h="92">
                  <a:moveTo>
                    <a:pt x="46" y="0"/>
                  </a:moveTo>
                  <a:cubicBezTo>
                    <a:pt x="46" y="92"/>
                    <a:pt x="46" y="92"/>
                    <a:pt x="46" y="92"/>
                  </a:cubicBezTo>
                  <a:cubicBezTo>
                    <a:pt x="21" y="92"/>
                    <a:pt x="0" y="71"/>
                    <a:pt x="0" y="46"/>
                  </a:cubicBezTo>
                  <a:cubicBezTo>
                    <a:pt x="0" y="21"/>
                    <a:pt x="21" y="0"/>
                    <a:pt x="46"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3" name="Freeform 198"/>
            <p:cNvSpPr>
              <a:spLocks/>
            </p:cNvSpPr>
            <p:nvPr/>
          </p:nvSpPr>
          <p:spPr bwMode="auto">
            <a:xfrm>
              <a:off x="865188" y="1565276"/>
              <a:ext cx="85725" cy="166688"/>
            </a:xfrm>
            <a:custGeom>
              <a:avLst/>
              <a:gdLst>
                <a:gd name="T0" fmla="*/ 27 w 54"/>
                <a:gd name="T1" fmla="*/ 105 h 105"/>
                <a:gd name="T2" fmla="*/ 54 w 54"/>
                <a:gd name="T3" fmla="*/ 100 h 105"/>
                <a:gd name="T4" fmla="*/ 54 w 54"/>
                <a:gd name="T5" fmla="*/ 0 h 105"/>
                <a:gd name="T6" fmla="*/ 0 w 54"/>
                <a:gd name="T7" fmla="*/ 0 h 105"/>
                <a:gd name="T8" fmla="*/ 0 w 54"/>
                <a:gd name="T9" fmla="*/ 105 h 105"/>
                <a:gd name="T10" fmla="*/ 27 w 54"/>
                <a:gd name="T11" fmla="*/ 105 h 105"/>
              </a:gdLst>
              <a:ahLst/>
              <a:cxnLst>
                <a:cxn ang="0">
                  <a:pos x="T0" y="T1"/>
                </a:cxn>
                <a:cxn ang="0">
                  <a:pos x="T2" y="T3"/>
                </a:cxn>
                <a:cxn ang="0">
                  <a:pos x="T4" y="T5"/>
                </a:cxn>
                <a:cxn ang="0">
                  <a:pos x="T6" y="T7"/>
                </a:cxn>
                <a:cxn ang="0">
                  <a:pos x="T8" y="T9"/>
                </a:cxn>
                <a:cxn ang="0">
                  <a:pos x="T10" y="T11"/>
                </a:cxn>
              </a:cxnLst>
              <a:rect l="0" t="0" r="r" b="b"/>
              <a:pathLst>
                <a:path w="54" h="105">
                  <a:moveTo>
                    <a:pt x="27" y="105"/>
                  </a:moveTo>
                  <a:lnTo>
                    <a:pt x="54" y="100"/>
                  </a:lnTo>
                  <a:lnTo>
                    <a:pt x="54" y="0"/>
                  </a:lnTo>
                  <a:lnTo>
                    <a:pt x="0" y="0"/>
                  </a:lnTo>
                  <a:lnTo>
                    <a:pt x="0" y="105"/>
                  </a:lnTo>
                  <a:lnTo>
                    <a:pt x="27" y="105"/>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4" name="Freeform 199"/>
            <p:cNvSpPr>
              <a:spLocks/>
            </p:cNvSpPr>
            <p:nvPr/>
          </p:nvSpPr>
          <p:spPr bwMode="auto">
            <a:xfrm>
              <a:off x="865188" y="1565276"/>
              <a:ext cx="85725" cy="71438"/>
            </a:xfrm>
            <a:custGeom>
              <a:avLst/>
              <a:gdLst>
                <a:gd name="T0" fmla="*/ 55 w 55"/>
                <a:gd name="T1" fmla="*/ 44 h 47"/>
                <a:gd name="T2" fmla="*/ 28 w 55"/>
                <a:gd name="T3" fmla="*/ 47 h 47"/>
                <a:gd name="T4" fmla="*/ 0 w 55"/>
                <a:gd name="T5" fmla="*/ 44 h 47"/>
                <a:gd name="T6" fmla="*/ 0 w 55"/>
                <a:gd name="T7" fmla="*/ 0 h 47"/>
                <a:gd name="T8" fmla="*/ 55 w 55"/>
                <a:gd name="T9" fmla="*/ 0 h 47"/>
                <a:gd name="T10" fmla="*/ 55 w 55"/>
                <a:gd name="T11" fmla="*/ 44 h 47"/>
              </a:gdLst>
              <a:ahLst/>
              <a:cxnLst>
                <a:cxn ang="0">
                  <a:pos x="T0" y="T1"/>
                </a:cxn>
                <a:cxn ang="0">
                  <a:pos x="T2" y="T3"/>
                </a:cxn>
                <a:cxn ang="0">
                  <a:pos x="T4" y="T5"/>
                </a:cxn>
                <a:cxn ang="0">
                  <a:pos x="T6" y="T7"/>
                </a:cxn>
                <a:cxn ang="0">
                  <a:pos x="T8" y="T9"/>
                </a:cxn>
                <a:cxn ang="0">
                  <a:pos x="T10" y="T11"/>
                </a:cxn>
              </a:cxnLst>
              <a:rect l="0" t="0" r="r" b="b"/>
              <a:pathLst>
                <a:path w="55" h="47">
                  <a:moveTo>
                    <a:pt x="55" y="44"/>
                  </a:moveTo>
                  <a:cubicBezTo>
                    <a:pt x="46" y="46"/>
                    <a:pt x="37" y="47"/>
                    <a:pt x="28" y="47"/>
                  </a:cubicBezTo>
                  <a:cubicBezTo>
                    <a:pt x="18" y="47"/>
                    <a:pt x="9" y="46"/>
                    <a:pt x="0" y="44"/>
                  </a:cubicBezTo>
                  <a:cubicBezTo>
                    <a:pt x="0" y="0"/>
                    <a:pt x="0" y="0"/>
                    <a:pt x="0" y="0"/>
                  </a:cubicBezTo>
                  <a:cubicBezTo>
                    <a:pt x="55" y="0"/>
                    <a:pt x="55" y="0"/>
                    <a:pt x="55" y="0"/>
                  </a:cubicBezTo>
                  <a:lnTo>
                    <a:pt x="55" y="44"/>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5" name="Freeform 200"/>
            <p:cNvSpPr>
              <a:spLocks/>
            </p:cNvSpPr>
            <p:nvPr/>
          </p:nvSpPr>
          <p:spPr bwMode="auto">
            <a:xfrm>
              <a:off x="809625" y="1333501"/>
              <a:ext cx="196850" cy="134938"/>
            </a:xfrm>
            <a:custGeom>
              <a:avLst/>
              <a:gdLst>
                <a:gd name="T0" fmla="*/ 64 w 129"/>
                <a:gd name="T1" fmla="*/ 0 h 88"/>
                <a:gd name="T2" fmla="*/ 129 w 129"/>
                <a:gd name="T3" fmla="*/ 64 h 88"/>
                <a:gd name="T4" fmla="*/ 129 w 129"/>
                <a:gd name="T5" fmla="*/ 88 h 88"/>
                <a:gd name="T6" fmla="*/ 0 w 129"/>
                <a:gd name="T7" fmla="*/ 88 h 88"/>
                <a:gd name="T8" fmla="*/ 0 w 129"/>
                <a:gd name="T9" fmla="*/ 64 h 88"/>
                <a:gd name="T10" fmla="*/ 64 w 129"/>
                <a:gd name="T11" fmla="*/ 0 h 88"/>
              </a:gdLst>
              <a:ahLst/>
              <a:cxnLst>
                <a:cxn ang="0">
                  <a:pos x="T0" y="T1"/>
                </a:cxn>
                <a:cxn ang="0">
                  <a:pos x="T2" y="T3"/>
                </a:cxn>
                <a:cxn ang="0">
                  <a:pos x="T4" y="T5"/>
                </a:cxn>
                <a:cxn ang="0">
                  <a:pos x="T6" y="T7"/>
                </a:cxn>
                <a:cxn ang="0">
                  <a:pos x="T8" y="T9"/>
                </a:cxn>
                <a:cxn ang="0">
                  <a:pos x="T10" y="T11"/>
                </a:cxn>
              </a:cxnLst>
              <a:rect l="0" t="0" r="r" b="b"/>
              <a:pathLst>
                <a:path w="129" h="88">
                  <a:moveTo>
                    <a:pt x="64" y="0"/>
                  </a:moveTo>
                  <a:cubicBezTo>
                    <a:pt x="100" y="0"/>
                    <a:pt x="129" y="28"/>
                    <a:pt x="129" y="64"/>
                  </a:cubicBezTo>
                  <a:cubicBezTo>
                    <a:pt x="129" y="88"/>
                    <a:pt x="129" y="88"/>
                    <a:pt x="129" y="88"/>
                  </a:cubicBezTo>
                  <a:cubicBezTo>
                    <a:pt x="0" y="88"/>
                    <a:pt x="0" y="88"/>
                    <a:pt x="0" y="88"/>
                  </a:cubicBezTo>
                  <a:cubicBezTo>
                    <a:pt x="0" y="64"/>
                    <a:pt x="0" y="64"/>
                    <a:pt x="0" y="64"/>
                  </a:cubicBezTo>
                  <a:cubicBezTo>
                    <a:pt x="0" y="28"/>
                    <a:pt x="29" y="0"/>
                    <a:pt x="6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6" name="Freeform 201"/>
            <p:cNvSpPr>
              <a:spLocks/>
            </p:cNvSpPr>
            <p:nvPr/>
          </p:nvSpPr>
          <p:spPr bwMode="auto">
            <a:xfrm>
              <a:off x="809625" y="1435101"/>
              <a:ext cx="196850" cy="185738"/>
            </a:xfrm>
            <a:custGeom>
              <a:avLst/>
              <a:gdLst>
                <a:gd name="T0" fmla="*/ 129 w 129"/>
                <a:gd name="T1" fmla="*/ 0 h 122"/>
                <a:gd name="T2" fmla="*/ 129 w 129"/>
                <a:gd name="T3" fmla="*/ 101 h 122"/>
                <a:gd name="T4" fmla="*/ 65 w 129"/>
                <a:gd name="T5" fmla="*/ 122 h 122"/>
                <a:gd name="T6" fmla="*/ 0 w 129"/>
                <a:gd name="T7" fmla="*/ 101 h 122"/>
                <a:gd name="T8" fmla="*/ 0 w 129"/>
                <a:gd name="T9" fmla="*/ 0 h 122"/>
                <a:gd name="T10" fmla="*/ 129 w 129"/>
                <a:gd name="T11" fmla="*/ 0 h 122"/>
              </a:gdLst>
              <a:ahLst/>
              <a:cxnLst>
                <a:cxn ang="0">
                  <a:pos x="T0" y="T1"/>
                </a:cxn>
                <a:cxn ang="0">
                  <a:pos x="T2" y="T3"/>
                </a:cxn>
                <a:cxn ang="0">
                  <a:pos x="T4" y="T5"/>
                </a:cxn>
                <a:cxn ang="0">
                  <a:pos x="T6" y="T7"/>
                </a:cxn>
                <a:cxn ang="0">
                  <a:pos x="T8" y="T9"/>
                </a:cxn>
                <a:cxn ang="0">
                  <a:pos x="T10" y="T11"/>
                </a:cxn>
              </a:cxnLst>
              <a:rect l="0" t="0" r="r" b="b"/>
              <a:pathLst>
                <a:path w="129" h="122">
                  <a:moveTo>
                    <a:pt x="129" y="0"/>
                  </a:moveTo>
                  <a:cubicBezTo>
                    <a:pt x="129" y="101"/>
                    <a:pt x="129" y="101"/>
                    <a:pt x="129" y="101"/>
                  </a:cubicBezTo>
                  <a:cubicBezTo>
                    <a:pt x="111" y="114"/>
                    <a:pt x="89" y="122"/>
                    <a:pt x="65" y="122"/>
                  </a:cubicBezTo>
                  <a:cubicBezTo>
                    <a:pt x="30" y="122"/>
                    <a:pt x="0" y="101"/>
                    <a:pt x="0" y="101"/>
                  </a:cubicBezTo>
                  <a:cubicBezTo>
                    <a:pt x="0" y="0"/>
                    <a:pt x="0" y="0"/>
                    <a:pt x="0" y="0"/>
                  </a:cubicBezTo>
                  <a:lnTo>
                    <a:pt x="129"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7" name="Freeform 202"/>
            <p:cNvSpPr>
              <a:spLocks/>
            </p:cNvSpPr>
            <p:nvPr/>
          </p:nvSpPr>
          <p:spPr bwMode="auto">
            <a:xfrm>
              <a:off x="1190625" y="1724026"/>
              <a:ext cx="71438" cy="142875"/>
            </a:xfrm>
            <a:custGeom>
              <a:avLst/>
              <a:gdLst>
                <a:gd name="T0" fmla="*/ 0 w 47"/>
                <a:gd name="T1" fmla="*/ 94 h 94"/>
                <a:gd name="T2" fmla="*/ 0 w 47"/>
                <a:gd name="T3" fmla="*/ 0 h 94"/>
                <a:gd name="T4" fmla="*/ 47 w 47"/>
                <a:gd name="T5" fmla="*/ 47 h 94"/>
                <a:gd name="T6" fmla="*/ 0 w 47"/>
                <a:gd name="T7" fmla="*/ 94 h 94"/>
              </a:gdLst>
              <a:ahLst/>
              <a:cxnLst>
                <a:cxn ang="0">
                  <a:pos x="T0" y="T1"/>
                </a:cxn>
                <a:cxn ang="0">
                  <a:pos x="T2" y="T3"/>
                </a:cxn>
                <a:cxn ang="0">
                  <a:pos x="T4" y="T5"/>
                </a:cxn>
                <a:cxn ang="0">
                  <a:pos x="T6" y="T7"/>
                </a:cxn>
              </a:cxnLst>
              <a:rect l="0" t="0" r="r" b="b"/>
              <a:pathLst>
                <a:path w="47" h="94">
                  <a:moveTo>
                    <a:pt x="0" y="94"/>
                  </a:moveTo>
                  <a:cubicBezTo>
                    <a:pt x="0" y="0"/>
                    <a:pt x="0" y="0"/>
                    <a:pt x="0" y="0"/>
                  </a:cubicBezTo>
                  <a:cubicBezTo>
                    <a:pt x="26" y="0"/>
                    <a:pt x="47" y="21"/>
                    <a:pt x="47" y="47"/>
                  </a:cubicBezTo>
                  <a:cubicBezTo>
                    <a:pt x="47" y="73"/>
                    <a:pt x="26" y="94"/>
                    <a:pt x="0" y="94"/>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8" name="Freeform 203"/>
            <p:cNvSpPr>
              <a:spLocks/>
            </p:cNvSpPr>
            <p:nvPr/>
          </p:nvSpPr>
          <p:spPr bwMode="auto">
            <a:xfrm>
              <a:off x="1012825" y="1660526"/>
              <a:ext cx="192088" cy="192088"/>
            </a:xfrm>
            <a:custGeom>
              <a:avLst/>
              <a:gdLst>
                <a:gd name="T0" fmla="*/ 42 w 125"/>
                <a:gd name="T1" fmla="*/ 9 h 125"/>
                <a:gd name="T2" fmla="*/ 9 w 125"/>
                <a:gd name="T3" fmla="*/ 9 h 125"/>
                <a:gd name="T4" fmla="*/ 9 w 125"/>
                <a:gd name="T5" fmla="*/ 42 h 125"/>
                <a:gd name="T6" fmla="*/ 92 w 125"/>
                <a:gd name="T7" fmla="*/ 125 h 125"/>
                <a:gd name="T8" fmla="*/ 125 w 125"/>
                <a:gd name="T9" fmla="*/ 92 h 125"/>
                <a:gd name="T10" fmla="*/ 42 w 125"/>
                <a:gd name="T11" fmla="*/ 9 h 125"/>
              </a:gdLst>
              <a:ahLst/>
              <a:cxnLst>
                <a:cxn ang="0">
                  <a:pos x="T0" y="T1"/>
                </a:cxn>
                <a:cxn ang="0">
                  <a:pos x="T2" y="T3"/>
                </a:cxn>
                <a:cxn ang="0">
                  <a:pos x="T4" y="T5"/>
                </a:cxn>
                <a:cxn ang="0">
                  <a:pos x="T6" y="T7"/>
                </a:cxn>
                <a:cxn ang="0">
                  <a:pos x="T8" y="T9"/>
                </a:cxn>
                <a:cxn ang="0">
                  <a:pos x="T10" y="T11"/>
                </a:cxn>
              </a:cxnLst>
              <a:rect l="0" t="0" r="r" b="b"/>
              <a:pathLst>
                <a:path w="125" h="125">
                  <a:moveTo>
                    <a:pt x="42" y="9"/>
                  </a:moveTo>
                  <a:cubicBezTo>
                    <a:pt x="33" y="0"/>
                    <a:pt x="18" y="0"/>
                    <a:pt x="9" y="9"/>
                  </a:cubicBezTo>
                  <a:cubicBezTo>
                    <a:pt x="0" y="18"/>
                    <a:pt x="0" y="33"/>
                    <a:pt x="9" y="42"/>
                  </a:cubicBezTo>
                  <a:cubicBezTo>
                    <a:pt x="92" y="125"/>
                    <a:pt x="92" y="125"/>
                    <a:pt x="92" y="125"/>
                  </a:cubicBezTo>
                  <a:cubicBezTo>
                    <a:pt x="125" y="92"/>
                    <a:pt x="125" y="92"/>
                    <a:pt x="125" y="92"/>
                  </a:cubicBezTo>
                  <a:lnTo>
                    <a:pt x="42" y="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9" name="Freeform 204"/>
            <p:cNvSpPr>
              <a:spLocks/>
            </p:cNvSpPr>
            <p:nvPr/>
          </p:nvSpPr>
          <p:spPr bwMode="auto">
            <a:xfrm>
              <a:off x="1135063" y="1703388"/>
              <a:ext cx="90488" cy="184150"/>
            </a:xfrm>
            <a:custGeom>
              <a:avLst/>
              <a:gdLst>
                <a:gd name="T0" fmla="*/ 59 w 59"/>
                <a:gd name="T1" fmla="*/ 117 h 120"/>
                <a:gd name="T2" fmla="*/ 57 w 59"/>
                <a:gd name="T3" fmla="*/ 120 h 120"/>
                <a:gd name="T4" fmla="*/ 2 w 59"/>
                <a:gd name="T5" fmla="*/ 120 h 120"/>
                <a:gd name="T6" fmla="*/ 0 w 59"/>
                <a:gd name="T7" fmla="*/ 117 h 120"/>
                <a:gd name="T8" fmla="*/ 0 w 59"/>
                <a:gd name="T9" fmla="*/ 2 h 120"/>
                <a:gd name="T10" fmla="*/ 2 w 59"/>
                <a:gd name="T11" fmla="*/ 0 h 120"/>
                <a:gd name="T12" fmla="*/ 57 w 59"/>
                <a:gd name="T13" fmla="*/ 0 h 120"/>
                <a:gd name="T14" fmla="*/ 59 w 59"/>
                <a:gd name="T15" fmla="*/ 2 h 120"/>
                <a:gd name="T16" fmla="*/ 59 w 59"/>
                <a:gd name="T17"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0">
                  <a:moveTo>
                    <a:pt x="59" y="117"/>
                  </a:moveTo>
                  <a:cubicBezTo>
                    <a:pt x="59" y="119"/>
                    <a:pt x="58" y="120"/>
                    <a:pt x="57" y="120"/>
                  </a:cubicBezTo>
                  <a:cubicBezTo>
                    <a:pt x="2" y="120"/>
                    <a:pt x="2" y="120"/>
                    <a:pt x="2" y="120"/>
                  </a:cubicBezTo>
                  <a:cubicBezTo>
                    <a:pt x="1" y="120"/>
                    <a:pt x="0" y="119"/>
                    <a:pt x="0" y="117"/>
                  </a:cubicBezTo>
                  <a:cubicBezTo>
                    <a:pt x="0" y="2"/>
                    <a:pt x="0" y="2"/>
                    <a:pt x="0" y="2"/>
                  </a:cubicBezTo>
                  <a:cubicBezTo>
                    <a:pt x="0" y="1"/>
                    <a:pt x="1" y="0"/>
                    <a:pt x="2" y="0"/>
                  </a:cubicBezTo>
                  <a:cubicBezTo>
                    <a:pt x="57" y="0"/>
                    <a:pt x="57" y="0"/>
                    <a:pt x="57" y="0"/>
                  </a:cubicBezTo>
                  <a:cubicBezTo>
                    <a:pt x="58" y="0"/>
                    <a:pt x="59" y="1"/>
                    <a:pt x="59" y="2"/>
                  </a:cubicBezTo>
                  <a:lnTo>
                    <a:pt x="59" y="1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0" name="Rectangle 205"/>
            <p:cNvSpPr>
              <a:spLocks noChangeArrowheads="1"/>
            </p:cNvSpPr>
            <p:nvPr/>
          </p:nvSpPr>
          <p:spPr bwMode="auto">
            <a:xfrm>
              <a:off x="1143000" y="1741488"/>
              <a:ext cx="15875"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1" name="Rectangle 206"/>
            <p:cNvSpPr>
              <a:spLocks noChangeArrowheads="1"/>
            </p:cNvSpPr>
            <p:nvPr/>
          </p:nvSpPr>
          <p:spPr bwMode="auto">
            <a:xfrm>
              <a:off x="1160463" y="1741488"/>
              <a:ext cx="19050"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2" name="Rectangle 207"/>
            <p:cNvSpPr>
              <a:spLocks noChangeArrowheads="1"/>
            </p:cNvSpPr>
            <p:nvPr/>
          </p:nvSpPr>
          <p:spPr bwMode="auto">
            <a:xfrm>
              <a:off x="1181100" y="1741488"/>
              <a:ext cx="15875"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3" name="Rectangle 208"/>
            <p:cNvSpPr>
              <a:spLocks noChangeArrowheads="1"/>
            </p:cNvSpPr>
            <p:nvPr/>
          </p:nvSpPr>
          <p:spPr bwMode="auto">
            <a:xfrm>
              <a:off x="1200150" y="1741488"/>
              <a:ext cx="17463"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4" name="Rectangle 209"/>
            <p:cNvSpPr>
              <a:spLocks noChangeArrowheads="1"/>
            </p:cNvSpPr>
            <p:nvPr/>
          </p:nvSpPr>
          <p:spPr bwMode="auto">
            <a:xfrm>
              <a:off x="1143000" y="1797051"/>
              <a:ext cx="36513" cy="365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5" name="Rectangle 210"/>
            <p:cNvSpPr>
              <a:spLocks noChangeArrowheads="1"/>
            </p:cNvSpPr>
            <p:nvPr/>
          </p:nvSpPr>
          <p:spPr bwMode="auto">
            <a:xfrm>
              <a:off x="1143000" y="1836738"/>
              <a:ext cx="74613" cy="269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6" name="Rectangle 211"/>
            <p:cNvSpPr>
              <a:spLocks noChangeArrowheads="1"/>
            </p:cNvSpPr>
            <p:nvPr/>
          </p:nvSpPr>
          <p:spPr bwMode="auto">
            <a:xfrm>
              <a:off x="1181100" y="1797051"/>
              <a:ext cx="1587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7" name="Rectangle 212"/>
            <p:cNvSpPr>
              <a:spLocks noChangeArrowheads="1"/>
            </p:cNvSpPr>
            <p:nvPr/>
          </p:nvSpPr>
          <p:spPr bwMode="auto">
            <a:xfrm>
              <a:off x="1200150" y="1797051"/>
              <a:ext cx="17463" cy="19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8" name="Rectangle 213"/>
            <p:cNvSpPr>
              <a:spLocks noChangeArrowheads="1"/>
            </p:cNvSpPr>
            <p:nvPr/>
          </p:nvSpPr>
          <p:spPr bwMode="auto">
            <a:xfrm>
              <a:off x="1181100" y="1817688"/>
              <a:ext cx="1587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9" name="Rectangle 214"/>
            <p:cNvSpPr>
              <a:spLocks noChangeArrowheads="1"/>
            </p:cNvSpPr>
            <p:nvPr/>
          </p:nvSpPr>
          <p:spPr bwMode="auto">
            <a:xfrm>
              <a:off x="1200150" y="1817688"/>
              <a:ext cx="17463"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0" name="Rectangle 215"/>
            <p:cNvSpPr>
              <a:spLocks noChangeArrowheads="1"/>
            </p:cNvSpPr>
            <p:nvPr/>
          </p:nvSpPr>
          <p:spPr bwMode="auto">
            <a:xfrm>
              <a:off x="1143000" y="1758951"/>
              <a:ext cx="15875" cy="1905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1" name="Rectangle 216"/>
            <p:cNvSpPr>
              <a:spLocks noChangeArrowheads="1"/>
            </p:cNvSpPr>
            <p:nvPr/>
          </p:nvSpPr>
          <p:spPr bwMode="auto">
            <a:xfrm>
              <a:off x="1160463" y="1758951"/>
              <a:ext cx="36513" cy="206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2" name="Rectangle 217"/>
            <p:cNvSpPr>
              <a:spLocks noChangeArrowheads="1"/>
            </p:cNvSpPr>
            <p:nvPr/>
          </p:nvSpPr>
          <p:spPr bwMode="auto">
            <a:xfrm>
              <a:off x="1200150" y="1758951"/>
              <a:ext cx="17463" cy="19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3" name="Rectangle 218"/>
            <p:cNvSpPr>
              <a:spLocks noChangeArrowheads="1"/>
            </p:cNvSpPr>
            <p:nvPr/>
          </p:nvSpPr>
          <p:spPr bwMode="auto">
            <a:xfrm>
              <a:off x="1143000" y="1779588"/>
              <a:ext cx="15875" cy="1587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4" name="Rectangle 219"/>
            <p:cNvSpPr>
              <a:spLocks noChangeArrowheads="1"/>
            </p:cNvSpPr>
            <p:nvPr/>
          </p:nvSpPr>
          <p:spPr bwMode="auto">
            <a:xfrm>
              <a:off x="1160463" y="1779588"/>
              <a:ext cx="36513" cy="15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5" name="Rectangle 220"/>
            <p:cNvSpPr>
              <a:spLocks noChangeArrowheads="1"/>
            </p:cNvSpPr>
            <p:nvPr/>
          </p:nvSpPr>
          <p:spPr bwMode="auto">
            <a:xfrm>
              <a:off x="1200150" y="1779588"/>
              <a:ext cx="17463" cy="15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6" name="Freeform 221"/>
            <p:cNvSpPr>
              <a:spLocks/>
            </p:cNvSpPr>
            <p:nvPr/>
          </p:nvSpPr>
          <p:spPr bwMode="auto">
            <a:xfrm>
              <a:off x="1147763" y="1873251"/>
              <a:ext cx="1588" cy="6350"/>
            </a:xfrm>
            <a:custGeom>
              <a:avLst/>
              <a:gdLst>
                <a:gd name="T0" fmla="*/ 1 w 1"/>
                <a:gd name="T1" fmla="*/ 4 h 4"/>
                <a:gd name="T2" fmla="*/ 0 w 1"/>
                <a:gd name="T3" fmla="*/ 2 h 4"/>
                <a:gd name="T4" fmla="*/ 1 w 1"/>
                <a:gd name="T5" fmla="*/ 0 h 4"/>
              </a:gdLst>
              <a:ahLst/>
              <a:cxnLst>
                <a:cxn ang="0">
                  <a:pos x="T0" y="T1"/>
                </a:cxn>
                <a:cxn ang="0">
                  <a:pos x="T2" y="T3"/>
                </a:cxn>
                <a:cxn ang="0">
                  <a:pos x="T4" y="T5"/>
                </a:cxn>
              </a:cxnLst>
              <a:rect l="0" t="0" r="r" b="b"/>
              <a:pathLst>
                <a:path w="1" h="4">
                  <a:moveTo>
                    <a:pt x="1" y="4"/>
                  </a:moveTo>
                  <a:lnTo>
                    <a:pt x="0" y="2"/>
                  </a:lnTo>
                  <a:lnTo>
                    <a:pt x="1" y="0"/>
                  </a:lnTo>
                </a:path>
              </a:pathLst>
            </a:custGeom>
            <a:noFill/>
            <a:ln w="1588"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7" name="Line 222"/>
            <p:cNvSpPr>
              <a:spLocks noChangeShapeType="1"/>
            </p:cNvSpPr>
            <p:nvPr/>
          </p:nvSpPr>
          <p:spPr bwMode="auto">
            <a:xfrm>
              <a:off x="1147763" y="1876426"/>
              <a:ext cx="4763" cy="0"/>
            </a:xfrm>
            <a:prstGeom prst="line">
              <a:avLst/>
            </a:prstGeom>
            <a:noFill/>
            <a:ln w="158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8" name="Oval 223"/>
            <p:cNvSpPr>
              <a:spLocks noChangeArrowheads="1"/>
            </p:cNvSpPr>
            <p:nvPr/>
          </p:nvSpPr>
          <p:spPr bwMode="auto">
            <a:xfrm>
              <a:off x="1206500" y="1873251"/>
              <a:ext cx="4763" cy="4763"/>
            </a:xfrm>
            <a:prstGeom prst="ellipse">
              <a:avLst/>
            </a:prstGeom>
            <a:noFill/>
            <a:ln w="1588"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9" name="Line 224"/>
            <p:cNvSpPr>
              <a:spLocks noChangeShapeType="1"/>
            </p:cNvSpPr>
            <p:nvPr/>
          </p:nvSpPr>
          <p:spPr bwMode="auto">
            <a:xfrm flipH="1">
              <a:off x="1206500" y="1878013"/>
              <a:ext cx="1588" cy="1588"/>
            </a:xfrm>
            <a:prstGeom prst="line">
              <a:avLst/>
            </a:prstGeom>
            <a:noFill/>
            <a:ln w="158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0" name="Freeform 225"/>
            <p:cNvSpPr>
              <a:spLocks/>
            </p:cNvSpPr>
            <p:nvPr/>
          </p:nvSpPr>
          <p:spPr bwMode="auto">
            <a:xfrm>
              <a:off x="1179513" y="1873251"/>
              <a:ext cx="3175" cy="3175"/>
            </a:xfrm>
            <a:custGeom>
              <a:avLst/>
              <a:gdLst>
                <a:gd name="T0" fmla="*/ 0 w 2"/>
                <a:gd name="T1" fmla="*/ 2 h 2"/>
                <a:gd name="T2" fmla="*/ 2 w 2"/>
                <a:gd name="T3" fmla="*/ 2 h 2"/>
                <a:gd name="T4" fmla="*/ 2 w 2"/>
                <a:gd name="T5" fmla="*/ 0 h 2"/>
                <a:gd name="T6" fmla="*/ 0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2"/>
                  </a:lnTo>
                  <a:lnTo>
                    <a:pt x="2" y="0"/>
                  </a:lnTo>
                  <a:lnTo>
                    <a:pt x="0" y="1"/>
                  </a:lnTo>
                  <a:lnTo>
                    <a:pt x="0"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1" name="Rectangle 226"/>
            <p:cNvSpPr>
              <a:spLocks noChangeArrowheads="1"/>
            </p:cNvSpPr>
            <p:nvPr/>
          </p:nvSpPr>
          <p:spPr bwMode="auto">
            <a:xfrm>
              <a:off x="1176338" y="1874838"/>
              <a:ext cx="3175" cy="1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2" name="Rectangle 227"/>
            <p:cNvSpPr>
              <a:spLocks noChangeArrowheads="1"/>
            </p:cNvSpPr>
            <p:nvPr/>
          </p:nvSpPr>
          <p:spPr bwMode="auto">
            <a:xfrm>
              <a:off x="1179513" y="1876426"/>
              <a:ext cx="3175" cy="31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3" name="Freeform 228"/>
            <p:cNvSpPr>
              <a:spLocks/>
            </p:cNvSpPr>
            <p:nvPr/>
          </p:nvSpPr>
          <p:spPr bwMode="auto">
            <a:xfrm>
              <a:off x="1176338" y="1876426"/>
              <a:ext cx="3175" cy="3175"/>
            </a:xfrm>
            <a:custGeom>
              <a:avLst/>
              <a:gdLst>
                <a:gd name="T0" fmla="*/ 2 w 2"/>
                <a:gd name="T1" fmla="*/ 0 h 2"/>
                <a:gd name="T2" fmla="*/ 0 w 2"/>
                <a:gd name="T3" fmla="*/ 0 h 2"/>
                <a:gd name="T4" fmla="*/ 0 w 2"/>
                <a:gd name="T5" fmla="*/ 1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1"/>
                  </a:lnTo>
                  <a:lnTo>
                    <a:pt x="2" y="2"/>
                  </a:lnTo>
                  <a:lnTo>
                    <a:pt x="2"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4" name="Rectangle 229"/>
            <p:cNvSpPr>
              <a:spLocks noChangeArrowheads="1"/>
            </p:cNvSpPr>
            <p:nvPr/>
          </p:nvSpPr>
          <p:spPr bwMode="auto">
            <a:xfrm>
              <a:off x="1220788" y="1839913"/>
              <a:ext cx="6350" cy="22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5" name="Freeform 230"/>
            <p:cNvSpPr>
              <a:spLocks/>
            </p:cNvSpPr>
            <p:nvPr/>
          </p:nvSpPr>
          <p:spPr bwMode="auto">
            <a:xfrm>
              <a:off x="1169988" y="1712913"/>
              <a:ext cx="22225" cy="3175"/>
            </a:xfrm>
            <a:custGeom>
              <a:avLst/>
              <a:gdLst>
                <a:gd name="T0" fmla="*/ 14 w 14"/>
                <a:gd name="T1" fmla="*/ 1 h 2"/>
                <a:gd name="T2" fmla="*/ 13 w 14"/>
                <a:gd name="T3" fmla="*/ 2 h 2"/>
                <a:gd name="T4" fmla="*/ 1 w 14"/>
                <a:gd name="T5" fmla="*/ 2 h 2"/>
                <a:gd name="T6" fmla="*/ 0 w 14"/>
                <a:gd name="T7" fmla="*/ 1 h 2"/>
                <a:gd name="T8" fmla="*/ 0 w 14"/>
                <a:gd name="T9" fmla="*/ 1 h 2"/>
                <a:gd name="T10" fmla="*/ 1 w 14"/>
                <a:gd name="T11" fmla="*/ 0 h 2"/>
                <a:gd name="T12" fmla="*/ 13 w 14"/>
                <a:gd name="T13" fmla="*/ 0 h 2"/>
                <a:gd name="T14" fmla="*/ 14 w 1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14" y="1"/>
                  </a:moveTo>
                  <a:cubicBezTo>
                    <a:pt x="14" y="2"/>
                    <a:pt x="14" y="2"/>
                    <a:pt x="13" y="2"/>
                  </a:cubicBezTo>
                  <a:cubicBezTo>
                    <a:pt x="1" y="2"/>
                    <a:pt x="1" y="2"/>
                    <a:pt x="1" y="2"/>
                  </a:cubicBezTo>
                  <a:cubicBezTo>
                    <a:pt x="0" y="2"/>
                    <a:pt x="0" y="2"/>
                    <a:pt x="0" y="1"/>
                  </a:cubicBezTo>
                  <a:cubicBezTo>
                    <a:pt x="0" y="1"/>
                    <a:pt x="0" y="1"/>
                    <a:pt x="0" y="1"/>
                  </a:cubicBezTo>
                  <a:cubicBezTo>
                    <a:pt x="0" y="1"/>
                    <a:pt x="0" y="0"/>
                    <a:pt x="1" y="0"/>
                  </a:cubicBezTo>
                  <a:cubicBezTo>
                    <a:pt x="13" y="0"/>
                    <a:pt x="13" y="0"/>
                    <a:pt x="13" y="0"/>
                  </a:cubicBezTo>
                  <a:cubicBezTo>
                    <a:pt x="14" y="0"/>
                    <a:pt x="14" y="1"/>
                    <a:pt x="14"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6" name="Rectangle 231"/>
            <p:cNvSpPr>
              <a:spLocks noChangeArrowheads="1"/>
            </p:cNvSpPr>
            <p:nvPr/>
          </p:nvSpPr>
          <p:spPr bwMode="auto">
            <a:xfrm>
              <a:off x="1144588" y="1727201"/>
              <a:ext cx="1588"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7" name="Rectangle 232"/>
            <p:cNvSpPr>
              <a:spLocks noChangeArrowheads="1"/>
            </p:cNvSpPr>
            <p:nvPr/>
          </p:nvSpPr>
          <p:spPr bwMode="auto">
            <a:xfrm>
              <a:off x="1143000"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8" name="Rectangle 233"/>
            <p:cNvSpPr>
              <a:spLocks noChangeArrowheads="1"/>
            </p:cNvSpPr>
            <p:nvPr/>
          </p:nvSpPr>
          <p:spPr bwMode="auto">
            <a:xfrm>
              <a:off x="1141413"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9" name="Rectangle 234"/>
            <p:cNvSpPr>
              <a:spLocks noChangeArrowheads="1"/>
            </p:cNvSpPr>
            <p:nvPr/>
          </p:nvSpPr>
          <p:spPr bwMode="auto">
            <a:xfrm>
              <a:off x="1141413" y="1730376"/>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0" name="Rectangle 235"/>
            <p:cNvSpPr>
              <a:spLocks noChangeArrowheads="1"/>
            </p:cNvSpPr>
            <p:nvPr/>
          </p:nvSpPr>
          <p:spPr bwMode="auto">
            <a:xfrm>
              <a:off x="1139825" y="1730376"/>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1" name="Rectangle 236"/>
            <p:cNvSpPr>
              <a:spLocks noChangeArrowheads="1"/>
            </p:cNvSpPr>
            <p:nvPr/>
          </p:nvSpPr>
          <p:spPr bwMode="auto">
            <a:xfrm>
              <a:off x="1204913" y="1727201"/>
              <a:ext cx="3175"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2" name="Rectangle 237"/>
            <p:cNvSpPr>
              <a:spLocks noChangeArrowheads="1"/>
            </p:cNvSpPr>
            <p:nvPr/>
          </p:nvSpPr>
          <p:spPr bwMode="auto">
            <a:xfrm>
              <a:off x="1201738"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3" name="Rectangle 238"/>
            <p:cNvSpPr>
              <a:spLocks noChangeArrowheads="1"/>
            </p:cNvSpPr>
            <p:nvPr/>
          </p:nvSpPr>
          <p:spPr bwMode="auto">
            <a:xfrm>
              <a:off x="776288" y="2378076"/>
              <a:ext cx="68263" cy="3635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4" name="Rectangle 239"/>
            <p:cNvSpPr>
              <a:spLocks noChangeArrowheads="1"/>
            </p:cNvSpPr>
            <p:nvPr/>
          </p:nvSpPr>
          <p:spPr bwMode="auto">
            <a:xfrm>
              <a:off x="973138" y="2378076"/>
              <a:ext cx="68263" cy="3635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5" name="Rectangle 240"/>
            <p:cNvSpPr>
              <a:spLocks noChangeArrowheads="1"/>
            </p:cNvSpPr>
            <p:nvPr/>
          </p:nvSpPr>
          <p:spPr bwMode="auto">
            <a:xfrm>
              <a:off x="971550" y="2576513"/>
              <a:ext cx="69850"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6" name="Rectangle 241"/>
            <p:cNvSpPr>
              <a:spLocks noChangeArrowheads="1"/>
            </p:cNvSpPr>
            <p:nvPr/>
          </p:nvSpPr>
          <p:spPr bwMode="auto">
            <a:xfrm>
              <a:off x="971550" y="2635251"/>
              <a:ext cx="69850" cy="12700"/>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7" name="Rectangle 242"/>
            <p:cNvSpPr>
              <a:spLocks noChangeArrowheads="1"/>
            </p:cNvSpPr>
            <p:nvPr/>
          </p:nvSpPr>
          <p:spPr bwMode="auto">
            <a:xfrm>
              <a:off x="971550" y="2601913"/>
              <a:ext cx="69850" cy="14288"/>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8" name="Rectangle 243"/>
            <p:cNvSpPr>
              <a:spLocks noChangeArrowheads="1"/>
            </p:cNvSpPr>
            <p:nvPr/>
          </p:nvSpPr>
          <p:spPr bwMode="auto">
            <a:xfrm>
              <a:off x="776288" y="2576513"/>
              <a:ext cx="68263"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9" name="Rectangle 244"/>
            <p:cNvSpPr>
              <a:spLocks noChangeArrowheads="1"/>
            </p:cNvSpPr>
            <p:nvPr/>
          </p:nvSpPr>
          <p:spPr bwMode="auto">
            <a:xfrm>
              <a:off x="776288" y="2635251"/>
              <a:ext cx="68263" cy="12700"/>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0" name="Rectangle 245"/>
            <p:cNvSpPr>
              <a:spLocks noChangeArrowheads="1"/>
            </p:cNvSpPr>
            <p:nvPr/>
          </p:nvSpPr>
          <p:spPr bwMode="auto">
            <a:xfrm>
              <a:off x="776288" y="2601913"/>
              <a:ext cx="68263" cy="14288"/>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1" name="Freeform 246"/>
            <p:cNvSpPr>
              <a:spLocks/>
            </p:cNvSpPr>
            <p:nvPr/>
          </p:nvSpPr>
          <p:spPr bwMode="auto">
            <a:xfrm>
              <a:off x="692150" y="1660526"/>
              <a:ext cx="398463" cy="473075"/>
            </a:xfrm>
            <a:custGeom>
              <a:avLst/>
              <a:gdLst>
                <a:gd name="T0" fmla="*/ 259 w 259"/>
                <a:gd name="T1" fmla="*/ 31 h 309"/>
                <a:gd name="T2" fmla="*/ 228 w 259"/>
                <a:gd name="T3" fmla="*/ 0 h 309"/>
                <a:gd name="T4" fmla="*/ 205 w 259"/>
                <a:gd name="T5" fmla="*/ 0 h 309"/>
                <a:gd name="T6" fmla="*/ 168 w 259"/>
                <a:gd name="T7" fmla="*/ 0 h 309"/>
                <a:gd name="T8" fmla="*/ 140 w 259"/>
                <a:gd name="T9" fmla="*/ 36 h 309"/>
                <a:gd name="T10" fmla="*/ 113 w 259"/>
                <a:gd name="T11" fmla="*/ 0 h 309"/>
                <a:gd name="T12" fmla="*/ 31 w 259"/>
                <a:gd name="T13" fmla="*/ 0 h 309"/>
                <a:gd name="T14" fmla="*/ 0 w 259"/>
                <a:gd name="T15" fmla="*/ 31 h 309"/>
                <a:gd name="T16" fmla="*/ 0 w 259"/>
                <a:gd name="T17" fmla="*/ 64 h 309"/>
                <a:gd name="T18" fmla="*/ 54 w 259"/>
                <a:gd name="T19" fmla="*/ 64 h 309"/>
                <a:gd name="T20" fmla="*/ 54 w 259"/>
                <a:gd name="T21" fmla="*/ 309 h 309"/>
                <a:gd name="T22" fmla="*/ 228 w 259"/>
                <a:gd name="T23" fmla="*/ 309 h 309"/>
                <a:gd name="T24" fmla="*/ 228 w 259"/>
                <a:gd name="T25" fmla="*/ 43 h 309"/>
                <a:gd name="T26" fmla="*/ 259 w 259"/>
                <a:gd name="T27" fmla="*/ 43 h 309"/>
                <a:gd name="T28" fmla="*/ 259 w 259"/>
                <a:gd name="T29" fmla="*/ 3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9" h="309">
                  <a:moveTo>
                    <a:pt x="259" y="31"/>
                  </a:moveTo>
                  <a:cubicBezTo>
                    <a:pt x="259" y="14"/>
                    <a:pt x="245" y="0"/>
                    <a:pt x="228" y="0"/>
                  </a:cubicBezTo>
                  <a:cubicBezTo>
                    <a:pt x="205" y="0"/>
                    <a:pt x="205" y="0"/>
                    <a:pt x="205" y="0"/>
                  </a:cubicBezTo>
                  <a:cubicBezTo>
                    <a:pt x="168" y="0"/>
                    <a:pt x="168" y="0"/>
                    <a:pt x="168" y="0"/>
                  </a:cubicBezTo>
                  <a:cubicBezTo>
                    <a:pt x="140" y="36"/>
                    <a:pt x="140" y="36"/>
                    <a:pt x="140" y="36"/>
                  </a:cubicBezTo>
                  <a:cubicBezTo>
                    <a:pt x="113" y="0"/>
                    <a:pt x="113" y="0"/>
                    <a:pt x="113" y="0"/>
                  </a:cubicBezTo>
                  <a:cubicBezTo>
                    <a:pt x="31" y="0"/>
                    <a:pt x="31" y="0"/>
                    <a:pt x="31" y="0"/>
                  </a:cubicBezTo>
                  <a:cubicBezTo>
                    <a:pt x="14" y="0"/>
                    <a:pt x="0" y="14"/>
                    <a:pt x="0" y="31"/>
                  </a:cubicBezTo>
                  <a:cubicBezTo>
                    <a:pt x="0" y="64"/>
                    <a:pt x="0" y="64"/>
                    <a:pt x="0" y="64"/>
                  </a:cubicBezTo>
                  <a:cubicBezTo>
                    <a:pt x="54" y="64"/>
                    <a:pt x="54" y="64"/>
                    <a:pt x="54" y="64"/>
                  </a:cubicBezTo>
                  <a:cubicBezTo>
                    <a:pt x="54" y="309"/>
                    <a:pt x="54" y="309"/>
                    <a:pt x="54" y="309"/>
                  </a:cubicBezTo>
                  <a:cubicBezTo>
                    <a:pt x="228" y="309"/>
                    <a:pt x="228" y="309"/>
                    <a:pt x="228" y="309"/>
                  </a:cubicBezTo>
                  <a:cubicBezTo>
                    <a:pt x="228" y="43"/>
                    <a:pt x="228" y="43"/>
                    <a:pt x="228" y="43"/>
                  </a:cubicBezTo>
                  <a:cubicBezTo>
                    <a:pt x="259" y="43"/>
                    <a:pt x="259" y="43"/>
                    <a:pt x="259" y="43"/>
                  </a:cubicBezTo>
                  <a:lnTo>
                    <a:pt x="259" y="3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2" name="Rectangle 247"/>
            <p:cNvSpPr>
              <a:spLocks noChangeArrowheads="1"/>
            </p:cNvSpPr>
            <p:nvPr/>
          </p:nvSpPr>
          <p:spPr bwMode="auto">
            <a:xfrm>
              <a:off x="692150" y="1758951"/>
              <a:ext cx="71438" cy="384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3" name="Freeform 248"/>
            <p:cNvSpPr>
              <a:spLocks/>
            </p:cNvSpPr>
            <p:nvPr/>
          </p:nvSpPr>
          <p:spPr bwMode="auto">
            <a:xfrm>
              <a:off x="776288" y="1785938"/>
              <a:ext cx="265113" cy="266700"/>
            </a:xfrm>
            <a:custGeom>
              <a:avLst/>
              <a:gdLst>
                <a:gd name="T0" fmla="*/ 167 w 167"/>
                <a:gd name="T1" fmla="*/ 0 h 168"/>
                <a:gd name="T2" fmla="*/ 0 w 167"/>
                <a:gd name="T3" fmla="*/ 142 h 168"/>
                <a:gd name="T4" fmla="*/ 0 w 167"/>
                <a:gd name="T5" fmla="*/ 168 h 168"/>
                <a:gd name="T6" fmla="*/ 167 w 167"/>
                <a:gd name="T7" fmla="*/ 25 h 168"/>
                <a:gd name="T8" fmla="*/ 167 w 167"/>
                <a:gd name="T9" fmla="*/ 0 h 168"/>
              </a:gdLst>
              <a:ahLst/>
              <a:cxnLst>
                <a:cxn ang="0">
                  <a:pos x="T0" y="T1"/>
                </a:cxn>
                <a:cxn ang="0">
                  <a:pos x="T2" y="T3"/>
                </a:cxn>
                <a:cxn ang="0">
                  <a:pos x="T4" y="T5"/>
                </a:cxn>
                <a:cxn ang="0">
                  <a:pos x="T6" y="T7"/>
                </a:cxn>
                <a:cxn ang="0">
                  <a:pos x="T8" y="T9"/>
                </a:cxn>
              </a:cxnLst>
              <a:rect l="0" t="0" r="r" b="b"/>
              <a:pathLst>
                <a:path w="167" h="168">
                  <a:moveTo>
                    <a:pt x="167" y="0"/>
                  </a:moveTo>
                  <a:lnTo>
                    <a:pt x="0" y="142"/>
                  </a:lnTo>
                  <a:lnTo>
                    <a:pt x="0" y="168"/>
                  </a:lnTo>
                  <a:lnTo>
                    <a:pt x="167" y="25"/>
                  </a:lnTo>
                  <a:lnTo>
                    <a:pt x="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4" name="Freeform 249"/>
            <p:cNvSpPr>
              <a:spLocks/>
            </p:cNvSpPr>
            <p:nvPr/>
          </p:nvSpPr>
          <p:spPr bwMode="auto">
            <a:xfrm>
              <a:off x="776288" y="1706563"/>
              <a:ext cx="265113" cy="268288"/>
            </a:xfrm>
            <a:custGeom>
              <a:avLst/>
              <a:gdLst>
                <a:gd name="T0" fmla="*/ 167 w 167"/>
                <a:gd name="T1" fmla="*/ 0 h 169"/>
                <a:gd name="T2" fmla="*/ 0 w 167"/>
                <a:gd name="T3" fmla="*/ 143 h 169"/>
                <a:gd name="T4" fmla="*/ 0 w 167"/>
                <a:gd name="T5" fmla="*/ 169 h 169"/>
                <a:gd name="T6" fmla="*/ 167 w 167"/>
                <a:gd name="T7" fmla="*/ 26 h 169"/>
                <a:gd name="T8" fmla="*/ 167 w 167"/>
                <a:gd name="T9" fmla="*/ 0 h 169"/>
              </a:gdLst>
              <a:ahLst/>
              <a:cxnLst>
                <a:cxn ang="0">
                  <a:pos x="T0" y="T1"/>
                </a:cxn>
                <a:cxn ang="0">
                  <a:pos x="T2" y="T3"/>
                </a:cxn>
                <a:cxn ang="0">
                  <a:pos x="T4" y="T5"/>
                </a:cxn>
                <a:cxn ang="0">
                  <a:pos x="T6" y="T7"/>
                </a:cxn>
                <a:cxn ang="0">
                  <a:pos x="T8" y="T9"/>
                </a:cxn>
              </a:cxnLst>
              <a:rect l="0" t="0" r="r" b="b"/>
              <a:pathLst>
                <a:path w="167" h="169">
                  <a:moveTo>
                    <a:pt x="167" y="0"/>
                  </a:moveTo>
                  <a:lnTo>
                    <a:pt x="0" y="143"/>
                  </a:lnTo>
                  <a:lnTo>
                    <a:pt x="0" y="169"/>
                  </a:lnTo>
                  <a:lnTo>
                    <a:pt x="167" y="26"/>
                  </a:lnTo>
                  <a:lnTo>
                    <a:pt x="1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5" name="Oval 250"/>
            <p:cNvSpPr>
              <a:spLocks noChangeArrowheads="1"/>
            </p:cNvSpPr>
            <p:nvPr/>
          </p:nvSpPr>
          <p:spPr bwMode="auto">
            <a:xfrm>
              <a:off x="841375" y="1493838"/>
              <a:ext cx="15875"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6" name="Oval 251"/>
            <p:cNvSpPr>
              <a:spLocks noChangeArrowheads="1"/>
            </p:cNvSpPr>
            <p:nvPr/>
          </p:nvSpPr>
          <p:spPr bwMode="auto">
            <a:xfrm>
              <a:off x="965200" y="1493838"/>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7" name="Freeform 252"/>
            <p:cNvSpPr>
              <a:spLocks/>
            </p:cNvSpPr>
            <p:nvPr/>
          </p:nvSpPr>
          <p:spPr bwMode="auto">
            <a:xfrm>
              <a:off x="879475" y="1568451"/>
              <a:ext cx="58738" cy="22225"/>
            </a:xfrm>
            <a:custGeom>
              <a:avLst/>
              <a:gdLst>
                <a:gd name="T0" fmla="*/ 0 w 38"/>
                <a:gd name="T1" fmla="*/ 0 h 15"/>
                <a:gd name="T2" fmla="*/ 19 w 38"/>
                <a:gd name="T3" fmla="*/ 15 h 15"/>
                <a:gd name="T4" fmla="*/ 38 w 38"/>
                <a:gd name="T5" fmla="*/ 0 h 15"/>
                <a:gd name="T6" fmla="*/ 0 w 38"/>
                <a:gd name="T7" fmla="*/ 0 h 15"/>
              </a:gdLst>
              <a:ahLst/>
              <a:cxnLst>
                <a:cxn ang="0">
                  <a:pos x="T0" y="T1"/>
                </a:cxn>
                <a:cxn ang="0">
                  <a:pos x="T2" y="T3"/>
                </a:cxn>
                <a:cxn ang="0">
                  <a:pos x="T4" y="T5"/>
                </a:cxn>
                <a:cxn ang="0">
                  <a:pos x="T6" y="T7"/>
                </a:cxn>
              </a:cxnLst>
              <a:rect l="0" t="0" r="r" b="b"/>
              <a:pathLst>
                <a:path w="38" h="15">
                  <a:moveTo>
                    <a:pt x="0" y="0"/>
                  </a:moveTo>
                  <a:cubicBezTo>
                    <a:pt x="2" y="9"/>
                    <a:pt x="10" y="15"/>
                    <a:pt x="19" y="15"/>
                  </a:cubicBezTo>
                  <a:cubicBezTo>
                    <a:pt x="28" y="15"/>
                    <a:pt x="36" y="9"/>
                    <a:pt x="3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8" name="Freeform 253"/>
            <p:cNvSpPr>
              <a:spLocks/>
            </p:cNvSpPr>
            <p:nvPr/>
          </p:nvSpPr>
          <p:spPr bwMode="auto">
            <a:xfrm>
              <a:off x="893763" y="1536701"/>
              <a:ext cx="30163" cy="11113"/>
            </a:xfrm>
            <a:custGeom>
              <a:avLst/>
              <a:gdLst>
                <a:gd name="T0" fmla="*/ 0 w 20"/>
                <a:gd name="T1" fmla="*/ 0 h 8"/>
                <a:gd name="T2" fmla="*/ 10 w 20"/>
                <a:gd name="T3" fmla="*/ 8 h 8"/>
                <a:gd name="T4" fmla="*/ 20 w 20"/>
                <a:gd name="T5" fmla="*/ 0 h 8"/>
                <a:gd name="T6" fmla="*/ 0 w 20"/>
                <a:gd name="T7" fmla="*/ 0 h 8"/>
              </a:gdLst>
              <a:ahLst/>
              <a:cxnLst>
                <a:cxn ang="0">
                  <a:pos x="T0" y="T1"/>
                </a:cxn>
                <a:cxn ang="0">
                  <a:pos x="T2" y="T3"/>
                </a:cxn>
                <a:cxn ang="0">
                  <a:pos x="T4" y="T5"/>
                </a:cxn>
                <a:cxn ang="0">
                  <a:pos x="T6" y="T7"/>
                </a:cxn>
              </a:cxnLst>
              <a:rect l="0" t="0" r="r" b="b"/>
              <a:pathLst>
                <a:path w="20" h="8">
                  <a:moveTo>
                    <a:pt x="0" y="0"/>
                  </a:moveTo>
                  <a:cubicBezTo>
                    <a:pt x="1" y="5"/>
                    <a:pt x="5" y="8"/>
                    <a:pt x="10" y="8"/>
                  </a:cubicBezTo>
                  <a:cubicBezTo>
                    <a:pt x="15" y="8"/>
                    <a:pt x="19" y="5"/>
                    <a:pt x="20" y="0"/>
                  </a:cubicBezTo>
                  <a:lnTo>
                    <a:pt x="0" y="0"/>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3" name="Group 2"/>
          <p:cNvGrpSpPr/>
          <p:nvPr/>
        </p:nvGrpSpPr>
        <p:grpSpPr>
          <a:xfrm flipH="1">
            <a:off x="8928966" y="4423767"/>
            <a:ext cx="600269" cy="1034457"/>
            <a:chOff x="3834238" y="7433895"/>
            <a:chExt cx="714537" cy="1231379"/>
          </a:xfrm>
        </p:grpSpPr>
        <p:sp>
          <p:nvSpPr>
            <p:cNvPr id="332" name="Rectangle 257"/>
            <p:cNvSpPr>
              <a:spLocks noChangeArrowheads="1"/>
            </p:cNvSpPr>
            <p:nvPr/>
          </p:nvSpPr>
          <p:spPr bwMode="auto">
            <a:xfrm>
              <a:off x="4386541" y="7693646"/>
              <a:ext cx="96631" cy="7890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3" name="Freeform 258"/>
            <p:cNvSpPr>
              <a:spLocks/>
            </p:cNvSpPr>
            <p:nvPr/>
          </p:nvSpPr>
          <p:spPr bwMode="auto">
            <a:xfrm>
              <a:off x="4386541" y="7714923"/>
              <a:ext cx="96631" cy="46986"/>
            </a:xfrm>
            <a:custGeom>
              <a:avLst/>
              <a:gdLst>
                <a:gd name="T0" fmla="*/ 0 w 109"/>
                <a:gd name="T1" fmla="*/ 20 h 53"/>
                <a:gd name="T2" fmla="*/ 109 w 109"/>
                <a:gd name="T3" fmla="*/ 0 h 53"/>
                <a:gd name="T4" fmla="*/ 0 w 109"/>
                <a:gd name="T5" fmla="*/ 53 h 53"/>
                <a:gd name="T6" fmla="*/ 0 w 109"/>
                <a:gd name="T7" fmla="*/ 20 h 53"/>
              </a:gdLst>
              <a:ahLst/>
              <a:cxnLst>
                <a:cxn ang="0">
                  <a:pos x="T0" y="T1"/>
                </a:cxn>
                <a:cxn ang="0">
                  <a:pos x="T2" y="T3"/>
                </a:cxn>
                <a:cxn ang="0">
                  <a:pos x="T4" y="T5"/>
                </a:cxn>
                <a:cxn ang="0">
                  <a:pos x="T6" y="T7"/>
                </a:cxn>
              </a:cxnLst>
              <a:rect l="0" t="0" r="r" b="b"/>
              <a:pathLst>
                <a:path w="109" h="53">
                  <a:moveTo>
                    <a:pt x="0" y="20"/>
                  </a:moveTo>
                  <a:lnTo>
                    <a:pt x="109" y="0"/>
                  </a:lnTo>
                  <a:lnTo>
                    <a:pt x="0" y="53"/>
                  </a:lnTo>
                  <a:lnTo>
                    <a:pt x="0" y="2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4" name="Freeform 259"/>
            <p:cNvSpPr>
              <a:spLocks/>
            </p:cNvSpPr>
            <p:nvPr/>
          </p:nvSpPr>
          <p:spPr bwMode="auto">
            <a:xfrm>
              <a:off x="4219875" y="7467583"/>
              <a:ext cx="310283" cy="285460"/>
            </a:xfrm>
            <a:custGeom>
              <a:avLst/>
              <a:gdLst>
                <a:gd name="T0" fmla="*/ 196 w 203"/>
                <a:gd name="T1" fmla="*/ 75 h 187"/>
                <a:gd name="T2" fmla="*/ 100 w 203"/>
                <a:gd name="T3" fmla="*/ 8 h 187"/>
                <a:gd name="T4" fmla="*/ 24 w 203"/>
                <a:gd name="T5" fmla="*/ 21 h 187"/>
                <a:gd name="T6" fmla="*/ 14 w 203"/>
                <a:gd name="T7" fmla="*/ 94 h 187"/>
                <a:gd name="T8" fmla="*/ 0 w 203"/>
                <a:gd name="T9" fmla="*/ 115 h 187"/>
                <a:gd name="T10" fmla="*/ 2 w 203"/>
                <a:gd name="T11" fmla="*/ 131 h 187"/>
                <a:gd name="T12" fmla="*/ 22 w 203"/>
                <a:gd name="T13" fmla="*/ 128 h 187"/>
                <a:gd name="T14" fmla="*/ 32 w 203"/>
                <a:gd name="T15" fmla="*/ 187 h 187"/>
                <a:gd name="T16" fmla="*/ 128 w 203"/>
                <a:gd name="T17" fmla="*/ 170 h 187"/>
                <a:gd name="T18" fmla="*/ 128 w 203"/>
                <a:gd name="T19" fmla="*/ 171 h 187"/>
                <a:gd name="T20" fmla="*/ 129 w 203"/>
                <a:gd name="T21" fmla="*/ 170 h 187"/>
                <a:gd name="T22" fmla="*/ 129 w 203"/>
                <a:gd name="T23" fmla="*/ 170 h 187"/>
                <a:gd name="T24" fmla="*/ 129 w 203"/>
                <a:gd name="T25" fmla="*/ 170 h 187"/>
                <a:gd name="T26" fmla="*/ 196 w 203"/>
                <a:gd name="T27"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187">
                  <a:moveTo>
                    <a:pt x="196" y="75"/>
                  </a:moveTo>
                  <a:cubicBezTo>
                    <a:pt x="188" y="30"/>
                    <a:pt x="145" y="0"/>
                    <a:pt x="100" y="8"/>
                  </a:cubicBezTo>
                  <a:cubicBezTo>
                    <a:pt x="24" y="21"/>
                    <a:pt x="24" y="21"/>
                    <a:pt x="24" y="21"/>
                  </a:cubicBezTo>
                  <a:cubicBezTo>
                    <a:pt x="24" y="21"/>
                    <a:pt x="15" y="91"/>
                    <a:pt x="14" y="94"/>
                  </a:cubicBezTo>
                  <a:cubicBezTo>
                    <a:pt x="13" y="103"/>
                    <a:pt x="8" y="110"/>
                    <a:pt x="0" y="115"/>
                  </a:cubicBezTo>
                  <a:cubicBezTo>
                    <a:pt x="2" y="131"/>
                    <a:pt x="2" y="131"/>
                    <a:pt x="2" y="131"/>
                  </a:cubicBezTo>
                  <a:cubicBezTo>
                    <a:pt x="22" y="128"/>
                    <a:pt x="22" y="128"/>
                    <a:pt x="22" y="128"/>
                  </a:cubicBezTo>
                  <a:cubicBezTo>
                    <a:pt x="32" y="187"/>
                    <a:pt x="32" y="187"/>
                    <a:pt x="32" y="187"/>
                  </a:cubicBezTo>
                  <a:cubicBezTo>
                    <a:pt x="128" y="170"/>
                    <a:pt x="128" y="170"/>
                    <a:pt x="128" y="170"/>
                  </a:cubicBezTo>
                  <a:cubicBezTo>
                    <a:pt x="128" y="171"/>
                    <a:pt x="128" y="171"/>
                    <a:pt x="128" y="171"/>
                  </a:cubicBezTo>
                  <a:cubicBezTo>
                    <a:pt x="129" y="171"/>
                    <a:pt x="129" y="170"/>
                    <a:pt x="129" y="170"/>
                  </a:cubicBezTo>
                  <a:cubicBezTo>
                    <a:pt x="129" y="170"/>
                    <a:pt x="129" y="170"/>
                    <a:pt x="129" y="170"/>
                  </a:cubicBezTo>
                  <a:cubicBezTo>
                    <a:pt x="129" y="170"/>
                    <a:pt x="129" y="170"/>
                    <a:pt x="129" y="170"/>
                  </a:cubicBezTo>
                  <a:cubicBezTo>
                    <a:pt x="174" y="162"/>
                    <a:pt x="203" y="120"/>
                    <a:pt x="196" y="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5" name="Freeform 260"/>
            <p:cNvSpPr>
              <a:spLocks/>
            </p:cNvSpPr>
            <p:nvPr/>
          </p:nvSpPr>
          <p:spPr bwMode="auto">
            <a:xfrm>
              <a:off x="4238492" y="7433895"/>
              <a:ext cx="310283" cy="304964"/>
            </a:xfrm>
            <a:custGeom>
              <a:avLst/>
              <a:gdLst>
                <a:gd name="T0" fmla="*/ 121 w 203"/>
                <a:gd name="T1" fmla="*/ 6 h 200"/>
                <a:gd name="T2" fmla="*/ 52 w 203"/>
                <a:gd name="T3" fmla="*/ 18 h 200"/>
                <a:gd name="T4" fmla="*/ 27 w 203"/>
                <a:gd name="T5" fmla="*/ 0 h 200"/>
                <a:gd name="T6" fmla="*/ 31 w 203"/>
                <a:gd name="T7" fmla="*/ 22 h 200"/>
                <a:gd name="T8" fmla="*/ 0 w 203"/>
                <a:gd name="T9" fmla="*/ 1 h 200"/>
                <a:gd name="T10" fmla="*/ 8 w 203"/>
                <a:gd name="T11" fmla="*/ 46 h 200"/>
                <a:gd name="T12" fmla="*/ 57 w 203"/>
                <a:gd name="T13" fmla="*/ 83 h 200"/>
                <a:gd name="T14" fmla="*/ 68 w 203"/>
                <a:gd name="T15" fmla="*/ 150 h 200"/>
                <a:gd name="T16" fmla="*/ 91 w 203"/>
                <a:gd name="T17" fmla="*/ 146 h 200"/>
                <a:gd name="T18" fmla="*/ 86 w 203"/>
                <a:gd name="T19" fmla="*/ 120 h 200"/>
                <a:gd name="T20" fmla="*/ 152 w 203"/>
                <a:gd name="T21" fmla="*/ 186 h 200"/>
                <a:gd name="T22" fmla="*/ 203 w 203"/>
                <a:gd name="T23" fmla="*/ 200 h 200"/>
                <a:gd name="T24" fmla="*/ 174 w 203"/>
                <a:gd name="T25" fmla="*/ 43 h 200"/>
                <a:gd name="T26" fmla="*/ 121 w 203"/>
                <a:gd name="T27"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200">
                  <a:moveTo>
                    <a:pt x="121" y="6"/>
                  </a:moveTo>
                  <a:cubicBezTo>
                    <a:pt x="52" y="18"/>
                    <a:pt x="52" y="18"/>
                    <a:pt x="52" y="18"/>
                  </a:cubicBezTo>
                  <a:cubicBezTo>
                    <a:pt x="27" y="0"/>
                    <a:pt x="27" y="0"/>
                    <a:pt x="27" y="0"/>
                  </a:cubicBezTo>
                  <a:cubicBezTo>
                    <a:pt x="31" y="22"/>
                    <a:pt x="31" y="22"/>
                    <a:pt x="31" y="22"/>
                  </a:cubicBezTo>
                  <a:cubicBezTo>
                    <a:pt x="0" y="1"/>
                    <a:pt x="0" y="1"/>
                    <a:pt x="0" y="1"/>
                  </a:cubicBezTo>
                  <a:cubicBezTo>
                    <a:pt x="8" y="46"/>
                    <a:pt x="8" y="46"/>
                    <a:pt x="8" y="46"/>
                  </a:cubicBezTo>
                  <a:cubicBezTo>
                    <a:pt x="12" y="69"/>
                    <a:pt x="34" y="85"/>
                    <a:pt x="57" y="83"/>
                  </a:cubicBezTo>
                  <a:cubicBezTo>
                    <a:pt x="68" y="150"/>
                    <a:pt x="68" y="150"/>
                    <a:pt x="68" y="150"/>
                  </a:cubicBezTo>
                  <a:cubicBezTo>
                    <a:pt x="91" y="146"/>
                    <a:pt x="91" y="146"/>
                    <a:pt x="91" y="146"/>
                  </a:cubicBezTo>
                  <a:cubicBezTo>
                    <a:pt x="86" y="120"/>
                    <a:pt x="86" y="120"/>
                    <a:pt x="86" y="120"/>
                  </a:cubicBezTo>
                  <a:cubicBezTo>
                    <a:pt x="152" y="186"/>
                    <a:pt x="152" y="186"/>
                    <a:pt x="152" y="186"/>
                  </a:cubicBezTo>
                  <a:cubicBezTo>
                    <a:pt x="203" y="200"/>
                    <a:pt x="203" y="200"/>
                    <a:pt x="203" y="200"/>
                  </a:cubicBezTo>
                  <a:cubicBezTo>
                    <a:pt x="174" y="43"/>
                    <a:pt x="174" y="43"/>
                    <a:pt x="174" y="43"/>
                  </a:cubicBezTo>
                  <a:cubicBezTo>
                    <a:pt x="170" y="18"/>
                    <a:pt x="146" y="2"/>
                    <a:pt x="121"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6" name="Freeform 261"/>
            <p:cNvSpPr>
              <a:spLocks/>
            </p:cNvSpPr>
            <p:nvPr/>
          </p:nvSpPr>
          <p:spPr bwMode="auto">
            <a:xfrm>
              <a:off x="4361719" y="7567760"/>
              <a:ext cx="46099" cy="76241"/>
            </a:xfrm>
            <a:custGeom>
              <a:avLst/>
              <a:gdLst>
                <a:gd name="T0" fmla="*/ 0 w 30"/>
                <a:gd name="T1" fmla="*/ 2 h 50"/>
                <a:gd name="T2" fmla="*/ 8 w 30"/>
                <a:gd name="T3" fmla="*/ 50 h 50"/>
                <a:gd name="T4" fmla="*/ 28 w 30"/>
                <a:gd name="T5" fmla="*/ 22 h 50"/>
                <a:gd name="T6" fmla="*/ 0 w 30"/>
                <a:gd name="T7" fmla="*/ 2 h 50"/>
              </a:gdLst>
              <a:ahLst/>
              <a:cxnLst>
                <a:cxn ang="0">
                  <a:pos x="T0" y="T1"/>
                </a:cxn>
                <a:cxn ang="0">
                  <a:pos x="T2" y="T3"/>
                </a:cxn>
                <a:cxn ang="0">
                  <a:pos x="T4" y="T5"/>
                </a:cxn>
                <a:cxn ang="0">
                  <a:pos x="T6" y="T7"/>
                </a:cxn>
              </a:cxnLst>
              <a:rect l="0" t="0" r="r" b="b"/>
              <a:pathLst>
                <a:path w="30" h="50">
                  <a:moveTo>
                    <a:pt x="0" y="2"/>
                  </a:moveTo>
                  <a:cubicBezTo>
                    <a:pt x="8" y="50"/>
                    <a:pt x="8" y="50"/>
                    <a:pt x="8" y="50"/>
                  </a:cubicBezTo>
                  <a:cubicBezTo>
                    <a:pt x="21" y="48"/>
                    <a:pt x="30" y="35"/>
                    <a:pt x="28" y="22"/>
                  </a:cubicBezTo>
                  <a:cubicBezTo>
                    <a:pt x="26" y="9"/>
                    <a:pt x="13"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7" name="Oval 262"/>
            <p:cNvSpPr>
              <a:spLocks noChangeArrowheads="1"/>
            </p:cNvSpPr>
            <p:nvPr/>
          </p:nvSpPr>
          <p:spPr bwMode="auto">
            <a:xfrm>
              <a:off x="4272180" y="7620065"/>
              <a:ext cx="17730" cy="186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8" name="Freeform 263"/>
            <p:cNvSpPr>
              <a:spLocks/>
            </p:cNvSpPr>
            <p:nvPr/>
          </p:nvSpPr>
          <p:spPr bwMode="auto">
            <a:xfrm>
              <a:off x="4257995" y="7681235"/>
              <a:ext cx="50532" cy="39894"/>
            </a:xfrm>
            <a:custGeom>
              <a:avLst/>
              <a:gdLst>
                <a:gd name="T0" fmla="*/ 0 w 33"/>
                <a:gd name="T1" fmla="*/ 6 h 26"/>
                <a:gd name="T2" fmla="*/ 3 w 33"/>
                <a:gd name="T3" fmla="*/ 26 h 26"/>
                <a:gd name="T4" fmla="*/ 33 w 33"/>
                <a:gd name="T5" fmla="*/ 0 h 26"/>
                <a:gd name="T6" fmla="*/ 0 w 33"/>
                <a:gd name="T7" fmla="*/ 6 h 26"/>
              </a:gdLst>
              <a:ahLst/>
              <a:cxnLst>
                <a:cxn ang="0">
                  <a:pos x="T0" y="T1"/>
                </a:cxn>
                <a:cxn ang="0">
                  <a:pos x="T2" y="T3"/>
                </a:cxn>
                <a:cxn ang="0">
                  <a:pos x="T4" y="T5"/>
                </a:cxn>
                <a:cxn ang="0">
                  <a:pos x="T6" y="T7"/>
                </a:cxn>
              </a:cxnLst>
              <a:rect l="0" t="0" r="r" b="b"/>
              <a:pathLst>
                <a:path w="33" h="26">
                  <a:moveTo>
                    <a:pt x="0" y="6"/>
                  </a:moveTo>
                  <a:cubicBezTo>
                    <a:pt x="3" y="26"/>
                    <a:pt x="3" y="26"/>
                    <a:pt x="3" y="26"/>
                  </a:cubicBezTo>
                  <a:cubicBezTo>
                    <a:pt x="18" y="23"/>
                    <a:pt x="29" y="13"/>
                    <a:pt x="33"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9" name="Freeform 264"/>
            <p:cNvSpPr>
              <a:spLocks/>
            </p:cNvSpPr>
            <p:nvPr/>
          </p:nvSpPr>
          <p:spPr bwMode="auto">
            <a:xfrm>
              <a:off x="4299662" y="7668824"/>
              <a:ext cx="21277" cy="23050"/>
            </a:xfrm>
            <a:custGeom>
              <a:avLst/>
              <a:gdLst>
                <a:gd name="T0" fmla="*/ 12 w 14"/>
                <a:gd name="T1" fmla="*/ 15 h 15"/>
                <a:gd name="T2" fmla="*/ 11 w 14"/>
                <a:gd name="T3" fmla="*/ 4 h 15"/>
                <a:gd name="T4" fmla="*/ 0 w 14"/>
                <a:gd name="T5" fmla="*/ 2 h 15"/>
                <a:gd name="T6" fmla="*/ 12 w 14"/>
                <a:gd name="T7" fmla="*/ 15 h 15"/>
              </a:gdLst>
              <a:ahLst/>
              <a:cxnLst>
                <a:cxn ang="0">
                  <a:pos x="T0" y="T1"/>
                </a:cxn>
                <a:cxn ang="0">
                  <a:pos x="T2" y="T3"/>
                </a:cxn>
                <a:cxn ang="0">
                  <a:pos x="T4" y="T5"/>
                </a:cxn>
                <a:cxn ang="0">
                  <a:pos x="T6" y="T7"/>
                </a:cxn>
              </a:cxnLst>
              <a:rect l="0" t="0" r="r" b="b"/>
              <a:pathLst>
                <a:path w="14" h="15">
                  <a:moveTo>
                    <a:pt x="12" y="15"/>
                  </a:moveTo>
                  <a:cubicBezTo>
                    <a:pt x="14" y="11"/>
                    <a:pt x="14" y="7"/>
                    <a:pt x="11" y="4"/>
                  </a:cubicBezTo>
                  <a:cubicBezTo>
                    <a:pt x="8" y="1"/>
                    <a:pt x="3" y="0"/>
                    <a:pt x="0" y="2"/>
                  </a:cubicBezTo>
                  <a:lnTo>
                    <a:pt x="12" y="15"/>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0" name="Freeform 265"/>
            <p:cNvSpPr>
              <a:spLocks/>
            </p:cNvSpPr>
            <p:nvPr/>
          </p:nvSpPr>
          <p:spPr bwMode="auto">
            <a:xfrm>
              <a:off x="3939734" y="8140453"/>
              <a:ext cx="543438" cy="129432"/>
            </a:xfrm>
            <a:custGeom>
              <a:avLst/>
              <a:gdLst>
                <a:gd name="T0" fmla="*/ 42 w 355"/>
                <a:gd name="T1" fmla="*/ 0 h 85"/>
                <a:gd name="T2" fmla="*/ 0 w 355"/>
                <a:gd name="T3" fmla="*/ 43 h 85"/>
                <a:gd name="T4" fmla="*/ 42 w 355"/>
                <a:gd name="T5" fmla="*/ 85 h 85"/>
                <a:gd name="T6" fmla="*/ 312 w 355"/>
                <a:gd name="T7" fmla="*/ 85 h 85"/>
                <a:gd name="T8" fmla="*/ 355 w 355"/>
                <a:gd name="T9" fmla="*/ 43 h 85"/>
                <a:gd name="T10" fmla="*/ 355 w 355"/>
                <a:gd name="T11" fmla="*/ 0 h 85"/>
                <a:gd name="T12" fmla="*/ 42 w 355"/>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355" h="85">
                  <a:moveTo>
                    <a:pt x="42" y="0"/>
                  </a:moveTo>
                  <a:cubicBezTo>
                    <a:pt x="19" y="0"/>
                    <a:pt x="0" y="19"/>
                    <a:pt x="0" y="43"/>
                  </a:cubicBezTo>
                  <a:cubicBezTo>
                    <a:pt x="0" y="66"/>
                    <a:pt x="19" y="85"/>
                    <a:pt x="42" y="85"/>
                  </a:cubicBezTo>
                  <a:cubicBezTo>
                    <a:pt x="312" y="85"/>
                    <a:pt x="312" y="85"/>
                    <a:pt x="312" y="85"/>
                  </a:cubicBezTo>
                  <a:cubicBezTo>
                    <a:pt x="336" y="85"/>
                    <a:pt x="355" y="66"/>
                    <a:pt x="355" y="43"/>
                  </a:cubicBezTo>
                  <a:cubicBezTo>
                    <a:pt x="355" y="0"/>
                    <a:pt x="355" y="0"/>
                    <a:pt x="355" y="0"/>
                  </a:cubicBezTo>
                  <a:lnTo>
                    <a:pt x="42"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1" name="Freeform 266"/>
            <p:cNvSpPr>
              <a:spLocks/>
            </p:cNvSpPr>
            <p:nvPr/>
          </p:nvSpPr>
          <p:spPr bwMode="auto">
            <a:xfrm>
              <a:off x="4319166" y="7761908"/>
              <a:ext cx="164007" cy="380318"/>
            </a:xfrm>
            <a:custGeom>
              <a:avLst/>
              <a:gdLst>
                <a:gd name="T0" fmla="*/ 75 w 107"/>
                <a:gd name="T1" fmla="*/ 0 h 249"/>
                <a:gd name="T2" fmla="*/ 0 w 107"/>
                <a:gd name="T3" fmla="*/ 124 h 249"/>
                <a:gd name="T4" fmla="*/ 0 w 107"/>
                <a:gd name="T5" fmla="*/ 249 h 249"/>
                <a:gd name="T6" fmla="*/ 107 w 107"/>
                <a:gd name="T7" fmla="*/ 249 h 249"/>
                <a:gd name="T8" fmla="*/ 107 w 107"/>
                <a:gd name="T9" fmla="*/ 0 h 249"/>
                <a:gd name="T10" fmla="*/ 75 w 107"/>
                <a:gd name="T11" fmla="*/ 0 h 249"/>
              </a:gdLst>
              <a:ahLst/>
              <a:cxnLst>
                <a:cxn ang="0">
                  <a:pos x="T0" y="T1"/>
                </a:cxn>
                <a:cxn ang="0">
                  <a:pos x="T2" y="T3"/>
                </a:cxn>
                <a:cxn ang="0">
                  <a:pos x="T4" y="T5"/>
                </a:cxn>
                <a:cxn ang="0">
                  <a:pos x="T6" y="T7"/>
                </a:cxn>
                <a:cxn ang="0">
                  <a:pos x="T8" y="T9"/>
                </a:cxn>
                <a:cxn ang="0">
                  <a:pos x="T10" y="T11"/>
                </a:cxn>
              </a:cxnLst>
              <a:rect l="0" t="0" r="r" b="b"/>
              <a:pathLst>
                <a:path w="107" h="249">
                  <a:moveTo>
                    <a:pt x="75" y="0"/>
                  </a:moveTo>
                  <a:cubicBezTo>
                    <a:pt x="9" y="0"/>
                    <a:pt x="0" y="76"/>
                    <a:pt x="0" y="124"/>
                  </a:cubicBezTo>
                  <a:cubicBezTo>
                    <a:pt x="0" y="249"/>
                    <a:pt x="0" y="249"/>
                    <a:pt x="0" y="249"/>
                  </a:cubicBezTo>
                  <a:cubicBezTo>
                    <a:pt x="107" y="249"/>
                    <a:pt x="107" y="249"/>
                    <a:pt x="107" y="249"/>
                  </a:cubicBezTo>
                  <a:cubicBezTo>
                    <a:pt x="107" y="0"/>
                    <a:pt x="107" y="0"/>
                    <a:pt x="107" y="0"/>
                  </a:cubicBezTo>
                  <a:cubicBezTo>
                    <a:pt x="107" y="0"/>
                    <a:pt x="78" y="0"/>
                    <a:pt x="75"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2" name="Freeform 267"/>
            <p:cNvSpPr>
              <a:spLocks/>
            </p:cNvSpPr>
            <p:nvPr/>
          </p:nvSpPr>
          <p:spPr bwMode="auto">
            <a:xfrm>
              <a:off x="3834238" y="8576622"/>
              <a:ext cx="200354" cy="88652"/>
            </a:xfrm>
            <a:custGeom>
              <a:avLst/>
              <a:gdLst>
                <a:gd name="T0" fmla="*/ 64 w 131"/>
                <a:gd name="T1" fmla="*/ 0 h 58"/>
                <a:gd name="T2" fmla="*/ 0 w 131"/>
                <a:gd name="T3" fmla="*/ 58 h 58"/>
                <a:gd name="T4" fmla="*/ 64 w 131"/>
                <a:gd name="T5" fmla="*/ 58 h 58"/>
                <a:gd name="T6" fmla="*/ 131 w 131"/>
                <a:gd name="T7" fmla="*/ 58 h 58"/>
                <a:gd name="T8" fmla="*/ 131 w 131"/>
                <a:gd name="T9" fmla="*/ 0 h 58"/>
                <a:gd name="T10" fmla="*/ 64 w 131"/>
                <a:gd name="T11" fmla="*/ 0 h 58"/>
              </a:gdLst>
              <a:ahLst/>
              <a:cxnLst>
                <a:cxn ang="0">
                  <a:pos x="T0" y="T1"/>
                </a:cxn>
                <a:cxn ang="0">
                  <a:pos x="T2" y="T3"/>
                </a:cxn>
                <a:cxn ang="0">
                  <a:pos x="T4" y="T5"/>
                </a:cxn>
                <a:cxn ang="0">
                  <a:pos x="T6" y="T7"/>
                </a:cxn>
                <a:cxn ang="0">
                  <a:pos x="T8" y="T9"/>
                </a:cxn>
                <a:cxn ang="0">
                  <a:pos x="T10" y="T11"/>
                </a:cxn>
              </a:cxnLst>
              <a:rect l="0" t="0" r="r" b="b"/>
              <a:pathLst>
                <a:path w="131" h="58">
                  <a:moveTo>
                    <a:pt x="64" y="0"/>
                  </a:moveTo>
                  <a:cubicBezTo>
                    <a:pt x="31" y="0"/>
                    <a:pt x="3" y="25"/>
                    <a:pt x="0" y="58"/>
                  </a:cubicBezTo>
                  <a:cubicBezTo>
                    <a:pt x="64" y="58"/>
                    <a:pt x="64" y="58"/>
                    <a:pt x="64" y="58"/>
                  </a:cubicBezTo>
                  <a:cubicBezTo>
                    <a:pt x="131" y="58"/>
                    <a:pt x="131" y="58"/>
                    <a:pt x="131" y="58"/>
                  </a:cubicBezTo>
                  <a:cubicBezTo>
                    <a:pt x="131" y="0"/>
                    <a:pt x="131" y="0"/>
                    <a:pt x="131" y="0"/>
                  </a:cubicBezTo>
                  <a:lnTo>
                    <a:pt x="64"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3" name="Rectangle 268"/>
            <p:cNvSpPr>
              <a:spLocks noChangeArrowheads="1"/>
            </p:cNvSpPr>
            <p:nvPr/>
          </p:nvSpPr>
          <p:spPr bwMode="auto">
            <a:xfrm>
              <a:off x="3939734" y="8202510"/>
              <a:ext cx="136524" cy="37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0" name="Freeform 285"/>
            <p:cNvSpPr>
              <a:spLocks/>
            </p:cNvSpPr>
            <p:nvPr/>
          </p:nvSpPr>
          <p:spPr bwMode="auto">
            <a:xfrm>
              <a:off x="4013315" y="8120063"/>
              <a:ext cx="238475" cy="20390"/>
            </a:xfrm>
            <a:custGeom>
              <a:avLst/>
              <a:gdLst>
                <a:gd name="T0" fmla="*/ 0 w 269"/>
                <a:gd name="T1" fmla="*/ 0 h 23"/>
                <a:gd name="T2" fmla="*/ 269 w 269"/>
                <a:gd name="T3" fmla="*/ 12 h 23"/>
                <a:gd name="T4" fmla="*/ 269 w 269"/>
                <a:gd name="T5" fmla="*/ 23 h 23"/>
                <a:gd name="T6" fmla="*/ 0 w 269"/>
                <a:gd name="T7" fmla="*/ 23 h 23"/>
                <a:gd name="T8" fmla="*/ 0 w 269"/>
                <a:gd name="T9" fmla="*/ 0 h 23"/>
              </a:gdLst>
              <a:ahLst/>
              <a:cxnLst>
                <a:cxn ang="0">
                  <a:pos x="T0" y="T1"/>
                </a:cxn>
                <a:cxn ang="0">
                  <a:pos x="T2" y="T3"/>
                </a:cxn>
                <a:cxn ang="0">
                  <a:pos x="T4" y="T5"/>
                </a:cxn>
                <a:cxn ang="0">
                  <a:pos x="T6" y="T7"/>
                </a:cxn>
                <a:cxn ang="0">
                  <a:pos x="T8" y="T9"/>
                </a:cxn>
              </a:cxnLst>
              <a:rect l="0" t="0" r="r" b="b"/>
              <a:pathLst>
                <a:path w="269" h="23">
                  <a:moveTo>
                    <a:pt x="0" y="0"/>
                  </a:moveTo>
                  <a:lnTo>
                    <a:pt x="269" y="12"/>
                  </a:lnTo>
                  <a:lnTo>
                    <a:pt x="269" y="23"/>
                  </a:lnTo>
                  <a:lnTo>
                    <a:pt x="0" y="2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1" name="Freeform 286"/>
            <p:cNvSpPr>
              <a:spLocks/>
            </p:cNvSpPr>
            <p:nvPr/>
          </p:nvSpPr>
          <p:spPr bwMode="auto">
            <a:xfrm>
              <a:off x="3937075" y="7895773"/>
              <a:ext cx="80674" cy="232269"/>
            </a:xfrm>
            <a:custGeom>
              <a:avLst/>
              <a:gdLst>
                <a:gd name="T0" fmla="*/ 69 w 91"/>
                <a:gd name="T1" fmla="*/ 262 h 262"/>
                <a:gd name="T2" fmla="*/ 0 w 91"/>
                <a:gd name="T3" fmla="*/ 2 h 262"/>
                <a:gd name="T4" fmla="*/ 7 w 91"/>
                <a:gd name="T5" fmla="*/ 0 h 262"/>
                <a:gd name="T6" fmla="*/ 91 w 91"/>
                <a:gd name="T7" fmla="*/ 253 h 262"/>
                <a:gd name="T8" fmla="*/ 69 w 91"/>
                <a:gd name="T9" fmla="*/ 262 h 262"/>
              </a:gdLst>
              <a:ahLst/>
              <a:cxnLst>
                <a:cxn ang="0">
                  <a:pos x="T0" y="T1"/>
                </a:cxn>
                <a:cxn ang="0">
                  <a:pos x="T2" y="T3"/>
                </a:cxn>
                <a:cxn ang="0">
                  <a:pos x="T4" y="T5"/>
                </a:cxn>
                <a:cxn ang="0">
                  <a:pos x="T6" y="T7"/>
                </a:cxn>
                <a:cxn ang="0">
                  <a:pos x="T8" y="T9"/>
                </a:cxn>
              </a:cxnLst>
              <a:rect l="0" t="0" r="r" b="b"/>
              <a:pathLst>
                <a:path w="91" h="262">
                  <a:moveTo>
                    <a:pt x="69" y="262"/>
                  </a:moveTo>
                  <a:lnTo>
                    <a:pt x="0" y="2"/>
                  </a:lnTo>
                  <a:lnTo>
                    <a:pt x="7" y="0"/>
                  </a:lnTo>
                  <a:lnTo>
                    <a:pt x="91" y="253"/>
                  </a:lnTo>
                  <a:lnTo>
                    <a:pt x="69"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2" name="Oval 287"/>
            <p:cNvSpPr>
              <a:spLocks noChangeArrowheads="1"/>
            </p:cNvSpPr>
            <p:nvPr/>
          </p:nvSpPr>
          <p:spPr bwMode="auto">
            <a:xfrm>
              <a:off x="3998245" y="8111198"/>
              <a:ext cx="30142" cy="2925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3" name="Freeform 288"/>
            <p:cNvSpPr>
              <a:spLocks/>
            </p:cNvSpPr>
            <p:nvPr/>
          </p:nvSpPr>
          <p:spPr bwMode="auto">
            <a:xfrm>
              <a:off x="4384768" y="7815099"/>
              <a:ext cx="79787" cy="327127"/>
            </a:xfrm>
            <a:custGeom>
              <a:avLst/>
              <a:gdLst>
                <a:gd name="T0" fmla="*/ 52 w 52"/>
                <a:gd name="T1" fmla="*/ 188 h 214"/>
                <a:gd name="T2" fmla="*/ 26 w 52"/>
                <a:gd name="T3" fmla="*/ 214 h 214"/>
                <a:gd name="T4" fmla="*/ 26 w 52"/>
                <a:gd name="T5" fmla="*/ 214 h 214"/>
                <a:gd name="T6" fmla="*/ 0 w 52"/>
                <a:gd name="T7" fmla="*/ 188 h 214"/>
                <a:gd name="T8" fmla="*/ 0 w 52"/>
                <a:gd name="T9" fmla="*/ 25 h 214"/>
                <a:gd name="T10" fmla="*/ 26 w 52"/>
                <a:gd name="T11" fmla="*/ 0 h 214"/>
                <a:gd name="T12" fmla="*/ 26 w 52"/>
                <a:gd name="T13" fmla="*/ 0 h 214"/>
                <a:gd name="T14" fmla="*/ 52 w 52"/>
                <a:gd name="T15" fmla="*/ 25 h 214"/>
                <a:gd name="T16" fmla="*/ 52 w 52"/>
                <a:gd name="T17" fmla="*/ 18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214">
                  <a:moveTo>
                    <a:pt x="52" y="188"/>
                  </a:moveTo>
                  <a:cubicBezTo>
                    <a:pt x="52" y="202"/>
                    <a:pt x="40" y="214"/>
                    <a:pt x="26" y="214"/>
                  </a:cubicBezTo>
                  <a:cubicBezTo>
                    <a:pt x="26" y="214"/>
                    <a:pt x="26" y="214"/>
                    <a:pt x="26" y="214"/>
                  </a:cubicBezTo>
                  <a:cubicBezTo>
                    <a:pt x="12" y="214"/>
                    <a:pt x="0" y="202"/>
                    <a:pt x="0" y="188"/>
                  </a:cubicBezTo>
                  <a:cubicBezTo>
                    <a:pt x="0" y="25"/>
                    <a:pt x="0" y="25"/>
                    <a:pt x="0" y="25"/>
                  </a:cubicBezTo>
                  <a:cubicBezTo>
                    <a:pt x="0" y="11"/>
                    <a:pt x="12" y="0"/>
                    <a:pt x="26" y="0"/>
                  </a:cubicBezTo>
                  <a:cubicBezTo>
                    <a:pt x="26" y="0"/>
                    <a:pt x="26" y="0"/>
                    <a:pt x="26" y="0"/>
                  </a:cubicBezTo>
                  <a:cubicBezTo>
                    <a:pt x="40" y="0"/>
                    <a:pt x="52" y="11"/>
                    <a:pt x="52" y="25"/>
                  </a:cubicBezTo>
                  <a:lnTo>
                    <a:pt x="52" y="188"/>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4" name="Freeform 289"/>
            <p:cNvSpPr>
              <a:spLocks/>
            </p:cNvSpPr>
            <p:nvPr/>
          </p:nvSpPr>
          <p:spPr bwMode="auto">
            <a:xfrm>
              <a:off x="4160478" y="8062439"/>
              <a:ext cx="304077" cy="79787"/>
            </a:xfrm>
            <a:custGeom>
              <a:avLst/>
              <a:gdLst>
                <a:gd name="T0" fmla="*/ 173 w 199"/>
                <a:gd name="T1" fmla="*/ 0 h 52"/>
                <a:gd name="T2" fmla="*/ 199 w 199"/>
                <a:gd name="T3" fmla="*/ 26 h 52"/>
                <a:gd name="T4" fmla="*/ 199 w 199"/>
                <a:gd name="T5" fmla="*/ 26 h 52"/>
                <a:gd name="T6" fmla="*/ 173 w 199"/>
                <a:gd name="T7" fmla="*/ 52 h 52"/>
                <a:gd name="T8" fmla="*/ 25 w 199"/>
                <a:gd name="T9" fmla="*/ 52 h 52"/>
                <a:gd name="T10" fmla="*/ 0 w 199"/>
                <a:gd name="T11" fmla="*/ 26 h 52"/>
                <a:gd name="T12" fmla="*/ 0 w 199"/>
                <a:gd name="T13" fmla="*/ 26 h 52"/>
                <a:gd name="T14" fmla="*/ 25 w 199"/>
                <a:gd name="T15" fmla="*/ 0 h 52"/>
                <a:gd name="T16" fmla="*/ 173 w 199"/>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52">
                  <a:moveTo>
                    <a:pt x="173" y="0"/>
                  </a:moveTo>
                  <a:cubicBezTo>
                    <a:pt x="187" y="0"/>
                    <a:pt x="199" y="11"/>
                    <a:pt x="199" y="26"/>
                  </a:cubicBezTo>
                  <a:cubicBezTo>
                    <a:pt x="199" y="26"/>
                    <a:pt x="199" y="26"/>
                    <a:pt x="199" y="26"/>
                  </a:cubicBezTo>
                  <a:cubicBezTo>
                    <a:pt x="199" y="40"/>
                    <a:pt x="187" y="52"/>
                    <a:pt x="173" y="52"/>
                  </a:cubicBezTo>
                  <a:cubicBezTo>
                    <a:pt x="25" y="52"/>
                    <a:pt x="25" y="52"/>
                    <a:pt x="25" y="52"/>
                  </a:cubicBezTo>
                  <a:cubicBezTo>
                    <a:pt x="11" y="52"/>
                    <a:pt x="0" y="40"/>
                    <a:pt x="0" y="26"/>
                  </a:cubicBezTo>
                  <a:cubicBezTo>
                    <a:pt x="0" y="26"/>
                    <a:pt x="0" y="26"/>
                    <a:pt x="0" y="26"/>
                  </a:cubicBezTo>
                  <a:cubicBezTo>
                    <a:pt x="0" y="11"/>
                    <a:pt x="11" y="0"/>
                    <a:pt x="25" y="0"/>
                  </a:cubicBezTo>
                  <a:lnTo>
                    <a:pt x="173"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5" name="Freeform 290"/>
            <p:cNvSpPr>
              <a:spLocks/>
            </p:cNvSpPr>
            <p:nvPr/>
          </p:nvSpPr>
          <p:spPr bwMode="auto">
            <a:xfrm>
              <a:off x="4123244" y="8062439"/>
              <a:ext cx="157801" cy="79787"/>
            </a:xfrm>
            <a:custGeom>
              <a:avLst/>
              <a:gdLst>
                <a:gd name="T0" fmla="*/ 103 w 103"/>
                <a:gd name="T1" fmla="*/ 52 h 52"/>
                <a:gd name="T2" fmla="*/ 0 w 103"/>
                <a:gd name="T3" fmla="*/ 52 h 52"/>
                <a:gd name="T4" fmla="*/ 51 w 103"/>
                <a:gd name="T5" fmla="*/ 0 h 52"/>
                <a:gd name="T6" fmla="*/ 103 w 103"/>
                <a:gd name="T7" fmla="*/ 52 h 52"/>
              </a:gdLst>
              <a:ahLst/>
              <a:cxnLst>
                <a:cxn ang="0">
                  <a:pos x="T0" y="T1"/>
                </a:cxn>
                <a:cxn ang="0">
                  <a:pos x="T2" y="T3"/>
                </a:cxn>
                <a:cxn ang="0">
                  <a:pos x="T4" y="T5"/>
                </a:cxn>
                <a:cxn ang="0">
                  <a:pos x="T6" y="T7"/>
                </a:cxn>
              </a:cxnLst>
              <a:rect l="0" t="0" r="r" b="b"/>
              <a:pathLst>
                <a:path w="103" h="52">
                  <a:moveTo>
                    <a:pt x="103" y="52"/>
                  </a:moveTo>
                  <a:cubicBezTo>
                    <a:pt x="0" y="52"/>
                    <a:pt x="0" y="52"/>
                    <a:pt x="0" y="52"/>
                  </a:cubicBezTo>
                  <a:cubicBezTo>
                    <a:pt x="0" y="23"/>
                    <a:pt x="23" y="0"/>
                    <a:pt x="51" y="0"/>
                  </a:cubicBezTo>
                  <a:cubicBezTo>
                    <a:pt x="80" y="0"/>
                    <a:pt x="103" y="23"/>
                    <a:pt x="103"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6" name="Rectangle 291"/>
            <p:cNvSpPr>
              <a:spLocks noChangeArrowheads="1"/>
            </p:cNvSpPr>
            <p:nvPr/>
          </p:nvSpPr>
          <p:spPr bwMode="auto">
            <a:xfrm>
              <a:off x="4244698" y="8062439"/>
              <a:ext cx="36348" cy="797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7" name="Rectangle 292"/>
            <p:cNvSpPr>
              <a:spLocks noChangeArrowheads="1"/>
            </p:cNvSpPr>
            <p:nvPr/>
          </p:nvSpPr>
          <p:spPr bwMode="auto">
            <a:xfrm>
              <a:off x="4382995" y="7810667"/>
              <a:ext cx="100177" cy="15425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524" name="AutoShape 445"/>
          <p:cNvSpPr>
            <a:spLocks noChangeAspect="1" noChangeArrowheads="1" noTextEdit="1"/>
          </p:cNvSpPr>
          <p:nvPr/>
        </p:nvSpPr>
        <p:spPr bwMode="auto">
          <a:xfrm>
            <a:off x="4683087" y="10518255"/>
            <a:ext cx="688877" cy="25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666" name="Group 665"/>
          <p:cNvGrpSpPr/>
          <p:nvPr/>
        </p:nvGrpSpPr>
        <p:grpSpPr>
          <a:xfrm>
            <a:off x="1571377" y="4510444"/>
            <a:ext cx="340260" cy="998883"/>
            <a:chOff x="11253788" y="1879600"/>
            <a:chExt cx="641349" cy="1882775"/>
          </a:xfrm>
        </p:grpSpPr>
        <p:sp>
          <p:nvSpPr>
            <p:cNvPr id="621" name="Freeform 537"/>
            <p:cNvSpPr>
              <a:spLocks/>
            </p:cNvSpPr>
            <p:nvPr/>
          </p:nvSpPr>
          <p:spPr bwMode="auto">
            <a:xfrm>
              <a:off x="11776075" y="2366963"/>
              <a:ext cx="109537" cy="387350"/>
            </a:xfrm>
            <a:custGeom>
              <a:avLst/>
              <a:gdLst>
                <a:gd name="T0" fmla="*/ 0 w 48"/>
                <a:gd name="T1" fmla="*/ 145 h 169"/>
                <a:gd name="T2" fmla="*/ 24 w 48"/>
                <a:gd name="T3" fmla="*/ 169 h 169"/>
                <a:gd name="T4" fmla="*/ 24 w 48"/>
                <a:gd name="T5" fmla="*/ 169 h 169"/>
                <a:gd name="T6" fmla="*/ 48 w 48"/>
                <a:gd name="T7" fmla="*/ 145 h 169"/>
                <a:gd name="T8" fmla="*/ 48 w 48"/>
                <a:gd name="T9" fmla="*/ 24 h 169"/>
                <a:gd name="T10" fmla="*/ 24 w 48"/>
                <a:gd name="T11" fmla="*/ 0 h 169"/>
                <a:gd name="T12" fmla="*/ 24 w 48"/>
                <a:gd name="T13" fmla="*/ 0 h 169"/>
                <a:gd name="T14" fmla="*/ 0 w 48"/>
                <a:gd name="T15" fmla="*/ 24 h 169"/>
                <a:gd name="T16" fmla="*/ 0 w 48"/>
                <a:gd name="T17"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9">
                  <a:moveTo>
                    <a:pt x="0" y="145"/>
                  </a:moveTo>
                  <a:cubicBezTo>
                    <a:pt x="0" y="158"/>
                    <a:pt x="10" y="169"/>
                    <a:pt x="24" y="169"/>
                  </a:cubicBezTo>
                  <a:cubicBezTo>
                    <a:pt x="24" y="169"/>
                    <a:pt x="24" y="169"/>
                    <a:pt x="24" y="169"/>
                  </a:cubicBezTo>
                  <a:cubicBezTo>
                    <a:pt x="37" y="169"/>
                    <a:pt x="48" y="158"/>
                    <a:pt x="48" y="145"/>
                  </a:cubicBezTo>
                  <a:cubicBezTo>
                    <a:pt x="48" y="24"/>
                    <a:pt x="48" y="24"/>
                    <a:pt x="48" y="24"/>
                  </a:cubicBezTo>
                  <a:cubicBezTo>
                    <a:pt x="48" y="11"/>
                    <a:pt x="37" y="0"/>
                    <a:pt x="24" y="0"/>
                  </a:cubicBezTo>
                  <a:cubicBezTo>
                    <a:pt x="24" y="0"/>
                    <a:pt x="24" y="0"/>
                    <a:pt x="24" y="0"/>
                  </a:cubicBezTo>
                  <a:cubicBezTo>
                    <a:pt x="10" y="0"/>
                    <a:pt x="0" y="11"/>
                    <a:pt x="0" y="24"/>
                  </a:cubicBezTo>
                  <a:lnTo>
                    <a:pt x="0" y="14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2" name="Freeform 538"/>
            <p:cNvSpPr>
              <a:spLocks/>
            </p:cNvSpPr>
            <p:nvPr/>
          </p:nvSpPr>
          <p:spPr bwMode="auto">
            <a:xfrm>
              <a:off x="11271250" y="2366963"/>
              <a:ext cx="114300" cy="387350"/>
            </a:xfrm>
            <a:custGeom>
              <a:avLst/>
              <a:gdLst>
                <a:gd name="T0" fmla="*/ 0 w 49"/>
                <a:gd name="T1" fmla="*/ 145 h 169"/>
                <a:gd name="T2" fmla="*/ 25 w 49"/>
                <a:gd name="T3" fmla="*/ 169 h 169"/>
                <a:gd name="T4" fmla="*/ 25 w 49"/>
                <a:gd name="T5" fmla="*/ 169 h 169"/>
                <a:gd name="T6" fmla="*/ 49 w 49"/>
                <a:gd name="T7" fmla="*/ 145 h 169"/>
                <a:gd name="T8" fmla="*/ 49 w 49"/>
                <a:gd name="T9" fmla="*/ 24 h 169"/>
                <a:gd name="T10" fmla="*/ 25 w 49"/>
                <a:gd name="T11" fmla="*/ 0 h 169"/>
                <a:gd name="T12" fmla="*/ 25 w 49"/>
                <a:gd name="T13" fmla="*/ 0 h 169"/>
                <a:gd name="T14" fmla="*/ 0 w 49"/>
                <a:gd name="T15" fmla="*/ 24 h 169"/>
                <a:gd name="T16" fmla="*/ 0 w 49"/>
                <a:gd name="T17"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69">
                  <a:moveTo>
                    <a:pt x="0" y="145"/>
                  </a:moveTo>
                  <a:cubicBezTo>
                    <a:pt x="0" y="158"/>
                    <a:pt x="11" y="169"/>
                    <a:pt x="25" y="169"/>
                  </a:cubicBezTo>
                  <a:cubicBezTo>
                    <a:pt x="25" y="169"/>
                    <a:pt x="25" y="169"/>
                    <a:pt x="25" y="169"/>
                  </a:cubicBezTo>
                  <a:cubicBezTo>
                    <a:pt x="38" y="169"/>
                    <a:pt x="49" y="158"/>
                    <a:pt x="49" y="145"/>
                  </a:cubicBezTo>
                  <a:cubicBezTo>
                    <a:pt x="49" y="24"/>
                    <a:pt x="49" y="24"/>
                    <a:pt x="49" y="24"/>
                  </a:cubicBezTo>
                  <a:cubicBezTo>
                    <a:pt x="49" y="11"/>
                    <a:pt x="38" y="0"/>
                    <a:pt x="25" y="0"/>
                  </a:cubicBezTo>
                  <a:cubicBezTo>
                    <a:pt x="25" y="0"/>
                    <a:pt x="25" y="0"/>
                    <a:pt x="25" y="0"/>
                  </a:cubicBezTo>
                  <a:cubicBezTo>
                    <a:pt x="11" y="0"/>
                    <a:pt x="0" y="11"/>
                    <a:pt x="0" y="24"/>
                  </a:cubicBezTo>
                  <a:lnTo>
                    <a:pt x="0" y="14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3" name="Freeform 539"/>
            <p:cNvSpPr>
              <a:spLocks/>
            </p:cNvSpPr>
            <p:nvPr/>
          </p:nvSpPr>
          <p:spPr bwMode="auto">
            <a:xfrm>
              <a:off x="11310938" y="2362200"/>
              <a:ext cx="557212" cy="455612"/>
            </a:xfrm>
            <a:custGeom>
              <a:avLst/>
              <a:gdLst>
                <a:gd name="T0" fmla="*/ 31 w 241"/>
                <a:gd name="T1" fmla="*/ 0 h 199"/>
                <a:gd name="T2" fmla="*/ 210 w 241"/>
                <a:gd name="T3" fmla="*/ 0 h 199"/>
                <a:gd name="T4" fmla="*/ 241 w 241"/>
                <a:gd name="T5" fmla="*/ 30 h 199"/>
                <a:gd name="T6" fmla="*/ 241 w 241"/>
                <a:gd name="T7" fmla="*/ 42 h 199"/>
                <a:gd name="T8" fmla="*/ 201 w 241"/>
                <a:gd name="T9" fmla="*/ 42 h 199"/>
                <a:gd name="T10" fmla="*/ 201 w 241"/>
                <a:gd name="T11" fmla="*/ 199 h 199"/>
                <a:gd name="T12" fmla="*/ 32 w 241"/>
                <a:gd name="T13" fmla="*/ 199 h 199"/>
                <a:gd name="T14" fmla="*/ 32 w 241"/>
                <a:gd name="T15" fmla="*/ 42 h 199"/>
                <a:gd name="T16" fmla="*/ 0 w 241"/>
                <a:gd name="T17" fmla="*/ 42 h 199"/>
                <a:gd name="T18" fmla="*/ 0 w 241"/>
                <a:gd name="T19" fmla="*/ 30 h 199"/>
                <a:gd name="T20" fmla="*/ 31 w 241"/>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199">
                  <a:moveTo>
                    <a:pt x="31" y="0"/>
                  </a:moveTo>
                  <a:cubicBezTo>
                    <a:pt x="210" y="0"/>
                    <a:pt x="210" y="0"/>
                    <a:pt x="210" y="0"/>
                  </a:cubicBezTo>
                  <a:cubicBezTo>
                    <a:pt x="227" y="0"/>
                    <a:pt x="241" y="13"/>
                    <a:pt x="241" y="30"/>
                  </a:cubicBezTo>
                  <a:cubicBezTo>
                    <a:pt x="241" y="42"/>
                    <a:pt x="241" y="42"/>
                    <a:pt x="241" y="42"/>
                  </a:cubicBezTo>
                  <a:cubicBezTo>
                    <a:pt x="201" y="42"/>
                    <a:pt x="201" y="42"/>
                    <a:pt x="201" y="42"/>
                  </a:cubicBezTo>
                  <a:cubicBezTo>
                    <a:pt x="201" y="199"/>
                    <a:pt x="201" y="199"/>
                    <a:pt x="201" y="199"/>
                  </a:cubicBezTo>
                  <a:cubicBezTo>
                    <a:pt x="32" y="199"/>
                    <a:pt x="32" y="199"/>
                    <a:pt x="32" y="199"/>
                  </a:cubicBezTo>
                  <a:cubicBezTo>
                    <a:pt x="32" y="42"/>
                    <a:pt x="32" y="42"/>
                    <a:pt x="32" y="42"/>
                  </a:cubicBezTo>
                  <a:cubicBezTo>
                    <a:pt x="0" y="42"/>
                    <a:pt x="0" y="42"/>
                    <a:pt x="0" y="42"/>
                  </a:cubicBezTo>
                  <a:cubicBezTo>
                    <a:pt x="0" y="30"/>
                    <a:pt x="0" y="30"/>
                    <a:pt x="0" y="30"/>
                  </a:cubicBezTo>
                  <a:cubicBezTo>
                    <a:pt x="0" y="13"/>
                    <a:pt x="14" y="0"/>
                    <a:pt x="3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4" name="Freeform 540"/>
            <p:cNvSpPr>
              <a:spLocks/>
            </p:cNvSpPr>
            <p:nvPr/>
          </p:nvSpPr>
          <p:spPr bwMode="auto">
            <a:xfrm>
              <a:off x="11401425" y="2085975"/>
              <a:ext cx="355600" cy="74612"/>
            </a:xfrm>
            <a:custGeom>
              <a:avLst/>
              <a:gdLst>
                <a:gd name="T0" fmla="*/ 154 w 154"/>
                <a:gd name="T1" fmla="*/ 25 h 32"/>
                <a:gd name="T2" fmla="*/ 146 w 154"/>
                <a:gd name="T3" fmla="*/ 32 h 32"/>
                <a:gd name="T4" fmla="*/ 8 w 154"/>
                <a:gd name="T5" fmla="*/ 32 h 32"/>
                <a:gd name="T6" fmla="*/ 0 w 154"/>
                <a:gd name="T7" fmla="*/ 25 h 32"/>
                <a:gd name="T8" fmla="*/ 0 w 154"/>
                <a:gd name="T9" fmla="*/ 8 h 32"/>
                <a:gd name="T10" fmla="*/ 8 w 154"/>
                <a:gd name="T11" fmla="*/ 0 h 32"/>
                <a:gd name="T12" fmla="*/ 146 w 154"/>
                <a:gd name="T13" fmla="*/ 0 h 32"/>
                <a:gd name="T14" fmla="*/ 154 w 154"/>
                <a:gd name="T15" fmla="*/ 8 h 32"/>
                <a:gd name="T16" fmla="*/ 154 w 154"/>
                <a:gd name="T1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2">
                  <a:moveTo>
                    <a:pt x="154" y="25"/>
                  </a:moveTo>
                  <a:cubicBezTo>
                    <a:pt x="154" y="29"/>
                    <a:pt x="151" y="32"/>
                    <a:pt x="146" y="32"/>
                  </a:cubicBezTo>
                  <a:cubicBezTo>
                    <a:pt x="8" y="32"/>
                    <a:pt x="8" y="32"/>
                    <a:pt x="8" y="32"/>
                  </a:cubicBezTo>
                  <a:cubicBezTo>
                    <a:pt x="4" y="32"/>
                    <a:pt x="0" y="29"/>
                    <a:pt x="0" y="25"/>
                  </a:cubicBezTo>
                  <a:cubicBezTo>
                    <a:pt x="0" y="8"/>
                    <a:pt x="0" y="8"/>
                    <a:pt x="0" y="8"/>
                  </a:cubicBezTo>
                  <a:cubicBezTo>
                    <a:pt x="0" y="4"/>
                    <a:pt x="4" y="0"/>
                    <a:pt x="8" y="0"/>
                  </a:cubicBezTo>
                  <a:cubicBezTo>
                    <a:pt x="146" y="0"/>
                    <a:pt x="146" y="0"/>
                    <a:pt x="146" y="0"/>
                  </a:cubicBezTo>
                  <a:cubicBezTo>
                    <a:pt x="151" y="0"/>
                    <a:pt x="154" y="4"/>
                    <a:pt x="154" y="8"/>
                  </a:cubicBezTo>
                  <a:lnTo>
                    <a:pt x="154" y="25"/>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5" name="Freeform 541"/>
            <p:cNvSpPr>
              <a:spLocks/>
            </p:cNvSpPr>
            <p:nvPr/>
          </p:nvSpPr>
          <p:spPr bwMode="auto">
            <a:xfrm>
              <a:off x="11253788" y="3641725"/>
              <a:ext cx="233362" cy="120650"/>
            </a:xfrm>
            <a:custGeom>
              <a:avLst/>
              <a:gdLst>
                <a:gd name="T0" fmla="*/ 57 w 101"/>
                <a:gd name="T1" fmla="*/ 0 h 53"/>
                <a:gd name="T2" fmla="*/ 0 w 101"/>
                <a:gd name="T3" fmla="*/ 53 h 53"/>
                <a:gd name="T4" fmla="*/ 57 w 101"/>
                <a:gd name="T5" fmla="*/ 53 h 53"/>
                <a:gd name="T6" fmla="*/ 101 w 101"/>
                <a:gd name="T7" fmla="*/ 53 h 53"/>
                <a:gd name="T8" fmla="*/ 101 w 101"/>
                <a:gd name="T9" fmla="*/ 0 h 53"/>
                <a:gd name="T10" fmla="*/ 57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57" y="0"/>
                  </a:moveTo>
                  <a:cubicBezTo>
                    <a:pt x="27" y="0"/>
                    <a:pt x="2" y="23"/>
                    <a:pt x="0" y="53"/>
                  </a:cubicBezTo>
                  <a:cubicBezTo>
                    <a:pt x="57" y="53"/>
                    <a:pt x="57" y="53"/>
                    <a:pt x="57" y="53"/>
                  </a:cubicBezTo>
                  <a:cubicBezTo>
                    <a:pt x="101" y="53"/>
                    <a:pt x="101" y="53"/>
                    <a:pt x="101" y="53"/>
                  </a:cubicBezTo>
                  <a:cubicBezTo>
                    <a:pt x="101" y="0"/>
                    <a:pt x="101" y="0"/>
                    <a:pt x="101" y="0"/>
                  </a:cubicBezTo>
                  <a:lnTo>
                    <a:pt x="5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6" name="Freeform 542"/>
            <p:cNvSpPr>
              <a:spLocks/>
            </p:cNvSpPr>
            <p:nvPr/>
          </p:nvSpPr>
          <p:spPr bwMode="auto">
            <a:xfrm>
              <a:off x="11385550" y="2905125"/>
              <a:ext cx="390525" cy="360362"/>
            </a:xfrm>
            <a:custGeom>
              <a:avLst/>
              <a:gdLst>
                <a:gd name="T0" fmla="*/ 246 w 246"/>
                <a:gd name="T1" fmla="*/ 0 h 227"/>
                <a:gd name="T2" fmla="*/ 0 w 246"/>
                <a:gd name="T3" fmla="*/ 0 h 227"/>
                <a:gd name="T4" fmla="*/ 0 w 246"/>
                <a:gd name="T5" fmla="*/ 227 h 227"/>
                <a:gd name="T6" fmla="*/ 62 w 246"/>
                <a:gd name="T7" fmla="*/ 227 h 227"/>
                <a:gd name="T8" fmla="*/ 62 w 246"/>
                <a:gd name="T9" fmla="*/ 81 h 227"/>
                <a:gd name="T10" fmla="*/ 182 w 246"/>
                <a:gd name="T11" fmla="*/ 81 h 227"/>
                <a:gd name="T12" fmla="*/ 182 w 246"/>
                <a:gd name="T13" fmla="*/ 227 h 227"/>
                <a:gd name="T14" fmla="*/ 244 w 246"/>
                <a:gd name="T15" fmla="*/ 227 h 227"/>
                <a:gd name="T16" fmla="*/ 246 w 246"/>
                <a:gd name="T1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227">
                  <a:moveTo>
                    <a:pt x="246" y="0"/>
                  </a:moveTo>
                  <a:lnTo>
                    <a:pt x="0" y="0"/>
                  </a:lnTo>
                  <a:lnTo>
                    <a:pt x="0" y="227"/>
                  </a:lnTo>
                  <a:lnTo>
                    <a:pt x="62" y="227"/>
                  </a:lnTo>
                  <a:lnTo>
                    <a:pt x="62" y="81"/>
                  </a:lnTo>
                  <a:lnTo>
                    <a:pt x="182" y="81"/>
                  </a:lnTo>
                  <a:lnTo>
                    <a:pt x="182" y="227"/>
                  </a:lnTo>
                  <a:lnTo>
                    <a:pt x="244" y="227"/>
                  </a:lnTo>
                  <a:lnTo>
                    <a:pt x="246" y="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7" name="Freeform 543"/>
            <p:cNvSpPr>
              <a:spLocks/>
            </p:cNvSpPr>
            <p:nvPr/>
          </p:nvSpPr>
          <p:spPr bwMode="auto">
            <a:xfrm>
              <a:off x="11542713" y="3641725"/>
              <a:ext cx="233362" cy="120650"/>
            </a:xfrm>
            <a:custGeom>
              <a:avLst/>
              <a:gdLst>
                <a:gd name="T0" fmla="*/ 57 w 101"/>
                <a:gd name="T1" fmla="*/ 0 h 53"/>
                <a:gd name="T2" fmla="*/ 0 w 101"/>
                <a:gd name="T3" fmla="*/ 53 h 53"/>
                <a:gd name="T4" fmla="*/ 57 w 101"/>
                <a:gd name="T5" fmla="*/ 53 h 53"/>
                <a:gd name="T6" fmla="*/ 101 w 101"/>
                <a:gd name="T7" fmla="*/ 53 h 53"/>
                <a:gd name="T8" fmla="*/ 101 w 101"/>
                <a:gd name="T9" fmla="*/ 0 h 53"/>
                <a:gd name="T10" fmla="*/ 57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57" y="0"/>
                  </a:moveTo>
                  <a:cubicBezTo>
                    <a:pt x="27" y="0"/>
                    <a:pt x="2" y="23"/>
                    <a:pt x="0" y="53"/>
                  </a:cubicBezTo>
                  <a:cubicBezTo>
                    <a:pt x="57" y="53"/>
                    <a:pt x="57" y="53"/>
                    <a:pt x="57" y="53"/>
                  </a:cubicBezTo>
                  <a:cubicBezTo>
                    <a:pt x="101" y="53"/>
                    <a:pt x="101" y="53"/>
                    <a:pt x="101" y="53"/>
                  </a:cubicBezTo>
                  <a:cubicBezTo>
                    <a:pt x="101" y="0"/>
                    <a:pt x="101" y="0"/>
                    <a:pt x="101" y="0"/>
                  </a:cubicBezTo>
                  <a:lnTo>
                    <a:pt x="5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8" name="Freeform 544"/>
            <p:cNvSpPr>
              <a:spLocks/>
            </p:cNvSpPr>
            <p:nvPr/>
          </p:nvSpPr>
          <p:spPr bwMode="auto">
            <a:xfrm>
              <a:off x="11517313" y="2219325"/>
              <a:ext cx="123825" cy="246062"/>
            </a:xfrm>
            <a:custGeom>
              <a:avLst/>
              <a:gdLst>
                <a:gd name="T0" fmla="*/ 39 w 78"/>
                <a:gd name="T1" fmla="*/ 155 h 155"/>
                <a:gd name="T2" fmla="*/ 0 w 78"/>
                <a:gd name="T3" fmla="*/ 146 h 155"/>
                <a:gd name="T4" fmla="*/ 0 w 78"/>
                <a:gd name="T5" fmla="*/ 0 h 155"/>
                <a:gd name="T6" fmla="*/ 78 w 78"/>
                <a:gd name="T7" fmla="*/ 0 h 155"/>
                <a:gd name="T8" fmla="*/ 78 w 78"/>
                <a:gd name="T9" fmla="*/ 155 h 155"/>
                <a:gd name="T10" fmla="*/ 39 w 78"/>
                <a:gd name="T11" fmla="*/ 155 h 155"/>
              </a:gdLst>
              <a:ahLst/>
              <a:cxnLst>
                <a:cxn ang="0">
                  <a:pos x="T0" y="T1"/>
                </a:cxn>
                <a:cxn ang="0">
                  <a:pos x="T2" y="T3"/>
                </a:cxn>
                <a:cxn ang="0">
                  <a:pos x="T4" y="T5"/>
                </a:cxn>
                <a:cxn ang="0">
                  <a:pos x="T6" y="T7"/>
                </a:cxn>
                <a:cxn ang="0">
                  <a:pos x="T8" y="T9"/>
                </a:cxn>
                <a:cxn ang="0">
                  <a:pos x="T10" y="T11"/>
                </a:cxn>
              </a:cxnLst>
              <a:rect l="0" t="0" r="r" b="b"/>
              <a:pathLst>
                <a:path w="78" h="155">
                  <a:moveTo>
                    <a:pt x="39" y="155"/>
                  </a:moveTo>
                  <a:lnTo>
                    <a:pt x="0" y="146"/>
                  </a:lnTo>
                  <a:lnTo>
                    <a:pt x="0" y="0"/>
                  </a:lnTo>
                  <a:lnTo>
                    <a:pt x="78" y="0"/>
                  </a:lnTo>
                  <a:lnTo>
                    <a:pt x="78" y="155"/>
                  </a:lnTo>
                  <a:lnTo>
                    <a:pt x="39" y="15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9" name="Freeform 545"/>
            <p:cNvSpPr>
              <a:spLocks/>
            </p:cNvSpPr>
            <p:nvPr/>
          </p:nvSpPr>
          <p:spPr bwMode="auto">
            <a:xfrm>
              <a:off x="11517313" y="2219325"/>
              <a:ext cx="123825" cy="106362"/>
            </a:xfrm>
            <a:custGeom>
              <a:avLst/>
              <a:gdLst>
                <a:gd name="T0" fmla="*/ 0 w 54"/>
                <a:gd name="T1" fmla="*/ 43 h 46"/>
                <a:gd name="T2" fmla="*/ 27 w 54"/>
                <a:gd name="T3" fmla="*/ 46 h 46"/>
                <a:gd name="T4" fmla="*/ 54 w 54"/>
                <a:gd name="T5" fmla="*/ 43 h 46"/>
                <a:gd name="T6" fmla="*/ 54 w 54"/>
                <a:gd name="T7" fmla="*/ 0 h 46"/>
                <a:gd name="T8" fmla="*/ 0 w 54"/>
                <a:gd name="T9" fmla="*/ 0 h 46"/>
                <a:gd name="T10" fmla="*/ 0 w 54"/>
                <a:gd name="T11" fmla="*/ 43 h 46"/>
              </a:gdLst>
              <a:ahLst/>
              <a:cxnLst>
                <a:cxn ang="0">
                  <a:pos x="T0" y="T1"/>
                </a:cxn>
                <a:cxn ang="0">
                  <a:pos x="T2" y="T3"/>
                </a:cxn>
                <a:cxn ang="0">
                  <a:pos x="T4" y="T5"/>
                </a:cxn>
                <a:cxn ang="0">
                  <a:pos x="T6" y="T7"/>
                </a:cxn>
                <a:cxn ang="0">
                  <a:pos x="T8" y="T9"/>
                </a:cxn>
                <a:cxn ang="0">
                  <a:pos x="T10" y="T11"/>
                </a:cxn>
              </a:cxnLst>
              <a:rect l="0" t="0" r="r" b="b"/>
              <a:pathLst>
                <a:path w="54" h="46">
                  <a:moveTo>
                    <a:pt x="0" y="43"/>
                  </a:moveTo>
                  <a:cubicBezTo>
                    <a:pt x="9" y="45"/>
                    <a:pt x="18" y="46"/>
                    <a:pt x="27" y="46"/>
                  </a:cubicBezTo>
                  <a:cubicBezTo>
                    <a:pt x="36" y="46"/>
                    <a:pt x="45" y="45"/>
                    <a:pt x="54" y="43"/>
                  </a:cubicBezTo>
                  <a:cubicBezTo>
                    <a:pt x="54" y="0"/>
                    <a:pt x="54" y="0"/>
                    <a:pt x="54" y="0"/>
                  </a:cubicBezTo>
                  <a:cubicBezTo>
                    <a:pt x="0" y="0"/>
                    <a:pt x="0" y="0"/>
                    <a:pt x="0" y="0"/>
                  </a:cubicBezTo>
                  <a:lnTo>
                    <a:pt x="0" y="43"/>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0" name="Freeform 546"/>
            <p:cNvSpPr>
              <a:spLocks/>
            </p:cNvSpPr>
            <p:nvPr/>
          </p:nvSpPr>
          <p:spPr bwMode="auto">
            <a:xfrm>
              <a:off x="11433175" y="2028825"/>
              <a:ext cx="293687" cy="273050"/>
            </a:xfrm>
            <a:custGeom>
              <a:avLst/>
              <a:gdLst>
                <a:gd name="T0" fmla="*/ 0 w 127"/>
                <a:gd name="T1" fmla="*/ 0 h 119"/>
                <a:gd name="T2" fmla="*/ 0 w 127"/>
                <a:gd name="T3" fmla="*/ 98 h 119"/>
                <a:gd name="T4" fmla="*/ 63 w 127"/>
                <a:gd name="T5" fmla="*/ 119 h 119"/>
                <a:gd name="T6" fmla="*/ 127 w 127"/>
                <a:gd name="T7" fmla="*/ 98 h 119"/>
                <a:gd name="T8" fmla="*/ 127 w 127"/>
                <a:gd name="T9" fmla="*/ 0 h 119"/>
                <a:gd name="T10" fmla="*/ 0 w 127"/>
                <a:gd name="T11" fmla="*/ 0 h 119"/>
              </a:gdLst>
              <a:ahLst/>
              <a:cxnLst>
                <a:cxn ang="0">
                  <a:pos x="T0" y="T1"/>
                </a:cxn>
                <a:cxn ang="0">
                  <a:pos x="T2" y="T3"/>
                </a:cxn>
                <a:cxn ang="0">
                  <a:pos x="T4" y="T5"/>
                </a:cxn>
                <a:cxn ang="0">
                  <a:pos x="T6" y="T7"/>
                </a:cxn>
                <a:cxn ang="0">
                  <a:pos x="T8" y="T9"/>
                </a:cxn>
                <a:cxn ang="0">
                  <a:pos x="T10" y="T11"/>
                </a:cxn>
              </a:cxnLst>
              <a:rect l="0" t="0" r="r" b="b"/>
              <a:pathLst>
                <a:path w="127" h="119">
                  <a:moveTo>
                    <a:pt x="0" y="0"/>
                  </a:moveTo>
                  <a:cubicBezTo>
                    <a:pt x="0" y="98"/>
                    <a:pt x="0" y="98"/>
                    <a:pt x="0" y="98"/>
                  </a:cubicBezTo>
                  <a:cubicBezTo>
                    <a:pt x="18" y="111"/>
                    <a:pt x="40" y="119"/>
                    <a:pt x="63" y="119"/>
                  </a:cubicBezTo>
                  <a:cubicBezTo>
                    <a:pt x="97" y="119"/>
                    <a:pt x="127" y="98"/>
                    <a:pt x="127" y="98"/>
                  </a:cubicBezTo>
                  <a:cubicBezTo>
                    <a:pt x="127" y="0"/>
                    <a:pt x="127" y="0"/>
                    <a:pt x="127"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1" name="Rectangle 547"/>
            <p:cNvSpPr>
              <a:spLocks noChangeArrowheads="1"/>
            </p:cNvSpPr>
            <p:nvPr/>
          </p:nvSpPr>
          <p:spPr bwMode="auto">
            <a:xfrm>
              <a:off x="11674475" y="3265488"/>
              <a:ext cx="98425" cy="37623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2" name="Rectangle 548"/>
            <p:cNvSpPr>
              <a:spLocks noChangeArrowheads="1"/>
            </p:cNvSpPr>
            <p:nvPr/>
          </p:nvSpPr>
          <p:spPr bwMode="auto">
            <a:xfrm>
              <a:off x="11385550" y="3265488"/>
              <a:ext cx="98425" cy="37623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3" name="Rectangle 549"/>
            <p:cNvSpPr>
              <a:spLocks noChangeArrowheads="1"/>
            </p:cNvSpPr>
            <p:nvPr/>
          </p:nvSpPr>
          <p:spPr bwMode="auto">
            <a:xfrm>
              <a:off x="11385550" y="3397250"/>
              <a:ext cx="101600" cy="244475"/>
            </a:xfrm>
            <a:prstGeom prst="rect">
              <a:avLst/>
            </a:prstGeom>
            <a:solidFill>
              <a:srgbClr val="F47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4" name="Rectangle 550"/>
            <p:cNvSpPr>
              <a:spLocks noChangeArrowheads="1"/>
            </p:cNvSpPr>
            <p:nvPr/>
          </p:nvSpPr>
          <p:spPr bwMode="auto">
            <a:xfrm>
              <a:off x="11385550" y="3484563"/>
              <a:ext cx="10160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5" name="Rectangle 551"/>
            <p:cNvSpPr>
              <a:spLocks noChangeArrowheads="1"/>
            </p:cNvSpPr>
            <p:nvPr/>
          </p:nvSpPr>
          <p:spPr bwMode="auto">
            <a:xfrm>
              <a:off x="11385550" y="3436938"/>
              <a:ext cx="10160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6" name="Rectangle 552"/>
            <p:cNvSpPr>
              <a:spLocks noChangeArrowheads="1"/>
            </p:cNvSpPr>
            <p:nvPr/>
          </p:nvSpPr>
          <p:spPr bwMode="auto">
            <a:xfrm>
              <a:off x="11674475" y="3397250"/>
              <a:ext cx="98425" cy="244475"/>
            </a:xfrm>
            <a:prstGeom prst="rect">
              <a:avLst/>
            </a:prstGeom>
            <a:solidFill>
              <a:srgbClr val="F47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7" name="Rectangle 553"/>
            <p:cNvSpPr>
              <a:spLocks noChangeArrowheads="1"/>
            </p:cNvSpPr>
            <p:nvPr/>
          </p:nvSpPr>
          <p:spPr bwMode="auto">
            <a:xfrm>
              <a:off x="11674475" y="3484563"/>
              <a:ext cx="984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8" name="Rectangle 554"/>
            <p:cNvSpPr>
              <a:spLocks noChangeArrowheads="1"/>
            </p:cNvSpPr>
            <p:nvPr/>
          </p:nvSpPr>
          <p:spPr bwMode="auto">
            <a:xfrm>
              <a:off x="11674475" y="3436938"/>
              <a:ext cx="984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9" name="Freeform 555"/>
            <p:cNvSpPr>
              <a:spLocks/>
            </p:cNvSpPr>
            <p:nvPr/>
          </p:nvSpPr>
          <p:spPr bwMode="auto">
            <a:xfrm>
              <a:off x="11385550" y="2362200"/>
              <a:ext cx="390525" cy="542925"/>
            </a:xfrm>
            <a:custGeom>
              <a:avLst/>
              <a:gdLst>
                <a:gd name="T0" fmla="*/ 33 w 169"/>
                <a:gd name="T1" fmla="*/ 19 h 237"/>
                <a:gd name="T2" fmla="*/ 33 w 169"/>
                <a:gd name="T3" fmla="*/ 0 h 237"/>
                <a:gd name="T4" fmla="*/ 57 w 169"/>
                <a:gd name="T5" fmla="*/ 0 h 237"/>
                <a:gd name="T6" fmla="*/ 84 w 169"/>
                <a:gd name="T7" fmla="*/ 26 h 237"/>
                <a:gd name="T8" fmla="*/ 111 w 169"/>
                <a:gd name="T9" fmla="*/ 0 h 237"/>
                <a:gd name="T10" fmla="*/ 138 w 169"/>
                <a:gd name="T11" fmla="*/ 0 h 237"/>
                <a:gd name="T12" fmla="*/ 138 w 169"/>
                <a:gd name="T13" fmla="*/ 19 h 237"/>
                <a:gd name="T14" fmla="*/ 169 w 169"/>
                <a:gd name="T15" fmla="*/ 70 h 237"/>
                <a:gd name="T16" fmla="*/ 169 w 169"/>
                <a:gd name="T17" fmla="*/ 237 h 237"/>
                <a:gd name="T18" fmla="*/ 0 w 169"/>
                <a:gd name="T19" fmla="*/ 237 h 237"/>
                <a:gd name="T20" fmla="*/ 0 w 169"/>
                <a:gd name="T21" fmla="*/ 71 h 237"/>
                <a:gd name="T22" fmla="*/ 33 w 169"/>
                <a:gd name="T23" fmla="*/ 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37">
                  <a:moveTo>
                    <a:pt x="33" y="19"/>
                  </a:moveTo>
                  <a:cubicBezTo>
                    <a:pt x="33" y="0"/>
                    <a:pt x="33" y="0"/>
                    <a:pt x="33" y="0"/>
                  </a:cubicBezTo>
                  <a:cubicBezTo>
                    <a:pt x="57" y="0"/>
                    <a:pt x="57" y="0"/>
                    <a:pt x="57" y="0"/>
                  </a:cubicBezTo>
                  <a:cubicBezTo>
                    <a:pt x="57" y="14"/>
                    <a:pt x="69" y="26"/>
                    <a:pt x="84" y="26"/>
                  </a:cubicBezTo>
                  <a:cubicBezTo>
                    <a:pt x="99" y="26"/>
                    <a:pt x="111" y="14"/>
                    <a:pt x="111" y="0"/>
                  </a:cubicBezTo>
                  <a:cubicBezTo>
                    <a:pt x="138" y="0"/>
                    <a:pt x="138" y="0"/>
                    <a:pt x="138" y="0"/>
                  </a:cubicBezTo>
                  <a:cubicBezTo>
                    <a:pt x="138" y="19"/>
                    <a:pt x="138" y="19"/>
                    <a:pt x="138" y="19"/>
                  </a:cubicBezTo>
                  <a:cubicBezTo>
                    <a:pt x="138" y="41"/>
                    <a:pt x="150" y="60"/>
                    <a:pt x="169" y="70"/>
                  </a:cubicBezTo>
                  <a:cubicBezTo>
                    <a:pt x="169" y="237"/>
                    <a:pt x="169" y="237"/>
                    <a:pt x="169" y="237"/>
                  </a:cubicBezTo>
                  <a:cubicBezTo>
                    <a:pt x="0" y="237"/>
                    <a:pt x="0" y="237"/>
                    <a:pt x="0" y="237"/>
                  </a:cubicBezTo>
                  <a:cubicBezTo>
                    <a:pt x="0" y="71"/>
                    <a:pt x="0" y="71"/>
                    <a:pt x="0" y="71"/>
                  </a:cubicBezTo>
                  <a:cubicBezTo>
                    <a:pt x="19" y="62"/>
                    <a:pt x="33" y="42"/>
                    <a:pt x="33" y="19"/>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0" name="Freeform 556"/>
            <p:cNvSpPr>
              <a:spLocks/>
            </p:cNvSpPr>
            <p:nvPr/>
          </p:nvSpPr>
          <p:spPr bwMode="auto">
            <a:xfrm>
              <a:off x="11274425" y="2343150"/>
              <a:ext cx="77787" cy="153987"/>
            </a:xfrm>
            <a:custGeom>
              <a:avLst/>
              <a:gdLst>
                <a:gd name="T0" fmla="*/ 34 w 34"/>
                <a:gd name="T1" fmla="*/ 67 h 67"/>
                <a:gd name="T2" fmla="*/ 34 w 34"/>
                <a:gd name="T3" fmla="*/ 0 h 67"/>
                <a:gd name="T4" fmla="*/ 0 w 34"/>
                <a:gd name="T5" fmla="*/ 33 h 67"/>
                <a:gd name="T6" fmla="*/ 34 w 34"/>
                <a:gd name="T7" fmla="*/ 67 h 67"/>
              </a:gdLst>
              <a:ahLst/>
              <a:cxnLst>
                <a:cxn ang="0">
                  <a:pos x="T0" y="T1"/>
                </a:cxn>
                <a:cxn ang="0">
                  <a:pos x="T2" y="T3"/>
                </a:cxn>
                <a:cxn ang="0">
                  <a:pos x="T4" y="T5"/>
                </a:cxn>
                <a:cxn ang="0">
                  <a:pos x="T6" y="T7"/>
                </a:cxn>
              </a:cxnLst>
              <a:rect l="0" t="0" r="r" b="b"/>
              <a:pathLst>
                <a:path w="34" h="67">
                  <a:moveTo>
                    <a:pt x="34" y="67"/>
                  </a:moveTo>
                  <a:cubicBezTo>
                    <a:pt x="34" y="0"/>
                    <a:pt x="34" y="0"/>
                    <a:pt x="34" y="0"/>
                  </a:cubicBezTo>
                  <a:cubicBezTo>
                    <a:pt x="15" y="0"/>
                    <a:pt x="0" y="15"/>
                    <a:pt x="0" y="33"/>
                  </a:cubicBezTo>
                  <a:cubicBezTo>
                    <a:pt x="0" y="52"/>
                    <a:pt x="15" y="67"/>
                    <a:pt x="34" y="67"/>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1" name="Freeform 557"/>
            <p:cNvSpPr>
              <a:spLocks/>
            </p:cNvSpPr>
            <p:nvPr/>
          </p:nvSpPr>
          <p:spPr bwMode="auto">
            <a:xfrm>
              <a:off x="11807825" y="2343150"/>
              <a:ext cx="77787" cy="153987"/>
            </a:xfrm>
            <a:custGeom>
              <a:avLst/>
              <a:gdLst>
                <a:gd name="T0" fmla="*/ 0 w 34"/>
                <a:gd name="T1" fmla="*/ 0 h 67"/>
                <a:gd name="T2" fmla="*/ 0 w 34"/>
                <a:gd name="T3" fmla="*/ 67 h 67"/>
                <a:gd name="T4" fmla="*/ 34 w 34"/>
                <a:gd name="T5" fmla="*/ 33 h 67"/>
                <a:gd name="T6" fmla="*/ 0 w 34"/>
                <a:gd name="T7" fmla="*/ 0 h 67"/>
              </a:gdLst>
              <a:ahLst/>
              <a:cxnLst>
                <a:cxn ang="0">
                  <a:pos x="T0" y="T1"/>
                </a:cxn>
                <a:cxn ang="0">
                  <a:pos x="T2" y="T3"/>
                </a:cxn>
                <a:cxn ang="0">
                  <a:pos x="T4" y="T5"/>
                </a:cxn>
                <a:cxn ang="0">
                  <a:pos x="T6" y="T7"/>
                </a:cxn>
              </a:cxnLst>
              <a:rect l="0" t="0" r="r" b="b"/>
              <a:pathLst>
                <a:path w="34" h="67">
                  <a:moveTo>
                    <a:pt x="0" y="0"/>
                  </a:moveTo>
                  <a:cubicBezTo>
                    <a:pt x="0" y="67"/>
                    <a:pt x="0" y="67"/>
                    <a:pt x="0" y="67"/>
                  </a:cubicBezTo>
                  <a:cubicBezTo>
                    <a:pt x="19" y="67"/>
                    <a:pt x="34" y="52"/>
                    <a:pt x="34" y="33"/>
                  </a:cubicBezTo>
                  <a:cubicBezTo>
                    <a:pt x="34" y="15"/>
                    <a:pt x="19"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2" name="Freeform 558"/>
            <p:cNvSpPr>
              <a:spLocks/>
            </p:cNvSpPr>
            <p:nvPr/>
          </p:nvSpPr>
          <p:spPr bwMode="auto">
            <a:xfrm>
              <a:off x="11352213" y="2203450"/>
              <a:ext cx="455612" cy="320675"/>
            </a:xfrm>
            <a:custGeom>
              <a:avLst/>
              <a:gdLst>
                <a:gd name="T0" fmla="*/ 0 w 197"/>
                <a:gd name="T1" fmla="*/ 129 h 140"/>
                <a:gd name="T2" fmla="*/ 11 w 197"/>
                <a:gd name="T3" fmla="*/ 140 h 140"/>
                <a:gd name="T4" fmla="*/ 186 w 197"/>
                <a:gd name="T5" fmla="*/ 140 h 140"/>
                <a:gd name="T6" fmla="*/ 197 w 197"/>
                <a:gd name="T7" fmla="*/ 129 h 140"/>
                <a:gd name="T8" fmla="*/ 197 w 197"/>
                <a:gd name="T9" fmla="*/ 11 h 140"/>
                <a:gd name="T10" fmla="*/ 186 w 197"/>
                <a:gd name="T11" fmla="*/ 0 h 140"/>
                <a:gd name="T12" fmla="*/ 11 w 197"/>
                <a:gd name="T13" fmla="*/ 0 h 140"/>
                <a:gd name="T14" fmla="*/ 0 w 197"/>
                <a:gd name="T15" fmla="*/ 11 h 140"/>
                <a:gd name="T16" fmla="*/ 0 w 197"/>
                <a:gd name="T17"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40">
                  <a:moveTo>
                    <a:pt x="0" y="129"/>
                  </a:moveTo>
                  <a:cubicBezTo>
                    <a:pt x="0" y="135"/>
                    <a:pt x="5" y="140"/>
                    <a:pt x="11" y="140"/>
                  </a:cubicBezTo>
                  <a:cubicBezTo>
                    <a:pt x="186" y="140"/>
                    <a:pt x="186" y="140"/>
                    <a:pt x="186" y="140"/>
                  </a:cubicBezTo>
                  <a:cubicBezTo>
                    <a:pt x="192" y="140"/>
                    <a:pt x="197" y="135"/>
                    <a:pt x="197" y="129"/>
                  </a:cubicBezTo>
                  <a:cubicBezTo>
                    <a:pt x="197" y="11"/>
                    <a:pt x="197" y="11"/>
                    <a:pt x="197" y="11"/>
                  </a:cubicBezTo>
                  <a:cubicBezTo>
                    <a:pt x="197" y="5"/>
                    <a:pt x="192" y="0"/>
                    <a:pt x="186" y="0"/>
                  </a:cubicBezTo>
                  <a:cubicBezTo>
                    <a:pt x="11" y="0"/>
                    <a:pt x="11" y="0"/>
                    <a:pt x="11" y="0"/>
                  </a:cubicBezTo>
                  <a:cubicBezTo>
                    <a:pt x="5" y="0"/>
                    <a:pt x="0" y="5"/>
                    <a:pt x="0" y="11"/>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3" name="Freeform 559"/>
            <p:cNvSpPr>
              <a:spLocks/>
            </p:cNvSpPr>
            <p:nvPr/>
          </p:nvSpPr>
          <p:spPr bwMode="auto">
            <a:xfrm>
              <a:off x="11717338" y="2366963"/>
              <a:ext cx="96837" cy="119062"/>
            </a:xfrm>
            <a:custGeom>
              <a:avLst/>
              <a:gdLst>
                <a:gd name="T0" fmla="*/ 14 w 42"/>
                <a:gd name="T1" fmla="*/ 0 h 52"/>
                <a:gd name="T2" fmla="*/ 42 w 42"/>
                <a:gd name="T3" fmla="*/ 0 h 52"/>
                <a:gd name="T4" fmla="*/ 42 w 42"/>
                <a:gd name="T5" fmla="*/ 52 h 52"/>
                <a:gd name="T6" fmla="*/ 14 w 42"/>
                <a:gd name="T7" fmla="*/ 52 h 52"/>
                <a:gd name="T8" fmla="*/ 0 w 42"/>
                <a:gd name="T9" fmla="*/ 38 h 52"/>
                <a:gd name="T10" fmla="*/ 0 w 42"/>
                <a:gd name="T11" fmla="*/ 14 h 52"/>
                <a:gd name="T12" fmla="*/ 14 w 42"/>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14" y="0"/>
                  </a:moveTo>
                  <a:cubicBezTo>
                    <a:pt x="42" y="0"/>
                    <a:pt x="42" y="0"/>
                    <a:pt x="42" y="0"/>
                  </a:cubicBezTo>
                  <a:cubicBezTo>
                    <a:pt x="42" y="52"/>
                    <a:pt x="42" y="52"/>
                    <a:pt x="42" y="52"/>
                  </a:cubicBezTo>
                  <a:cubicBezTo>
                    <a:pt x="14" y="52"/>
                    <a:pt x="14" y="52"/>
                    <a:pt x="14" y="52"/>
                  </a:cubicBezTo>
                  <a:cubicBezTo>
                    <a:pt x="6" y="52"/>
                    <a:pt x="0" y="46"/>
                    <a:pt x="0" y="38"/>
                  </a:cubicBezTo>
                  <a:cubicBezTo>
                    <a:pt x="0" y="14"/>
                    <a:pt x="0" y="14"/>
                    <a:pt x="0" y="14"/>
                  </a:cubicBezTo>
                  <a:cubicBezTo>
                    <a:pt x="0" y="6"/>
                    <a:pt x="6" y="0"/>
                    <a:pt x="14"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4" name="Freeform 560"/>
            <p:cNvSpPr>
              <a:spLocks/>
            </p:cNvSpPr>
            <p:nvPr/>
          </p:nvSpPr>
          <p:spPr bwMode="auto">
            <a:xfrm>
              <a:off x="11347450" y="2366963"/>
              <a:ext cx="96837" cy="119062"/>
            </a:xfrm>
            <a:custGeom>
              <a:avLst/>
              <a:gdLst>
                <a:gd name="T0" fmla="*/ 27 w 42"/>
                <a:gd name="T1" fmla="*/ 52 h 52"/>
                <a:gd name="T2" fmla="*/ 0 w 42"/>
                <a:gd name="T3" fmla="*/ 52 h 52"/>
                <a:gd name="T4" fmla="*/ 0 w 42"/>
                <a:gd name="T5" fmla="*/ 0 h 52"/>
                <a:gd name="T6" fmla="*/ 27 w 42"/>
                <a:gd name="T7" fmla="*/ 0 h 52"/>
                <a:gd name="T8" fmla="*/ 42 w 42"/>
                <a:gd name="T9" fmla="*/ 14 h 52"/>
                <a:gd name="T10" fmla="*/ 42 w 42"/>
                <a:gd name="T11" fmla="*/ 38 h 52"/>
                <a:gd name="T12" fmla="*/ 27 w 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27" y="52"/>
                  </a:moveTo>
                  <a:cubicBezTo>
                    <a:pt x="0" y="52"/>
                    <a:pt x="0" y="52"/>
                    <a:pt x="0" y="52"/>
                  </a:cubicBezTo>
                  <a:cubicBezTo>
                    <a:pt x="0" y="0"/>
                    <a:pt x="0" y="0"/>
                    <a:pt x="0" y="0"/>
                  </a:cubicBezTo>
                  <a:cubicBezTo>
                    <a:pt x="27" y="0"/>
                    <a:pt x="27" y="0"/>
                    <a:pt x="27" y="0"/>
                  </a:cubicBezTo>
                  <a:cubicBezTo>
                    <a:pt x="35" y="0"/>
                    <a:pt x="42" y="6"/>
                    <a:pt x="42" y="14"/>
                  </a:cubicBezTo>
                  <a:cubicBezTo>
                    <a:pt x="42" y="38"/>
                    <a:pt x="42" y="38"/>
                    <a:pt x="42" y="38"/>
                  </a:cubicBezTo>
                  <a:cubicBezTo>
                    <a:pt x="42" y="46"/>
                    <a:pt x="35" y="52"/>
                    <a:pt x="27"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5" name="Freeform 561"/>
            <p:cNvSpPr>
              <a:spLocks/>
            </p:cNvSpPr>
            <p:nvPr/>
          </p:nvSpPr>
          <p:spPr bwMode="auto">
            <a:xfrm>
              <a:off x="11261725" y="1920875"/>
              <a:ext cx="633412" cy="71437"/>
            </a:xfrm>
            <a:custGeom>
              <a:avLst/>
              <a:gdLst>
                <a:gd name="T0" fmla="*/ 274 w 274"/>
                <a:gd name="T1" fmla="*/ 31 h 31"/>
                <a:gd name="T2" fmla="*/ 161 w 274"/>
                <a:gd name="T3" fmla="*/ 31 h 31"/>
                <a:gd name="T4" fmla="*/ 113 w 274"/>
                <a:gd name="T5" fmla="*/ 31 h 31"/>
                <a:gd name="T6" fmla="*/ 0 w 274"/>
                <a:gd name="T7" fmla="*/ 31 h 31"/>
              </a:gdLst>
              <a:ahLst/>
              <a:cxnLst>
                <a:cxn ang="0">
                  <a:pos x="T0" y="T1"/>
                </a:cxn>
                <a:cxn ang="0">
                  <a:pos x="T2" y="T3"/>
                </a:cxn>
                <a:cxn ang="0">
                  <a:pos x="T4" y="T5"/>
                </a:cxn>
                <a:cxn ang="0">
                  <a:pos x="T6" y="T7"/>
                </a:cxn>
              </a:cxnLst>
              <a:rect l="0" t="0" r="r" b="b"/>
              <a:pathLst>
                <a:path w="274" h="31">
                  <a:moveTo>
                    <a:pt x="274" y="31"/>
                  </a:moveTo>
                  <a:cubicBezTo>
                    <a:pt x="243" y="0"/>
                    <a:pt x="193" y="0"/>
                    <a:pt x="161" y="31"/>
                  </a:cubicBezTo>
                  <a:cubicBezTo>
                    <a:pt x="113" y="31"/>
                    <a:pt x="113" y="31"/>
                    <a:pt x="113" y="31"/>
                  </a:cubicBezTo>
                  <a:cubicBezTo>
                    <a:pt x="82" y="0"/>
                    <a:pt x="31" y="0"/>
                    <a:pt x="0" y="31"/>
                  </a:cubicBezTo>
                </a:path>
              </a:pathLst>
            </a:custGeom>
            <a:noFill/>
            <a:ln w="30163" cap="rnd">
              <a:solidFill>
                <a:srgbClr val="6D492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6" name="Freeform 562"/>
            <p:cNvSpPr>
              <a:spLocks/>
            </p:cNvSpPr>
            <p:nvPr/>
          </p:nvSpPr>
          <p:spPr bwMode="auto">
            <a:xfrm>
              <a:off x="11433175" y="1879600"/>
              <a:ext cx="293687" cy="280987"/>
            </a:xfrm>
            <a:custGeom>
              <a:avLst/>
              <a:gdLst>
                <a:gd name="T0" fmla="*/ 64 w 127"/>
                <a:gd name="T1" fmla="*/ 0 h 122"/>
                <a:gd name="T2" fmla="*/ 0 w 127"/>
                <a:gd name="T3" fmla="*/ 63 h 122"/>
                <a:gd name="T4" fmla="*/ 0 w 127"/>
                <a:gd name="T5" fmla="*/ 65 h 122"/>
                <a:gd name="T6" fmla="*/ 0 w 127"/>
                <a:gd name="T7" fmla="*/ 122 h 122"/>
                <a:gd name="T8" fmla="*/ 58 w 127"/>
                <a:gd name="T9" fmla="*/ 65 h 122"/>
                <a:gd name="T10" fmla="*/ 69 w 127"/>
                <a:gd name="T11" fmla="*/ 65 h 122"/>
                <a:gd name="T12" fmla="*/ 127 w 127"/>
                <a:gd name="T13" fmla="*/ 122 h 122"/>
                <a:gd name="T14" fmla="*/ 127 w 127"/>
                <a:gd name="T15" fmla="*/ 65 h 122"/>
                <a:gd name="T16" fmla="*/ 127 w 127"/>
                <a:gd name="T17" fmla="*/ 63 h 122"/>
                <a:gd name="T18" fmla="*/ 64 w 127"/>
                <a:gd name="T1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22">
                  <a:moveTo>
                    <a:pt x="64" y="0"/>
                  </a:moveTo>
                  <a:cubicBezTo>
                    <a:pt x="29" y="0"/>
                    <a:pt x="0" y="28"/>
                    <a:pt x="0" y="63"/>
                  </a:cubicBezTo>
                  <a:cubicBezTo>
                    <a:pt x="0" y="65"/>
                    <a:pt x="0" y="65"/>
                    <a:pt x="0" y="65"/>
                  </a:cubicBezTo>
                  <a:cubicBezTo>
                    <a:pt x="0" y="122"/>
                    <a:pt x="0" y="122"/>
                    <a:pt x="0" y="122"/>
                  </a:cubicBezTo>
                  <a:cubicBezTo>
                    <a:pt x="0" y="91"/>
                    <a:pt x="26" y="65"/>
                    <a:pt x="58" y="65"/>
                  </a:cubicBezTo>
                  <a:cubicBezTo>
                    <a:pt x="69" y="65"/>
                    <a:pt x="69" y="65"/>
                    <a:pt x="69" y="65"/>
                  </a:cubicBezTo>
                  <a:cubicBezTo>
                    <a:pt x="101" y="65"/>
                    <a:pt x="127" y="91"/>
                    <a:pt x="127" y="122"/>
                  </a:cubicBezTo>
                  <a:cubicBezTo>
                    <a:pt x="127" y="65"/>
                    <a:pt x="127" y="65"/>
                    <a:pt x="127" y="65"/>
                  </a:cubicBezTo>
                  <a:cubicBezTo>
                    <a:pt x="127" y="63"/>
                    <a:pt x="127" y="63"/>
                    <a:pt x="127" y="63"/>
                  </a:cubicBezTo>
                  <a:cubicBezTo>
                    <a:pt x="127" y="28"/>
                    <a:pt x="98" y="0"/>
                    <a:pt x="64" y="0"/>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7" name="Oval 563"/>
            <p:cNvSpPr>
              <a:spLocks noChangeArrowheads="1"/>
            </p:cNvSpPr>
            <p:nvPr/>
          </p:nvSpPr>
          <p:spPr bwMode="auto">
            <a:xfrm>
              <a:off x="11680825" y="1897063"/>
              <a:ext cx="46037" cy="44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8" name="Oval 564"/>
            <p:cNvSpPr>
              <a:spLocks noChangeArrowheads="1"/>
            </p:cNvSpPr>
            <p:nvPr/>
          </p:nvSpPr>
          <p:spPr bwMode="auto">
            <a:xfrm>
              <a:off x="11680825" y="1955800"/>
              <a:ext cx="46037" cy="4603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9" name="Oval 565"/>
            <p:cNvSpPr>
              <a:spLocks noChangeArrowheads="1"/>
            </p:cNvSpPr>
            <p:nvPr/>
          </p:nvSpPr>
          <p:spPr bwMode="auto">
            <a:xfrm>
              <a:off x="11433175" y="1897063"/>
              <a:ext cx="46037" cy="44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0" name="Oval 566"/>
            <p:cNvSpPr>
              <a:spLocks noChangeArrowheads="1"/>
            </p:cNvSpPr>
            <p:nvPr/>
          </p:nvSpPr>
          <p:spPr bwMode="auto">
            <a:xfrm>
              <a:off x="11433175" y="1955800"/>
              <a:ext cx="46037" cy="4603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1" name="Freeform 567"/>
            <p:cNvSpPr>
              <a:spLocks noEditPoints="1"/>
            </p:cNvSpPr>
            <p:nvPr/>
          </p:nvSpPr>
          <p:spPr bwMode="auto">
            <a:xfrm>
              <a:off x="11750675"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2" name="Freeform 568"/>
            <p:cNvSpPr>
              <a:spLocks noEditPoints="1"/>
            </p:cNvSpPr>
            <p:nvPr/>
          </p:nvSpPr>
          <p:spPr bwMode="auto">
            <a:xfrm>
              <a:off x="11715750"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8"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3" name="Freeform 569"/>
            <p:cNvSpPr>
              <a:spLocks noEditPoints="1"/>
            </p:cNvSpPr>
            <p:nvPr/>
          </p:nvSpPr>
          <p:spPr bwMode="auto">
            <a:xfrm>
              <a:off x="11677650" y="2889250"/>
              <a:ext cx="49212"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6 w 21"/>
                <a:gd name="T19" fmla="*/ 18 h 29"/>
                <a:gd name="T20" fmla="*/ 16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4" name="Freeform 570"/>
            <p:cNvSpPr>
              <a:spLocks noEditPoints="1"/>
            </p:cNvSpPr>
            <p:nvPr/>
          </p:nvSpPr>
          <p:spPr bwMode="auto">
            <a:xfrm>
              <a:off x="11644313"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5" name="Freeform 571"/>
            <p:cNvSpPr>
              <a:spLocks noEditPoints="1"/>
            </p:cNvSpPr>
            <p:nvPr/>
          </p:nvSpPr>
          <p:spPr bwMode="auto">
            <a:xfrm>
              <a:off x="11606213" y="2889250"/>
              <a:ext cx="50800" cy="66675"/>
            </a:xfrm>
            <a:custGeom>
              <a:avLst/>
              <a:gdLst>
                <a:gd name="T0" fmla="*/ 0 w 22"/>
                <a:gd name="T1" fmla="*/ 18 h 29"/>
                <a:gd name="T2" fmla="*/ 0 w 22"/>
                <a:gd name="T3" fmla="*/ 0 h 29"/>
                <a:gd name="T4" fmla="*/ 22 w 22"/>
                <a:gd name="T5" fmla="*/ 0 h 29"/>
                <a:gd name="T6" fmla="*/ 22 w 22"/>
                <a:gd name="T7" fmla="*/ 18 h 29"/>
                <a:gd name="T8" fmla="*/ 11 w 22"/>
                <a:gd name="T9" fmla="*/ 29 h 29"/>
                <a:gd name="T10" fmla="*/ 0 w 22"/>
                <a:gd name="T11" fmla="*/ 18 h 29"/>
                <a:gd name="T12" fmla="*/ 6 w 22"/>
                <a:gd name="T13" fmla="*/ 6 h 29"/>
                <a:gd name="T14" fmla="*/ 6 w 22"/>
                <a:gd name="T15" fmla="*/ 18 h 29"/>
                <a:gd name="T16" fmla="*/ 11 w 22"/>
                <a:gd name="T17" fmla="*/ 23 h 29"/>
                <a:gd name="T18" fmla="*/ 16 w 22"/>
                <a:gd name="T19" fmla="*/ 18 h 29"/>
                <a:gd name="T20" fmla="*/ 16 w 22"/>
                <a:gd name="T21" fmla="*/ 6 h 29"/>
                <a:gd name="T22" fmla="*/ 6 w 22"/>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9">
                  <a:moveTo>
                    <a:pt x="0" y="18"/>
                  </a:moveTo>
                  <a:cubicBezTo>
                    <a:pt x="0" y="0"/>
                    <a:pt x="0" y="0"/>
                    <a:pt x="0" y="0"/>
                  </a:cubicBezTo>
                  <a:cubicBezTo>
                    <a:pt x="22" y="0"/>
                    <a:pt x="22" y="0"/>
                    <a:pt x="22" y="0"/>
                  </a:cubicBezTo>
                  <a:cubicBezTo>
                    <a:pt x="22" y="18"/>
                    <a:pt x="22" y="18"/>
                    <a:pt x="22" y="18"/>
                  </a:cubicBezTo>
                  <a:cubicBezTo>
                    <a:pt x="22" y="24"/>
                    <a:pt x="17" y="29"/>
                    <a:pt x="11" y="29"/>
                  </a:cubicBezTo>
                  <a:cubicBezTo>
                    <a:pt x="5" y="29"/>
                    <a:pt x="0" y="24"/>
                    <a:pt x="0" y="18"/>
                  </a:cubicBezTo>
                  <a:close/>
                  <a:moveTo>
                    <a:pt x="6" y="6"/>
                  </a:moveTo>
                  <a:cubicBezTo>
                    <a:pt x="6" y="18"/>
                    <a:pt x="6" y="18"/>
                    <a:pt x="6" y="18"/>
                  </a:cubicBezTo>
                  <a:cubicBezTo>
                    <a:pt x="6" y="21"/>
                    <a:pt x="8" y="23"/>
                    <a:pt x="11" y="23"/>
                  </a:cubicBezTo>
                  <a:cubicBezTo>
                    <a:pt x="14"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6" name="Freeform 572"/>
            <p:cNvSpPr>
              <a:spLocks noEditPoints="1"/>
            </p:cNvSpPr>
            <p:nvPr/>
          </p:nvSpPr>
          <p:spPr bwMode="auto">
            <a:xfrm>
              <a:off x="11571288" y="2889250"/>
              <a:ext cx="49212"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7" name="Freeform 573"/>
            <p:cNvSpPr>
              <a:spLocks noEditPoints="1"/>
            </p:cNvSpPr>
            <p:nvPr/>
          </p:nvSpPr>
          <p:spPr bwMode="auto">
            <a:xfrm>
              <a:off x="11537950"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8" name="Freeform 574"/>
            <p:cNvSpPr>
              <a:spLocks noEditPoints="1"/>
            </p:cNvSpPr>
            <p:nvPr/>
          </p:nvSpPr>
          <p:spPr bwMode="auto">
            <a:xfrm>
              <a:off x="11499850" y="2889250"/>
              <a:ext cx="50800" cy="66675"/>
            </a:xfrm>
            <a:custGeom>
              <a:avLst/>
              <a:gdLst>
                <a:gd name="T0" fmla="*/ 0 w 22"/>
                <a:gd name="T1" fmla="*/ 18 h 29"/>
                <a:gd name="T2" fmla="*/ 0 w 22"/>
                <a:gd name="T3" fmla="*/ 0 h 29"/>
                <a:gd name="T4" fmla="*/ 22 w 22"/>
                <a:gd name="T5" fmla="*/ 0 h 29"/>
                <a:gd name="T6" fmla="*/ 22 w 22"/>
                <a:gd name="T7" fmla="*/ 18 h 29"/>
                <a:gd name="T8" fmla="*/ 11 w 22"/>
                <a:gd name="T9" fmla="*/ 29 h 29"/>
                <a:gd name="T10" fmla="*/ 0 w 22"/>
                <a:gd name="T11" fmla="*/ 18 h 29"/>
                <a:gd name="T12" fmla="*/ 6 w 22"/>
                <a:gd name="T13" fmla="*/ 6 h 29"/>
                <a:gd name="T14" fmla="*/ 6 w 22"/>
                <a:gd name="T15" fmla="*/ 18 h 29"/>
                <a:gd name="T16" fmla="*/ 11 w 22"/>
                <a:gd name="T17" fmla="*/ 23 h 29"/>
                <a:gd name="T18" fmla="*/ 16 w 22"/>
                <a:gd name="T19" fmla="*/ 18 h 29"/>
                <a:gd name="T20" fmla="*/ 16 w 22"/>
                <a:gd name="T21" fmla="*/ 6 h 29"/>
                <a:gd name="T22" fmla="*/ 6 w 22"/>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9">
                  <a:moveTo>
                    <a:pt x="0" y="18"/>
                  </a:moveTo>
                  <a:cubicBezTo>
                    <a:pt x="0" y="0"/>
                    <a:pt x="0" y="0"/>
                    <a:pt x="0" y="0"/>
                  </a:cubicBezTo>
                  <a:cubicBezTo>
                    <a:pt x="22" y="0"/>
                    <a:pt x="22" y="0"/>
                    <a:pt x="22" y="0"/>
                  </a:cubicBezTo>
                  <a:cubicBezTo>
                    <a:pt x="22" y="18"/>
                    <a:pt x="22" y="18"/>
                    <a:pt x="22" y="18"/>
                  </a:cubicBezTo>
                  <a:cubicBezTo>
                    <a:pt x="22" y="24"/>
                    <a:pt x="17" y="29"/>
                    <a:pt x="11" y="29"/>
                  </a:cubicBezTo>
                  <a:cubicBezTo>
                    <a:pt x="5" y="29"/>
                    <a:pt x="0" y="24"/>
                    <a:pt x="0" y="18"/>
                  </a:cubicBezTo>
                  <a:close/>
                  <a:moveTo>
                    <a:pt x="6" y="6"/>
                  </a:moveTo>
                  <a:cubicBezTo>
                    <a:pt x="6" y="18"/>
                    <a:pt x="6" y="18"/>
                    <a:pt x="6" y="18"/>
                  </a:cubicBezTo>
                  <a:cubicBezTo>
                    <a:pt x="6" y="21"/>
                    <a:pt x="8" y="23"/>
                    <a:pt x="11" y="23"/>
                  </a:cubicBezTo>
                  <a:cubicBezTo>
                    <a:pt x="14"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9" name="Freeform 575"/>
            <p:cNvSpPr>
              <a:spLocks noEditPoints="1"/>
            </p:cNvSpPr>
            <p:nvPr/>
          </p:nvSpPr>
          <p:spPr bwMode="auto">
            <a:xfrm>
              <a:off x="11468100" y="2889250"/>
              <a:ext cx="49212"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7"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0" name="Freeform 576"/>
            <p:cNvSpPr>
              <a:spLocks noEditPoints="1"/>
            </p:cNvSpPr>
            <p:nvPr/>
          </p:nvSpPr>
          <p:spPr bwMode="auto">
            <a:xfrm>
              <a:off x="11431588" y="2889250"/>
              <a:ext cx="47625"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6 w 21"/>
                <a:gd name="T19" fmla="*/ 18 h 29"/>
                <a:gd name="T20" fmla="*/ 16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1" name="Freeform 577"/>
            <p:cNvSpPr>
              <a:spLocks noEditPoints="1"/>
            </p:cNvSpPr>
            <p:nvPr/>
          </p:nvSpPr>
          <p:spPr bwMode="auto">
            <a:xfrm>
              <a:off x="11396663"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2" name="Freeform 578"/>
            <p:cNvSpPr>
              <a:spLocks noEditPoints="1"/>
            </p:cNvSpPr>
            <p:nvPr/>
          </p:nvSpPr>
          <p:spPr bwMode="auto">
            <a:xfrm>
              <a:off x="11361738" y="2889250"/>
              <a:ext cx="49212"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7"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3" name="Freeform 579"/>
            <p:cNvSpPr>
              <a:spLocks/>
            </p:cNvSpPr>
            <p:nvPr/>
          </p:nvSpPr>
          <p:spPr bwMode="auto">
            <a:xfrm>
              <a:off x="11550650" y="2006600"/>
              <a:ext cx="171450" cy="125412"/>
            </a:xfrm>
            <a:custGeom>
              <a:avLst/>
              <a:gdLst>
                <a:gd name="T0" fmla="*/ 0 w 74"/>
                <a:gd name="T1" fmla="*/ 0 h 55"/>
                <a:gd name="T2" fmla="*/ 74 w 74"/>
                <a:gd name="T3" fmla="*/ 55 h 55"/>
                <a:gd name="T4" fmla="*/ 74 w 74"/>
                <a:gd name="T5" fmla="*/ 18 h 55"/>
                <a:gd name="T6" fmla="*/ 0 w 74"/>
                <a:gd name="T7" fmla="*/ 0 h 55"/>
              </a:gdLst>
              <a:ahLst/>
              <a:cxnLst>
                <a:cxn ang="0">
                  <a:pos x="T0" y="T1"/>
                </a:cxn>
                <a:cxn ang="0">
                  <a:pos x="T2" y="T3"/>
                </a:cxn>
                <a:cxn ang="0">
                  <a:pos x="T4" y="T5"/>
                </a:cxn>
                <a:cxn ang="0">
                  <a:pos x="T6" y="T7"/>
                </a:cxn>
              </a:cxnLst>
              <a:rect l="0" t="0" r="r" b="b"/>
              <a:pathLst>
                <a:path w="74" h="55">
                  <a:moveTo>
                    <a:pt x="0" y="0"/>
                  </a:moveTo>
                  <a:cubicBezTo>
                    <a:pt x="0" y="0"/>
                    <a:pt x="5" y="55"/>
                    <a:pt x="74" y="55"/>
                  </a:cubicBezTo>
                  <a:cubicBezTo>
                    <a:pt x="74" y="39"/>
                    <a:pt x="74" y="18"/>
                    <a:pt x="74" y="18"/>
                  </a:cubicBezTo>
                  <a:lnTo>
                    <a:pt x="0" y="0"/>
                  </a:ln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4" name="Oval 580"/>
            <p:cNvSpPr>
              <a:spLocks noChangeArrowheads="1"/>
            </p:cNvSpPr>
            <p:nvPr/>
          </p:nvSpPr>
          <p:spPr bwMode="auto">
            <a:xfrm>
              <a:off x="11488738" y="2152650"/>
              <a:ext cx="28575"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5" name="Oval 581"/>
            <p:cNvSpPr>
              <a:spLocks noChangeArrowheads="1"/>
            </p:cNvSpPr>
            <p:nvPr/>
          </p:nvSpPr>
          <p:spPr bwMode="auto">
            <a:xfrm>
              <a:off x="11641138" y="2152650"/>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717" name="Group 716"/>
          <p:cNvGrpSpPr/>
          <p:nvPr/>
        </p:nvGrpSpPr>
        <p:grpSpPr>
          <a:xfrm>
            <a:off x="8375683" y="4532808"/>
            <a:ext cx="1750765" cy="1784096"/>
            <a:chOff x="6427788" y="4373563"/>
            <a:chExt cx="1751013" cy="1784349"/>
          </a:xfrm>
        </p:grpSpPr>
        <p:sp>
          <p:nvSpPr>
            <p:cNvPr id="670" name="Rectangle 585"/>
            <p:cNvSpPr>
              <a:spLocks noChangeArrowheads="1"/>
            </p:cNvSpPr>
            <p:nvPr/>
          </p:nvSpPr>
          <p:spPr bwMode="auto">
            <a:xfrm>
              <a:off x="7799388" y="5556250"/>
              <a:ext cx="204788" cy="3508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1" name="Freeform 586"/>
            <p:cNvSpPr>
              <a:spLocks/>
            </p:cNvSpPr>
            <p:nvPr/>
          </p:nvSpPr>
          <p:spPr bwMode="auto">
            <a:xfrm>
              <a:off x="7637463" y="6054725"/>
              <a:ext cx="179388" cy="61912"/>
            </a:xfrm>
            <a:custGeom>
              <a:avLst/>
              <a:gdLst>
                <a:gd name="T0" fmla="*/ 55 w 104"/>
                <a:gd name="T1" fmla="*/ 0 h 36"/>
                <a:gd name="T2" fmla="*/ 1 w 104"/>
                <a:gd name="T3" fmla="*/ 29 h 36"/>
                <a:gd name="T4" fmla="*/ 0 w 104"/>
                <a:gd name="T5" fmla="*/ 35 h 36"/>
                <a:gd name="T6" fmla="*/ 71 w 104"/>
                <a:gd name="T7" fmla="*/ 36 h 36"/>
                <a:gd name="T8" fmla="*/ 104 w 104"/>
                <a:gd name="T9" fmla="*/ 0 h 36"/>
                <a:gd name="T10" fmla="*/ 55 w 104"/>
                <a:gd name="T11" fmla="*/ 0 h 36"/>
              </a:gdLst>
              <a:ahLst/>
              <a:cxnLst>
                <a:cxn ang="0">
                  <a:pos x="T0" y="T1"/>
                </a:cxn>
                <a:cxn ang="0">
                  <a:pos x="T2" y="T3"/>
                </a:cxn>
                <a:cxn ang="0">
                  <a:pos x="T4" y="T5"/>
                </a:cxn>
                <a:cxn ang="0">
                  <a:pos x="T6" y="T7"/>
                </a:cxn>
                <a:cxn ang="0">
                  <a:pos x="T8" y="T9"/>
                </a:cxn>
                <a:cxn ang="0">
                  <a:pos x="T10" y="T11"/>
                </a:cxn>
              </a:cxnLst>
              <a:rect l="0" t="0" r="r" b="b"/>
              <a:pathLst>
                <a:path w="104" h="36">
                  <a:moveTo>
                    <a:pt x="55" y="0"/>
                  </a:moveTo>
                  <a:cubicBezTo>
                    <a:pt x="33" y="0"/>
                    <a:pt x="13" y="11"/>
                    <a:pt x="1" y="29"/>
                  </a:cubicBezTo>
                  <a:cubicBezTo>
                    <a:pt x="0" y="35"/>
                    <a:pt x="0" y="35"/>
                    <a:pt x="0" y="35"/>
                  </a:cubicBezTo>
                  <a:cubicBezTo>
                    <a:pt x="71" y="36"/>
                    <a:pt x="71" y="36"/>
                    <a:pt x="71" y="36"/>
                  </a:cubicBezTo>
                  <a:cubicBezTo>
                    <a:pt x="88" y="36"/>
                    <a:pt x="102" y="16"/>
                    <a:pt x="104"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2" name="Rectangle 587"/>
            <p:cNvSpPr>
              <a:spLocks noChangeArrowheads="1"/>
            </p:cNvSpPr>
            <p:nvPr/>
          </p:nvSpPr>
          <p:spPr bwMode="auto">
            <a:xfrm>
              <a:off x="7773988" y="4681538"/>
              <a:ext cx="246063" cy="146050"/>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3" name="Freeform 588"/>
            <p:cNvSpPr>
              <a:spLocks/>
            </p:cNvSpPr>
            <p:nvPr/>
          </p:nvSpPr>
          <p:spPr bwMode="auto">
            <a:xfrm>
              <a:off x="7748588" y="4538663"/>
              <a:ext cx="296863" cy="63500"/>
            </a:xfrm>
            <a:custGeom>
              <a:avLst/>
              <a:gdLst>
                <a:gd name="T0" fmla="*/ 172 w 172"/>
                <a:gd name="T1" fmla="*/ 27 h 36"/>
                <a:gd name="T2" fmla="*/ 163 w 172"/>
                <a:gd name="T3" fmla="*/ 36 h 36"/>
                <a:gd name="T4" fmla="*/ 8 w 172"/>
                <a:gd name="T5" fmla="*/ 36 h 36"/>
                <a:gd name="T6" fmla="*/ 0 w 172"/>
                <a:gd name="T7" fmla="*/ 27 h 36"/>
                <a:gd name="T8" fmla="*/ 0 w 172"/>
                <a:gd name="T9" fmla="*/ 9 h 36"/>
                <a:gd name="T10" fmla="*/ 8 w 172"/>
                <a:gd name="T11" fmla="*/ 0 h 36"/>
                <a:gd name="T12" fmla="*/ 163 w 172"/>
                <a:gd name="T13" fmla="*/ 0 h 36"/>
                <a:gd name="T14" fmla="*/ 172 w 172"/>
                <a:gd name="T15" fmla="*/ 9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3" y="36"/>
                  </a:cubicBezTo>
                  <a:cubicBezTo>
                    <a:pt x="8" y="36"/>
                    <a:pt x="8" y="36"/>
                    <a:pt x="8" y="36"/>
                  </a:cubicBezTo>
                  <a:cubicBezTo>
                    <a:pt x="4" y="36"/>
                    <a:pt x="0" y="32"/>
                    <a:pt x="0" y="27"/>
                  </a:cubicBezTo>
                  <a:cubicBezTo>
                    <a:pt x="0" y="9"/>
                    <a:pt x="0" y="9"/>
                    <a:pt x="0" y="9"/>
                  </a:cubicBezTo>
                  <a:cubicBezTo>
                    <a:pt x="0" y="4"/>
                    <a:pt x="4" y="0"/>
                    <a:pt x="8" y="0"/>
                  </a:cubicBezTo>
                  <a:cubicBezTo>
                    <a:pt x="163" y="0"/>
                    <a:pt x="163" y="0"/>
                    <a:pt x="163" y="0"/>
                  </a:cubicBezTo>
                  <a:cubicBezTo>
                    <a:pt x="168" y="0"/>
                    <a:pt x="172" y="4"/>
                    <a:pt x="172" y="9"/>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4" name="Freeform 589"/>
            <p:cNvSpPr>
              <a:spLocks/>
            </p:cNvSpPr>
            <p:nvPr/>
          </p:nvSpPr>
          <p:spPr bwMode="auto">
            <a:xfrm>
              <a:off x="7845426" y="4676775"/>
              <a:ext cx="103188" cy="171450"/>
            </a:xfrm>
            <a:custGeom>
              <a:avLst/>
              <a:gdLst>
                <a:gd name="T0" fmla="*/ 33 w 65"/>
                <a:gd name="T1" fmla="*/ 108 h 108"/>
                <a:gd name="T2" fmla="*/ 0 w 65"/>
                <a:gd name="T3" fmla="*/ 76 h 108"/>
                <a:gd name="T4" fmla="*/ 0 w 65"/>
                <a:gd name="T5" fmla="*/ 0 h 108"/>
                <a:gd name="T6" fmla="*/ 65 w 65"/>
                <a:gd name="T7" fmla="*/ 0 h 108"/>
                <a:gd name="T8" fmla="*/ 65 w 65"/>
                <a:gd name="T9" fmla="*/ 76 h 108"/>
                <a:gd name="T10" fmla="*/ 33 w 65"/>
                <a:gd name="T11" fmla="*/ 108 h 108"/>
              </a:gdLst>
              <a:ahLst/>
              <a:cxnLst>
                <a:cxn ang="0">
                  <a:pos x="T0" y="T1"/>
                </a:cxn>
                <a:cxn ang="0">
                  <a:pos x="T2" y="T3"/>
                </a:cxn>
                <a:cxn ang="0">
                  <a:pos x="T4" y="T5"/>
                </a:cxn>
                <a:cxn ang="0">
                  <a:pos x="T6" y="T7"/>
                </a:cxn>
                <a:cxn ang="0">
                  <a:pos x="T8" y="T9"/>
                </a:cxn>
                <a:cxn ang="0">
                  <a:pos x="T10" y="T11"/>
                </a:cxn>
              </a:cxnLst>
              <a:rect l="0" t="0" r="r" b="b"/>
              <a:pathLst>
                <a:path w="65" h="108">
                  <a:moveTo>
                    <a:pt x="33" y="108"/>
                  </a:moveTo>
                  <a:lnTo>
                    <a:pt x="0" y="76"/>
                  </a:lnTo>
                  <a:lnTo>
                    <a:pt x="0" y="0"/>
                  </a:lnTo>
                  <a:lnTo>
                    <a:pt x="65" y="0"/>
                  </a:lnTo>
                  <a:lnTo>
                    <a:pt x="65" y="76"/>
                  </a:lnTo>
                  <a:lnTo>
                    <a:pt x="33" y="108"/>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5" name="Freeform 590"/>
            <p:cNvSpPr>
              <a:spLocks/>
            </p:cNvSpPr>
            <p:nvPr/>
          </p:nvSpPr>
          <p:spPr bwMode="auto">
            <a:xfrm>
              <a:off x="7845426" y="4649788"/>
              <a:ext cx="103188" cy="92075"/>
            </a:xfrm>
            <a:custGeom>
              <a:avLst/>
              <a:gdLst>
                <a:gd name="T0" fmla="*/ 0 w 60"/>
                <a:gd name="T1" fmla="*/ 49 h 53"/>
                <a:gd name="T2" fmla="*/ 30 w 60"/>
                <a:gd name="T3" fmla="*/ 53 h 53"/>
                <a:gd name="T4" fmla="*/ 60 w 60"/>
                <a:gd name="T5" fmla="*/ 49 h 53"/>
                <a:gd name="T6" fmla="*/ 60 w 60"/>
                <a:gd name="T7" fmla="*/ 0 h 53"/>
                <a:gd name="T8" fmla="*/ 0 w 60"/>
                <a:gd name="T9" fmla="*/ 0 h 53"/>
                <a:gd name="T10" fmla="*/ 0 w 60"/>
                <a:gd name="T11" fmla="*/ 49 h 53"/>
              </a:gdLst>
              <a:ahLst/>
              <a:cxnLst>
                <a:cxn ang="0">
                  <a:pos x="T0" y="T1"/>
                </a:cxn>
                <a:cxn ang="0">
                  <a:pos x="T2" y="T3"/>
                </a:cxn>
                <a:cxn ang="0">
                  <a:pos x="T4" y="T5"/>
                </a:cxn>
                <a:cxn ang="0">
                  <a:pos x="T6" y="T7"/>
                </a:cxn>
                <a:cxn ang="0">
                  <a:pos x="T8" y="T9"/>
                </a:cxn>
                <a:cxn ang="0">
                  <a:pos x="T10" y="T11"/>
                </a:cxn>
              </a:cxnLst>
              <a:rect l="0" t="0" r="r" b="b"/>
              <a:pathLst>
                <a:path w="60" h="53">
                  <a:moveTo>
                    <a:pt x="0" y="49"/>
                  </a:moveTo>
                  <a:cubicBezTo>
                    <a:pt x="9" y="51"/>
                    <a:pt x="19" y="53"/>
                    <a:pt x="30" y="53"/>
                  </a:cubicBezTo>
                  <a:cubicBezTo>
                    <a:pt x="40" y="53"/>
                    <a:pt x="50" y="51"/>
                    <a:pt x="60" y="49"/>
                  </a:cubicBezTo>
                  <a:cubicBezTo>
                    <a:pt x="60" y="0"/>
                    <a:pt x="60" y="0"/>
                    <a:pt x="60" y="0"/>
                  </a:cubicBezTo>
                  <a:cubicBezTo>
                    <a:pt x="0" y="0"/>
                    <a:pt x="0" y="0"/>
                    <a:pt x="0" y="0"/>
                  </a:cubicBezTo>
                  <a:lnTo>
                    <a:pt x="0" y="4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6" name="Freeform 591"/>
            <p:cNvSpPr>
              <a:spLocks/>
            </p:cNvSpPr>
            <p:nvPr/>
          </p:nvSpPr>
          <p:spPr bwMode="auto">
            <a:xfrm>
              <a:off x="7773988" y="4491038"/>
              <a:ext cx="246063" cy="230187"/>
            </a:xfrm>
            <a:custGeom>
              <a:avLst/>
              <a:gdLst>
                <a:gd name="T0" fmla="*/ 0 w 142"/>
                <a:gd name="T1" fmla="*/ 0 h 133"/>
                <a:gd name="T2" fmla="*/ 0 w 142"/>
                <a:gd name="T3" fmla="*/ 110 h 133"/>
                <a:gd name="T4" fmla="*/ 71 w 142"/>
                <a:gd name="T5" fmla="*/ 133 h 133"/>
                <a:gd name="T6" fmla="*/ 142 w 142"/>
                <a:gd name="T7" fmla="*/ 110 h 133"/>
                <a:gd name="T8" fmla="*/ 142 w 142"/>
                <a:gd name="T9" fmla="*/ 110 h 133"/>
                <a:gd name="T10" fmla="*/ 142 w 142"/>
                <a:gd name="T11" fmla="*/ 0 h 133"/>
                <a:gd name="T12" fmla="*/ 0 w 142"/>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2" h="133">
                  <a:moveTo>
                    <a:pt x="0" y="0"/>
                  </a:moveTo>
                  <a:cubicBezTo>
                    <a:pt x="0" y="110"/>
                    <a:pt x="0" y="110"/>
                    <a:pt x="0" y="110"/>
                  </a:cubicBezTo>
                  <a:cubicBezTo>
                    <a:pt x="20" y="124"/>
                    <a:pt x="44" y="133"/>
                    <a:pt x="71" y="133"/>
                  </a:cubicBezTo>
                  <a:cubicBezTo>
                    <a:pt x="97" y="133"/>
                    <a:pt x="122" y="124"/>
                    <a:pt x="142" y="110"/>
                  </a:cubicBezTo>
                  <a:cubicBezTo>
                    <a:pt x="142" y="110"/>
                    <a:pt x="142" y="110"/>
                    <a:pt x="142" y="110"/>
                  </a:cubicBezTo>
                  <a:cubicBezTo>
                    <a:pt x="142" y="0"/>
                    <a:pt x="142" y="0"/>
                    <a:pt x="1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7" name="Freeform 592"/>
            <p:cNvSpPr>
              <a:spLocks/>
            </p:cNvSpPr>
            <p:nvPr/>
          </p:nvSpPr>
          <p:spPr bwMode="auto">
            <a:xfrm>
              <a:off x="7773988" y="4373563"/>
              <a:ext cx="173038" cy="182562"/>
            </a:xfrm>
            <a:custGeom>
              <a:avLst/>
              <a:gdLst>
                <a:gd name="T0" fmla="*/ 100 w 100"/>
                <a:gd name="T1" fmla="*/ 7 h 106"/>
                <a:gd name="T2" fmla="*/ 71 w 100"/>
                <a:gd name="T3" fmla="*/ 0 h 106"/>
                <a:gd name="T4" fmla="*/ 0 w 100"/>
                <a:gd name="T5" fmla="*/ 71 h 106"/>
                <a:gd name="T6" fmla="*/ 0 w 100"/>
                <a:gd name="T7" fmla="*/ 106 h 106"/>
                <a:gd name="T8" fmla="*/ 100 w 100"/>
                <a:gd name="T9" fmla="*/ 7 h 106"/>
              </a:gdLst>
              <a:ahLst/>
              <a:cxnLst>
                <a:cxn ang="0">
                  <a:pos x="T0" y="T1"/>
                </a:cxn>
                <a:cxn ang="0">
                  <a:pos x="T2" y="T3"/>
                </a:cxn>
                <a:cxn ang="0">
                  <a:pos x="T4" y="T5"/>
                </a:cxn>
                <a:cxn ang="0">
                  <a:pos x="T6" y="T7"/>
                </a:cxn>
                <a:cxn ang="0">
                  <a:pos x="T8" y="T9"/>
                </a:cxn>
              </a:cxnLst>
              <a:rect l="0" t="0" r="r" b="b"/>
              <a:pathLst>
                <a:path w="100" h="106">
                  <a:moveTo>
                    <a:pt x="100" y="7"/>
                  </a:moveTo>
                  <a:cubicBezTo>
                    <a:pt x="91" y="3"/>
                    <a:pt x="81" y="0"/>
                    <a:pt x="71" y="0"/>
                  </a:cubicBezTo>
                  <a:cubicBezTo>
                    <a:pt x="32" y="0"/>
                    <a:pt x="0" y="32"/>
                    <a:pt x="0" y="71"/>
                  </a:cubicBezTo>
                  <a:cubicBezTo>
                    <a:pt x="0" y="106"/>
                    <a:pt x="0" y="106"/>
                    <a:pt x="0" y="106"/>
                  </a:cubicBezTo>
                  <a:cubicBezTo>
                    <a:pt x="52" y="100"/>
                    <a:pt x="94" y="59"/>
                    <a:pt x="100" y="7"/>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8" name="Freeform 593"/>
            <p:cNvSpPr>
              <a:spLocks/>
            </p:cNvSpPr>
            <p:nvPr/>
          </p:nvSpPr>
          <p:spPr bwMode="auto">
            <a:xfrm>
              <a:off x="7847013" y="4373563"/>
              <a:ext cx="173038" cy="182562"/>
            </a:xfrm>
            <a:custGeom>
              <a:avLst/>
              <a:gdLst>
                <a:gd name="T0" fmla="*/ 0 w 100"/>
                <a:gd name="T1" fmla="*/ 7 h 106"/>
                <a:gd name="T2" fmla="*/ 29 w 100"/>
                <a:gd name="T3" fmla="*/ 0 h 106"/>
                <a:gd name="T4" fmla="*/ 100 w 100"/>
                <a:gd name="T5" fmla="*/ 71 h 106"/>
                <a:gd name="T6" fmla="*/ 100 w 100"/>
                <a:gd name="T7" fmla="*/ 106 h 106"/>
                <a:gd name="T8" fmla="*/ 0 w 100"/>
                <a:gd name="T9" fmla="*/ 7 h 106"/>
              </a:gdLst>
              <a:ahLst/>
              <a:cxnLst>
                <a:cxn ang="0">
                  <a:pos x="T0" y="T1"/>
                </a:cxn>
                <a:cxn ang="0">
                  <a:pos x="T2" y="T3"/>
                </a:cxn>
                <a:cxn ang="0">
                  <a:pos x="T4" y="T5"/>
                </a:cxn>
                <a:cxn ang="0">
                  <a:pos x="T6" y="T7"/>
                </a:cxn>
                <a:cxn ang="0">
                  <a:pos x="T8" y="T9"/>
                </a:cxn>
              </a:cxnLst>
              <a:rect l="0" t="0" r="r" b="b"/>
              <a:pathLst>
                <a:path w="100" h="106">
                  <a:moveTo>
                    <a:pt x="0" y="7"/>
                  </a:moveTo>
                  <a:cubicBezTo>
                    <a:pt x="9" y="3"/>
                    <a:pt x="18" y="0"/>
                    <a:pt x="29" y="0"/>
                  </a:cubicBezTo>
                  <a:cubicBezTo>
                    <a:pt x="68" y="0"/>
                    <a:pt x="100" y="32"/>
                    <a:pt x="100" y="71"/>
                  </a:cubicBezTo>
                  <a:cubicBezTo>
                    <a:pt x="100" y="106"/>
                    <a:pt x="100" y="106"/>
                    <a:pt x="100" y="106"/>
                  </a:cubicBezTo>
                  <a:cubicBezTo>
                    <a:pt x="47" y="100"/>
                    <a:pt x="6" y="59"/>
                    <a:pt x="0" y="7"/>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9" name="Freeform 594"/>
            <p:cNvSpPr>
              <a:spLocks/>
            </p:cNvSpPr>
            <p:nvPr/>
          </p:nvSpPr>
          <p:spPr bwMode="auto">
            <a:xfrm>
              <a:off x="7512051" y="4995863"/>
              <a:ext cx="200025" cy="301625"/>
            </a:xfrm>
            <a:custGeom>
              <a:avLst/>
              <a:gdLst>
                <a:gd name="T0" fmla="*/ 72 w 116"/>
                <a:gd name="T1" fmla="*/ 175 h 175"/>
                <a:gd name="T2" fmla="*/ 43 w 116"/>
                <a:gd name="T3" fmla="*/ 175 h 175"/>
                <a:gd name="T4" fmla="*/ 0 w 116"/>
                <a:gd name="T5" fmla="*/ 124 h 175"/>
                <a:gd name="T6" fmla="*/ 65 w 116"/>
                <a:gd name="T7" fmla="*/ 124 h 175"/>
                <a:gd name="T8" fmla="*/ 65 w 116"/>
                <a:gd name="T9" fmla="*/ 0 h 175"/>
                <a:gd name="T10" fmla="*/ 116 w 116"/>
                <a:gd name="T11" fmla="*/ 0 h 175"/>
                <a:gd name="T12" fmla="*/ 116 w 116"/>
                <a:gd name="T13" fmla="*/ 131 h 175"/>
                <a:gd name="T14" fmla="*/ 72 w 116"/>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75">
                  <a:moveTo>
                    <a:pt x="72" y="175"/>
                  </a:moveTo>
                  <a:cubicBezTo>
                    <a:pt x="43" y="175"/>
                    <a:pt x="43" y="175"/>
                    <a:pt x="43" y="175"/>
                  </a:cubicBezTo>
                  <a:cubicBezTo>
                    <a:pt x="0" y="124"/>
                    <a:pt x="0" y="124"/>
                    <a:pt x="0" y="124"/>
                  </a:cubicBezTo>
                  <a:cubicBezTo>
                    <a:pt x="65" y="124"/>
                    <a:pt x="65" y="124"/>
                    <a:pt x="65" y="124"/>
                  </a:cubicBezTo>
                  <a:cubicBezTo>
                    <a:pt x="65" y="0"/>
                    <a:pt x="65" y="0"/>
                    <a:pt x="65" y="0"/>
                  </a:cubicBezTo>
                  <a:cubicBezTo>
                    <a:pt x="116" y="0"/>
                    <a:pt x="116" y="0"/>
                    <a:pt x="116" y="0"/>
                  </a:cubicBezTo>
                  <a:cubicBezTo>
                    <a:pt x="116" y="131"/>
                    <a:pt x="116" y="131"/>
                    <a:pt x="116" y="131"/>
                  </a:cubicBezTo>
                  <a:cubicBezTo>
                    <a:pt x="116" y="155"/>
                    <a:pt x="96" y="175"/>
                    <a:pt x="72"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0" name="Rectangle 595"/>
            <p:cNvSpPr>
              <a:spLocks noChangeArrowheads="1"/>
            </p:cNvSpPr>
            <p:nvPr/>
          </p:nvSpPr>
          <p:spPr bwMode="auto">
            <a:xfrm>
              <a:off x="7732713" y="5356225"/>
              <a:ext cx="84138" cy="70802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1" name="Rectangle 596"/>
            <p:cNvSpPr>
              <a:spLocks noChangeArrowheads="1"/>
            </p:cNvSpPr>
            <p:nvPr/>
          </p:nvSpPr>
          <p:spPr bwMode="auto">
            <a:xfrm>
              <a:off x="7977188" y="5356225"/>
              <a:ext cx="82550" cy="70802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2" name="Rectangle 597"/>
            <p:cNvSpPr>
              <a:spLocks noChangeArrowheads="1"/>
            </p:cNvSpPr>
            <p:nvPr/>
          </p:nvSpPr>
          <p:spPr bwMode="auto">
            <a:xfrm>
              <a:off x="8077201" y="4992688"/>
              <a:ext cx="85725" cy="520700"/>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3" name="Rectangle 598"/>
            <p:cNvSpPr>
              <a:spLocks noChangeArrowheads="1"/>
            </p:cNvSpPr>
            <p:nvPr/>
          </p:nvSpPr>
          <p:spPr bwMode="auto">
            <a:xfrm>
              <a:off x="7735888" y="4772025"/>
              <a:ext cx="319088" cy="13176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4" name="Freeform 599"/>
            <p:cNvSpPr>
              <a:spLocks/>
            </p:cNvSpPr>
            <p:nvPr/>
          </p:nvSpPr>
          <p:spPr bwMode="auto">
            <a:xfrm>
              <a:off x="7612063" y="4772025"/>
              <a:ext cx="566738" cy="1135062"/>
            </a:xfrm>
            <a:custGeom>
              <a:avLst/>
              <a:gdLst>
                <a:gd name="T0" fmla="*/ 258 w 328"/>
                <a:gd name="T1" fmla="*/ 0 h 657"/>
                <a:gd name="T2" fmla="*/ 252 w 328"/>
                <a:gd name="T3" fmla="*/ 0 h 657"/>
                <a:gd name="T4" fmla="*/ 164 w 328"/>
                <a:gd name="T5" fmla="*/ 59 h 657"/>
                <a:gd name="T6" fmla="*/ 76 w 328"/>
                <a:gd name="T7" fmla="*/ 0 h 657"/>
                <a:gd name="T8" fmla="*/ 69 w 328"/>
                <a:gd name="T9" fmla="*/ 0 h 657"/>
                <a:gd name="T10" fmla="*/ 0 w 328"/>
                <a:gd name="T11" fmla="*/ 69 h 657"/>
                <a:gd name="T12" fmla="*/ 0 w 328"/>
                <a:gd name="T13" fmla="*/ 228 h 657"/>
                <a:gd name="T14" fmla="*/ 58 w 328"/>
                <a:gd name="T15" fmla="*/ 228 h 657"/>
                <a:gd name="T16" fmla="*/ 58 w 328"/>
                <a:gd name="T17" fmla="*/ 128 h 657"/>
                <a:gd name="T18" fmla="*/ 69 w 328"/>
                <a:gd name="T19" fmla="*/ 128 h 657"/>
                <a:gd name="T20" fmla="*/ 70 w 328"/>
                <a:gd name="T21" fmla="*/ 657 h 657"/>
                <a:gd name="T22" fmla="*/ 211 w 328"/>
                <a:gd name="T23" fmla="*/ 543 h 657"/>
                <a:gd name="T24" fmla="*/ 259 w 328"/>
                <a:gd name="T25" fmla="*/ 652 h 657"/>
                <a:gd name="T26" fmla="*/ 259 w 328"/>
                <a:gd name="T27" fmla="*/ 128 h 657"/>
                <a:gd name="T28" fmla="*/ 269 w 328"/>
                <a:gd name="T29" fmla="*/ 128 h 657"/>
                <a:gd name="T30" fmla="*/ 269 w 328"/>
                <a:gd name="T31" fmla="*/ 220 h 657"/>
                <a:gd name="T32" fmla="*/ 328 w 328"/>
                <a:gd name="T33" fmla="*/ 220 h 657"/>
                <a:gd name="T34" fmla="*/ 328 w 328"/>
                <a:gd name="T35" fmla="*/ 69 h 657"/>
                <a:gd name="T36" fmla="*/ 258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8" y="0"/>
                  </a:moveTo>
                  <a:cubicBezTo>
                    <a:pt x="252" y="0"/>
                    <a:pt x="252" y="0"/>
                    <a:pt x="252" y="0"/>
                  </a:cubicBezTo>
                  <a:cubicBezTo>
                    <a:pt x="238" y="35"/>
                    <a:pt x="204" y="59"/>
                    <a:pt x="164" y="59"/>
                  </a:cubicBezTo>
                  <a:cubicBezTo>
                    <a:pt x="124" y="59"/>
                    <a:pt x="90" y="35"/>
                    <a:pt x="76" y="0"/>
                  </a:cubicBezTo>
                  <a:cubicBezTo>
                    <a:pt x="69" y="0"/>
                    <a:pt x="69" y="0"/>
                    <a:pt x="69" y="0"/>
                  </a:cubicBezTo>
                  <a:cubicBezTo>
                    <a:pt x="31" y="0"/>
                    <a:pt x="0" y="31"/>
                    <a:pt x="0" y="69"/>
                  </a:cubicBezTo>
                  <a:cubicBezTo>
                    <a:pt x="0" y="228"/>
                    <a:pt x="0" y="228"/>
                    <a:pt x="0" y="228"/>
                  </a:cubicBezTo>
                  <a:cubicBezTo>
                    <a:pt x="58" y="228"/>
                    <a:pt x="58" y="228"/>
                    <a:pt x="58" y="228"/>
                  </a:cubicBezTo>
                  <a:cubicBezTo>
                    <a:pt x="58" y="128"/>
                    <a:pt x="58" y="128"/>
                    <a:pt x="58" y="128"/>
                  </a:cubicBezTo>
                  <a:cubicBezTo>
                    <a:pt x="69" y="128"/>
                    <a:pt x="69" y="128"/>
                    <a:pt x="69" y="128"/>
                  </a:cubicBezTo>
                  <a:cubicBezTo>
                    <a:pt x="70" y="657"/>
                    <a:pt x="70" y="657"/>
                    <a:pt x="70" y="657"/>
                  </a:cubicBezTo>
                  <a:cubicBezTo>
                    <a:pt x="211" y="543"/>
                    <a:pt x="211" y="543"/>
                    <a:pt x="211" y="543"/>
                  </a:cubicBezTo>
                  <a:cubicBezTo>
                    <a:pt x="259" y="652"/>
                    <a:pt x="259" y="652"/>
                    <a:pt x="259" y="652"/>
                  </a:cubicBezTo>
                  <a:cubicBezTo>
                    <a:pt x="259" y="128"/>
                    <a:pt x="259" y="128"/>
                    <a:pt x="259" y="128"/>
                  </a:cubicBezTo>
                  <a:cubicBezTo>
                    <a:pt x="269" y="128"/>
                    <a:pt x="269" y="128"/>
                    <a:pt x="269" y="128"/>
                  </a:cubicBezTo>
                  <a:cubicBezTo>
                    <a:pt x="269" y="220"/>
                    <a:pt x="269" y="220"/>
                    <a:pt x="269" y="220"/>
                  </a:cubicBezTo>
                  <a:cubicBezTo>
                    <a:pt x="328" y="220"/>
                    <a:pt x="328" y="220"/>
                    <a:pt x="328" y="220"/>
                  </a:cubicBezTo>
                  <a:cubicBezTo>
                    <a:pt x="328" y="69"/>
                    <a:pt x="328" y="69"/>
                    <a:pt x="328" y="69"/>
                  </a:cubicBezTo>
                  <a:cubicBezTo>
                    <a:pt x="328" y="31"/>
                    <a:pt x="297" y="0"/>
                    <a:pt x="258"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5" name="Freeform 600"/>
            <p:cNvSpPr>
              <a:spLocks/>
            </p:cNvSpPr>
            <p:nvPr/>
          </p:nvSpPr>
          <p:spPr bwMode="auto">
            <a:xfrm>
              <a:off x="8077201" y="5427663"/>
              <a:ext cx="85725" cy="174625"/>
            </a:xfrm>
            <a:custGeom>
              <a:avLst/>
              <a:gdLst>
                <a:gd name="T0" fmla="*/ 0 w 50"/>
                <a:gd name="T1" fmla="*/ 0 h 101"/>
                <a:gd name="T2" fmla="*/ 0 w 50"/>
                <a:gd name="T3" fmla="*/ 101 h 101"/>
                <a:gd name="T4" fmla="*/ 50 w 50"/>
                <a:gd name="T5" fmla="*/ 51 h 101"/>
                <a:gd name="T6" fmla="*/ 0 w 50"/>
                <a:gd name="T7" fmla="*/ 0 h 101"/>
              </a:gdLst>
              <a:ahLst/>
              <a:cxnLst>
                <a:cxn ang="0">
                  <a:pos x="T0" y="T1"/>
                </a:cxn>
                <a:cxn ang="0">
                  <a:pos x="T2" y="T3"/>
                </a:cxn>
                <a:cxn ang="0">
                  <a:pos x="T4" y="T5"/>
                </a:cxn>
                <a:cxn ang="0">
                  <a:pos x="T6" y="T7"/>
                </a:cxn>
              </a:cxnLst>
              <a:rect l="0" t="0" r="r" b="b"/>
              <a:pathLst>
                <a:path w="50" h="101">
                  <a:moveTo>
                    <a:pt x="0" y="0"/>
                  </a:moveTo>
                  <a:cubicBezTo>
                    <a:pt x="0" y="101"/>
                    <a:pt x="0" y="101"/>
                    <a:pt x="0" y="101"/>
                  </a:cubicBezTo>
                  <a:cubicBezTo>
                    <a:pt x="28" y="101"/>
                    <a:pt x="50" y="79"/>
                    <a:pt x="50" y="51"/>
                  </a:cubicBezTo>
                  <a:cubicBezTo>
                    <a:pt x="50"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6" name="Rectangle 601"/>
            <p:cNvSpPr>
              <a:spLocks noChangeArrowheads="1"/>
            </p:cNvSpPr>
            <p:nvPr/>
          </p:nvSpPr>
          <p:spPr bwMode="auto">
            <a:xfrm>
              <a:off x="7732713" y="5183188"/>
              <a:ext cx="327025" cy="3968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7" name="Freeform 602"/>
            <p:cNvSpPr>
              <a:spLocks/>
            </p:cNvSpPr>
            <p:nvPr/>
          </p:nvSpPr>
          <p:spPr bwMode="auto">
            <a:xfrm>
              <a:off x="7623176" y="6054725"/>
              <a:ext cx="193675" cy="100012"/>
            </a:xfrm>
            <a:custGeom>
              <a:avLst/>
              <a:gdLst>
                <a:gd name="T0" fmla="*/ 113 w 113"/>
                <a:gd name="T1" fmla="*/ 0 h 58"/>
                <a:gd name="T2" fmla="*/ 80 w 113"/>
                <a:gd name="T3" fmla="*/ 29 h 58"/>
                <a:gd name="T4" fmla="*/ 10 w 113"/>
                <a:gd name="T5" fmla="*/ 29 h 58"/>
                <a:gd name="T6" fmla="*/ 0 w 113"/>
                <a:gd name="T7" fmla="*/ 58 h 58"/>
                <a:gd name="T8" fmla="*/ 64 w 113"/>
                <a:gd name="T9" fmla="*/ 58 h 58"/>
                <a:gd name="T10" fmla="*/ 113 w 113"/>
                <a:gd name="T11" fmla="*/ 58 h 58"/>
                <a:gd name="T12" fmla="*/ 113 w 11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13" h="58">
                  <a:moveTo>
                    <a:pt x="113" y="0"/>
                  </a:moveTo>
                  <a:cubicBezTo>
                    <a:pt x="111" y="16"/>
                    <a:pt x="97" y="29"/>
                    <a:pt x="80" y="29"/>
                  </a:cubicBezTo>
                  <a:cubicBezTo>
                    <a:pt x="10" y="29"/>
                    <a:pt x="10" y="29"/>
                    <a:pt x="10" y="29"/>
                  </a:cubicBezTo>
                  <a:cubicBezTo>
                    <a:pt x="5" y="37"/>
                    <a:pt x="1" y="47"/>
                    <a:pt x="0" y="58"/>
                  </a:cubicBezTo>
                  <a:cubicBezTo>
                    <a:pt x="64" y="58"/>
                    <a:pt x="64" y="58"/>
                    <a:pt x="64" y="58"/>
                  </a:cubicBezTo>
                  <a:cubicBezTo>
                    <a:pt x="113" y="58"/>
                    <a:pt x="113" y="58"/>
                    <a:pt x="113" y="58"/>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8" name="Freeform 603"/>
            <p:cNvSpPr>
              <a:spLocks/>
            </p:cNvSpPr>
            <p:nvPr/>
          </p:nvSpPr>
          <p:spPr bwMode="auto">
            <a:xfrm>
              <a:off x="7880351" y="6054725"/>
              <a:ext cx="179388" cy="61912"/>
            </a:xfrm>
            <a:custGeom>
              <a:avLst/>
              <a:gdLst>
                <a:gd name="T0" fmla="*/ 56 w 104"/>
                <a:gd name="T1" fmla="*/ 0 h 36"/>
                <a:gd name="T2" fmla="*/ 2 w 104"/>
                <a:gd name="T3" fmla="*/ 29 h 36"/>
                <a:gd name="T4" fmla="*/ 0 w 104"/>
                <a:gd name="T5" fmla="*/ 35 h 36"/>
                <a:gd name="T6" fmla="*/ 71 w 104"/>
                <a:gd name="T7" fmla="*/ 36 h 36"/>
                <a:gd name="T8" fmla="*/ 104 w 104"/>
                <a:gd name="T9" fmla="*/ 0 h 36"/>
                <a:gd name="T10" fmla="*/ 56 w 104"/>
                <a:gd name="T11" fmla="*/ 0 h 36"/>
              </a:gdLst>
              <a:ahLst/>
              <a:cxnLst>
                <a:cxn ang="0">
                  <a:pos x="T0" y="T1"/>
                </a:cxn>
                <a:cxn ang="0">
                  <a:pos x="T2" y="T3"/>
                </a:cxn>
                <a:cxn ang="0">
                  <a:pos x="T4" y="T5"/>
                </a:cxn>
                <a:cxn ang="0">
                  <a:pos x="T6" y="T7"/>
                </a:cxn>
                <a:cxn ang="0">
                  <a:pos x="T8" y="T9"/>
                </a:cxn>
                <a:cxn ang="0">
                  <a:pos x="T10" y="T11"/>
                </a:cxn>
              </a:cxnLst>
              <a:rect l="0" t="0" r="r" b="b"/>
              <a:pathLst>
                <a:path w="104" h="36">
                  <a:moveTo>
                    <a:pt x="56" y="0"/>
                  </a:moveTo>
                  <a:cubicBezTo>
                    <a:pt x="33" y="0"/>
                    <a:pt x="13" y="11"/>
                    <a:pt x="2" y="29"/>
                  </a:cubicBezTo>
                  <a:cubicBezTo>
                    <a:pt x="0" y="35"/>
                    <a:pt x="0" y="35"/>
                    <a:pt x="0" y="35"/>
                  </a:cubicBezTo>
                  <a:cubicBezTo>
                    <a:pt x="71" y="36"/>
                    <a:pt x="71" y="36"/>
                    <a:pt x="71" y="36"/>
                  </a:cubicBezTo>
                  <a:cubicBezTo>
                    <a:pt x="88" y="36"/>
                    <a:pt x="102" y="16"/>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9" name="Freeform 604"/>
            <p:cNvSpPr>
              <a:spLocks/>
            </p:cNvSpPr>
            <p:nvPr/>
          </p:nvSpPr>
          <p:spPr bwMode="auto">
            <a:xfrm>
              <a:off x="7864476" y="6054725"/>
              <a:ext cx="195263" cy="100012"/>
            </a:xfrm>
            <a:custGeom>
              <a:avLst/>
              <a:gdLst>
                <a:gd name="T0" fmla="*/ 113 w 113"/>
                <a:gd name="T1" fmla="*/ 0 h 58"/>
                <a:gd name="T2" fmla="*/ 80 w 113"/>
                <a:gd name="T3" fmla="*/ 29 h 58"/>
                <a:gd name="T4" fmla="*/ 10 w 113"/>
                <a:gd name="T5" fmla="*/ 29 h 58"/>
                <a:gd name="T6" fmla="*/ 0 w 113"/>
                <a:gd name="T7" fmla="*/ 58 h 58"/>
                <a:gd name="T8" fmla="*/ 64 w 113"/>
                <a:gd name="T9" fmla="*/ 58 h 58"/>
                <a:gd name="T10" fmla="*/ 113 w 113"/>
                <a:gd name="T11" fmla="*/ 58 h 58"/>
                <a:gd name="T12" fmla="*/ 113 w 11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13" h="58">
                  <a:moveTo>
                    <a:pt x="113" y="0"/>
                  </a:moveTo>
                  <a:cubicBezTo>
                    <a:pt x="111" y="16"/>
                    <a:pt x="97" y="29"/>
                    <a:pt x="80" y="29"/>
                  </a:cubicBezTo>
                  <a:cubicBezTo>
                    <a:pt x="10" y="29"/>
                    <a:pt x="10" y="29"/>
                    <a:pt x="10" y="29"/>
                  </a:cubicBezTo>
                  <a:cubicBezTo>
                    <a:pt x="5" y="37"/>
                    <a:pt x="1" y="47"/>
                    <a:pt x="0" y="58"/>
                  </a:cubicBezTo>
                  <a:cubicBezTo>
                    <a:pt x="64" y="58"/>
                    <a:pt x="64" y="58"/>
                    <a:pt x="64" y="58"/>
                  </a:cubicBezTo>
                  <a:cubicBezTo>
                    <a:pt x="113" y="58"/>
                    <a:pt x="113" y="58"/>
                    <a:pt x="113" y="58"/>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0" name="Freeform 605"/>
            <p:cNvSpPr>
              <a:spLocks/>
            </p:cNvSpPr>
            <p:nvPr/>
          </p:nvSpPr>
          <p:spPr bwMode="auto">
            <a:xfrm>
              <a:off x="7497763" y="5210175"/>
              <a:ext cx="174625" cy="87312"/>
            </a:xfrm>
            <a:custGeom>
              <a:avLst/>
              <a:gdLst>
                <a:gd name="T0" fmla="*/ 101 w 101"/>
                <a:gd name="T1" fmla="*/ 0 h 51"/>
                <a:gd name="T2" fmla="*/ 0 w 101"/>
                <a:gd name="T3" fmla="*/ 0 h 51"/>
                <a:gd name="T4" fmla="*/ 50 w 101"/>
                <a:gd name="T5" fmla="*/ 51 h 51"/>
                <a:gd name="T6" fmla="*/ 101 w 101"/>
                <a:gd name="T7" fmla="*/ 0 h 51"/>
              </a:gdLst>
              <a:ahLst/>
              <a:cxnLst>
                <a:cxn ang="0">
                  <a:pos x="T0" y="T1"/>
                </a:cxn>
                <a:cxn ang="0">
                  <a:pos x="T2" y="T3"/>
                </a:cxn>
                <a:cxn ang="0">
                  <a:pos x="T4" y="T5"/>
                </a:cxn>
                <a:cxn ang="0">
                  <a:pos x="T6" y="T7"/>
                </a:cxn>
              </a:cxnLst>
              <a:rect l="0" t="0" r="r" b="b"/>
              <a:pathLst>
                <a:path w="101" h="51">
                  <a:moveTo>
                    <a:pt x="101" y="0"/>
                  </a:moveTo>
                  <a:cubicBezTo>
                    <a:pt x="0" y="0"/>
                    <a:pt x="0" y="0"/>
                    <a:pt x="0" y="0"/>
                  </a:cubicBezTo>
                  <a:cubicBezTo>
                    <a:pt x="0" y="28"/>
                    <a:pt x="22" y="51"/>
                    <a:pt x="50" y="51"/>
                  </a:cubicBezTo>
                  <a:cubicBezTo>
                    <a:pt x="78" y="51"/>
                    <a:pt x="101" y="28"/>
                    <a:pt x="10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1" name="Freeform 606"/>
            <p:cNvSpPr>
              <a:spLocks/>
            </p:cNvSpPr>
            <p:nvPr/>
          </p:nvSpPr>
          <p:spPr bwMode="auto">
            <a:xfrm>
              <a:off x="7488238" y="5210175"/>
              <a:ext cx="88900" cy="23812"/>
            </a:xfrm>
            <a:custGeom>
              <a:avLst/>
              <a:gdLst>
                <a:gd name="T0" fmla="*/ 0 w 52"/>
                <a:gd name="T1" fmla="*/ 7 h 14"/>
                <a:gd name="T2" fmla="*/ 6 w 52"/>
                <a:gd name="T3" fmla="*/ 14 h 14"/>
                <a:gd name="T4" fmla="*/ 45 w 52"/>
                <a:gd name="T5" fmla="*/ 14 h 14"/>
                <a:gd name="T6" fmla="*/ 52 w 52"/>
                <a:gd name="T7" fmla="*/ 7 h 14"/>
                <a:gd name="T8" fmla="*/ 52 w 52"/>
                <a:gd name="T9" fmla="*/ 7 h 14"/>
                <a:gd name="T10" fmla="*/ 45 w 52"/>
                <a:gd name="T11" fmla="*/ 0 h 14"/>
                <a:gd name="T12" fmla="*/ 6 w 52"/>
                <a:gd name="T13" fmla="*/ 0 h 14"/>
                <a:gd name="T14" fmla="*/ 0 w 52"/>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
                  <a:moveTo>
                    <a:pt x="0" y="7"/>
                  </a:moveTo>
                  <a:cubicBezTo>
                    <a:pt x="0" y="11"/>
                    <a:pt x="3" y="14"/>
                    <a:pt x="6" y="14"/>
                  </a:cubicBezTo>
                  <a:cubicBezTo>
                    <a:pt x="45" y="14"/>
                    <a:pt x="45" y="14"/>
                    <a:pt x="45" y="14"/>
                  </a:cubicBezTo>
                  <a:cubicBezTo>
                    <a:pt x="49" y="14"/>
                    <a:pt x="52" y="11"/>
                    <a:pt x="52" y="7"/>
                  </a:cubicBezTo>
                  <a:cubicBezTo>
                    <a:pt x="52" y="7"/>
                    <a:pt x="52" y="7"/>
                    <a:pt x="52" y="7"/>
                  </a:cubicBezTo>
                  <a:cubicBezTo>
                    <a:pt x="52" y="3"/>
                    <a:pt x="49" y="0"/>
                    <a:pt x="45" y="0"/>
                  </a:cubicBezTo>
                  <a:cubicBezTo>
                    <a:pt x="6" y="0"/>
                    <a:pt x="6" y="0"/>
                    <a:pt x="6" y="0"/>
                  </a:cubicBezTo>
                  <a:cubicBezTo>
                    <a:pt x="3" y="0"/>
                    <a:pt x="0" y="3"/>
                    <a:pt x="0" y="7"/>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2" name="Freeform 607"/>
            <p:cNvSpPr>
              <a:spLocks/>
            </p:cNvSpPr>
            <p:nvPr/>
          </p:nvSpPr>
          <p:spPr bwMode="auto">
            <a:xfrm>
              <a:off x="7858126" y="4664075"/>
              <a:ext cx="79375" cy="28575"/>
            </a:xfrm>
            <a:custGeom>
              <a:avLst/>
              <a:gdLst>
                <a:gd name="T0" fmla="*/ 17 w 46"/>
                <a:gd name="T1" fmla="*/ 17 h 17"/>
                <a:gd name="T2" fmla="*/ 29 w 46"/>
                <a:gd name="T3" fmla="*/ 17 h 17"/>
                <a:gd name="T4" fmla="*/ 46 w 46"/>
                <a:gd name="T5" fmla="*/ 0 h 17"/>
                <a:gd name="T6" fmla="*/ 23 w 46"/>
                <a:gd name="T7" fmla="*/ 1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29" y="17"/>
                    <a:pt x="29" y="17"/>
                    <a:pt x="29" y="17"/>
                  </a:cubicBezTo>
                  <a:cubicBezTo>
                    <a:pt x="38" y="17"/>
                    <a:pt x="46" y="9"/>
                    <a:pt x="46" y="0"/>
                  </a:cubicBezTo>
                  <a:cubicBezTo>
                    <a:pt x="23" y="1"/>
                    <a:pt x="23" y="1"/>
                    <a:pt x="23" y="1"/>
                  </a:cubicBezTo>
                  <a:cubicBezTo>
                    <a:pt x="0" y="0"/>
                    <a:pt x="0" y="0"/>
                    <a:pt x="0" y="0"/>
                  </a:cubicBezTo>
                  <a:cubicBezTo>
                    <a:pt x="0" y="9"/>
                    <a:pt x="8"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3" name="Freeform 608"/>
            <p:cNvSpPr>
              <a:spLocks/>
            </p:cNvSpPr>
            <p:nvPr/>
          </p:nvSpPr>
          <p:spPr bwMode="auto">
            <a:xfrm>
              <a:off x="7858126" y="4664075"/>
              <a:ext cx="79375" cy="19050"/>
            </a:xfrm>
            <a:custGeom>
              <a:avLst/>
              <a:gdLst>
                <a:gd name="T0" fmla="*/ 0 w 46"/>
                <a:gd name="T1" fmla="*/ 0 h 11"/>
                <a:gd name="T2" fmla="*/ 23 w 46"/>
                <a:gd name="T3" fmla="*/ 11 h 11"/>
                <a:gd name="T4" fmla="*/ 46 w 46"/>
                <a:gd name="T5" fmla="*/ 0 h 11"/>
                <a:gd name="T6" fmla="*/ 23 w 46"/>
                <a:gd name="T7" fmla="*/ 2 h 11"/>
                <a:gd name="T8" fmla="*/ 0 w 46"/>
                <a:gd name="T9" fmla="*/ 0 h 11"/>
              </a:gdLst>
              <a:ahLst/>
              <a:cxnLst>
                <a:cxn ang="0">
                  <a:pos x="T0" y="T1"/>
                </a:cxn>
                <a:cxn ang="0">
                  <a:pos x="T2" y="T3"/>
                </a:cxn>
                <a:cxn ang="0">
                  <a:pos x="T4" y="T5"/>
                </a:cxn>
                <a:cxn ang="0">
                  <a:pos x="T6" y="T7"/>
                </a:cxn>
                <a:cxn ang="0">
                  <a:pos x="T8" y="T9"/>
                </a:cxn>
              </a:cxnLst>
              <a:rect l="0" t="0" r="r" b="b"/>
              <a:pathLst>
                <a:path w="46" h="11">
                  <a:moveTo>
                    <a:pt x="0" y="0"/>
                  </a:moveTo>
                  <a:cubicBezTo>
                    <a:pt x="6" y="7"/>
                    <a:pt x="14" y="11"/>
                    <a:pt x="23" y="11"/>
                  </a:cubicBezTo>
                  <a:cubicBezTo>
                    <a:pt x="32" y="11"/>
                    <a:pt x="40" y="7"/>
                    <a:pt x="46" y="0"/>
                  </a:cubicBezTo>
                  <a:cubicBezTo>
                    <a:pt x="23" y="2"/>
                    <a:pt x="23" y="2"/>
                    <a:pt x="23" y="2"/>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4" name="Freeform 609"/>
            <p:cNvSpPr>
              <a:spLocks/>
            </p:cNvSpPr>
            <p:nvPr/>
          </p:nvSpPr>
          <p:spPr bwMode="auto">
            <a:xfrm>
              <a:off x="7858126" y="4656138"/>
              <a:ext cx="79375" cy="14287"/>
            </a:xfrm>
            <a:custGeom>
              <a:avLst/>
              <a:gdLst>
                <a:gd name="T0" fmla="*/ 35 w 46"/>
                <a:gd name="T1" fmla="*/ 0 h 8"/>
                <a:gd name="T2" fmla="*/ 23 w 46"/>
                <a:gd name="T3" fmla="*/ 5 h 8"/>
                <a:gd name="T4" fmla="*/ 11 w 46"/>
                <a:gd name="T5" fmla="*/ 0 h 8"/>
                <a:gd name="T6" fmla="*/ 0 w 46"/>
                <a:gd name="T7" fmla="*/ 4 h 8"/>
                <a:gd name="T8" fmla="*/ 23 w 46"/>
                <a:gd name="T9" fmla="*/ 8 h 8"/>
                <a:gd name="T10" fmla="*/ 46 w 46"/>
                <a:gd name="T11" fmla="*/ 4 h 8"/>
                <a:gd name="T12" fmla="*/ 35 w 4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6" h="8">
                  <a:moveTo>
                    <a:pt x="35" y="0"/>
                  </a:moveTo>
                  <a:cubicBezTo>
                    <a:pt x="30" y="0"/>
                    <a:pt x="26" y="2"/>
                    <a:pt x="23" y="5"/>
                  </a:cubicBezTo>
                  <a:cubicBezTo>
                    <a:pt x="20" y="2"/>
                    <a:pt x="16" y="0"/>
                    <a:pt x="11" y="0"/>
                  </a:cubicBezTo>
                  <a:cubicBezTo>
                    <a:pt x="7" y="0"/>
                    <a:pt x="3" y="2"/>
                    <a:pt x="0" y="4"/>
                  </a:cubicBezTo>
                  <a:cubicBezTo>
                    <a:pt x="7" y="6"/>
                    <a:pt x="15" y="8"/>
                    <a:pt x="23" y="8"/>
                  </a:cubicBezTo>
                  <a:cubicBezTo>
                    <a:pt x="31" y="8"/>
                    <a:pt x="39" y="6"/>
                    <a:pt x="46" y="4"/>
                  </a:cubicBezTo>
                  <a:cubicBezTo>
                    <a:pt x="43" y="2"/>
                    <a:pt x="39"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5" name="Oval 610"/>
            <p:cNvSpPr>
              <a:spLocks noChangeArrowheads="1"/>
            </p:cNvSpPr>
            <p:nvPr/>
          </p:nvSpPr>
          <p:spPr bwMode="auto">
            <a:xfrm>
              <a:off x="7812088" y="4581525"/>
              <a:ext cx="19050" cy="19050"/>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6" name="Oval 611"/>
            <p:cNvSpPr>
              <a:spLocks noChangeArrowheads="1"/>
            </p:cNvSpPr>
            <p:nvPr/>
          </p:nvSpPr>
          <p:spPr bwMode="auto">
            <a:xfrm>
              <a:off x="7962901" y="4581525"/>
              <a:ext cx="19050" cy="19050"/>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7" name="Freeform 612"/>
            <p:cNvSpPr>
              <a:spLocks/>
            </p:cNvSpPr>
            <p:nvPr/>
          </p:nvSpPr>
          <p:spPr bwMode="auto">
            <a:xfrm>
              <a:off x="7878763" y="4624388"/>
              <a:ext cx="38100" cy="15875"/>
            </a:xfrm>
            <a:custGeom>
              <a:avLst/>
              <a:gdLst>
                <a:gd name="T0" fmla="*/ 0 w 22"/>
                <a:gd name="T1" fmla="*/ 0 h 9"/>
                <a:gd name="T2" fmla="*/ 11 w 22"/>
                <a:gd name="T3" fmla="*/ 9 h 9"/>
                <a:gd name="T4" fmla="*/ 22 w 22"/>
                <a:gd name="T5" fmla="*/ 0 h 9"/>
                <a:gd name="T6" fmla="*/ 0 w 22"/>
                <a:gd name="T7" fmla="*/ 0 h 9"/>
              </a:gdLst>
              <a:ahLst/>
              <a:cxnLst>
                <a:cxn ang="0">
                  <a:pos x="T0" y="T1"/>
                </a:cxn>
                <a:cxn ang="0">
                  <a:pos x="T2" y="T3"/>
                </a:cxn>
                <a:cxn ang="0">
                  <a:pos x="T4" y="T5"/>
                </a:cxn>
                <a:cxn ang="0">
                  <a:pos x="T6" y="T7"/>
                </a:cxn>
              </a:cxnLst>
              <a:rect l="0" t="0" r="r" b="b"/>
              <a:pathLst>
                <a:path w="22" h="9">
                  <a:moveTo>
                    <a:pt x="0" y="0"/>
                  </a:moveTo>
                  <a:cubicBezTo>
                    <a:pt x="1" y="5"/>
                    <a:pt x="5" y="9"/>
                    <a:pt x="11" y="9"/>
                  </a:cubicBezTo>
                  <a:cubicBezTo>
                    <a:pt x="16" y="9"/>
                    <a:pt x="20" y="5"/>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8" name="Freeform 613"/>
            <p:cNvSpPr>
              <a:spLocks/>
            </p:cNvSpPr>
            <p:nvPr/>
          </p:nvSpPr>
          <p:spPr bwMode="auto">
            <a:xfrm>
              <a:off x="6435726" y="5865813"/>
              <a:ext cx="198438" cy="150812"/>
            </a:xfrm>
            <a:custGeom>
              <a:avLst/>
              <a:gdLst>
                <a:gd name="T0" fmla="*/ 98 w 115"/>
                <a:gd name="T1" fmla="*/ 46 h 87"/>
                <a:gd name="T2" fmla="*/ 115 w 115"/>
                <a:gd name="T3" fmla="*/ 0 h 87"/>
                <a:gd name="T4" fmla="*/ 32 w 115"/>
                <a:gd name="T5" fmla="*/ 0 h 87"/>
                <a:gd name="T6" fmla="*/ 0 w 115"/>
                <a:gd name="T7" fmla="*/ 33 h 87"/>
                <a:gd name="T8" fmla="*/ 0 w 115"/>
                <a:gd name="T9" fmla="*/ 69 h 87"/>
                <a:gd name="T10" fmla="*/ 17 w 115"/>
                <a:gd name="T11" fmla="*/ 87 h 87"/>
                <a:gd name="T12" fmla="*/ 22 w 115"/>
                <a:gd name="T13" fmla="*/ 87 h 87"/>
                <a:gd name="T14" fmla="*/ 28 w 115"/>
                <a:gd name="T15" fmla="*/ 87 h 87"/>
                <a:gd name="T16" fmla="*/ 50 w 115"/>
                <a:gd name="T17" fmla="*/ 65 h 87"/>
                <a:gd name="T18" fmla="*/ 22 w 115"/>
                <a:gd name="T19" fmla="*/ 65 h 87"/>
                <a:gd name="T20" fmla="*/ 22 w 115"/>
                <a:gd name="T21" fmla="*/ 31 h 87"/>
                <a:gd name="T22" fmla="*/ 98 w 115"/>
                <a:gd name="T2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87">
                  <a:moveTo>
                    <a:pt x="98" y="46"/>
                  </a:moveTo>
                  <a:cubicBezTo>
                    <a:pt x="115" y="0"/>
                    <a:pt x="115" y="0"/>
                    <a:pt x="115" y="0"/>
                  </a:cubicBezTo>
                  <a:cubicBezTo>
                    <a:pt x="32" y="0"/>
                    <a:pt x="32" y="0"/>
                    <a:pt x="32" y="0"/>
                  </a:cubicBezTo>
                  <a:cubicBezTo>
                    <a:pt x="14" y="0"/>
                    <a:pt x="0" y="15"/>
                    <a:pt x="0" y="33"/>
                  </a:cubicBezTo>
                  <a:cubicBezTo>
                    <a:pt x="0" y="69"/>
                    <a:pt x="0" y="69"/>
                    <a:pt x="0" y="69"/>
                  </a:cubicBezTo>
                  <a:cubicBezTo>
                    <a:pt x="7" y="73"/>
                    <a:pt x="13" y="79"/>
                    <a:pt x="17" y="87"/>
                  </a:cubicBezTo>
                  <a:cubicBezTo>
                    <a:pt x="22" y="87"/>
                    <a:pt x="22" y="87"/>
                    <a:pt x="22" y="87"/>
                  </a:cubicBezTo>
                  <a:cubicBezTo>
                    <a:pt x="28" y="87"/>
                    <a:pt x="28" y="87"/>
                    <a:pt x="28" y="87"/>
                  </a:cubicBezTo>
                  <a:cubicBezTo>
                    <a:pt x="41" y="87"/>
                    <a:pt x="50" y="77"/>
                    <a:pt x="50" y="65"/>
                  </a:cubicBezTo>
                  <a:cubicBezTo>
                    <a:pt x="22" y="65"/>
                    <a:pt x="22" y="65"/>
                    <a:pt x="22" y="65"/>
                  </a:cubicBezTo>
                  <a:cubicBezTo>
                    <a:pt x="22" y="31"/>
                    <a:pt x="22" y="31"/>
                    <a:pt x="22" y="31"/>
                  </a:cubicBezTo>
                  <a:lnTo>
                    <a:pt x="98"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9" name="Freeform 614"/>
            <p:cNvSpPr>
              <a:spLocks/>
            </p:cNvSpPr>
            <p:nvPr/>
          </p:nvSpPr>
          <p:spPr bwMode="auto">
            <a:xfrm>
              <a:off x="6683376" y="5805488"/>
              <a:ext cx="301625" cy="349250"/>
            </a:xfrm>
            <a:custGeom>
              <a:avLst/>
              <a:gdLst>
                <a:gd name="T0" fmla="*/ 175 w 175"/>
                <a:gd name="T1" fmla="*/ 135 h 202"/>
                <a:gd name="T2" fmla="*/ 154 w 175"/>
                <a:gd name="T3" fmla="*/ 85 h 202"/>
                <a:gd name="T4" fmla="*/ 154 w 175"/>
                <a:gd name="T5" fmla="*/ 71 h 202"/>
                <a:gd name="T6" fmla="*/ 154 w 175"/>
                <a:gd name="T7" fmla="*/ 71 h 202"/>
                <a:gd name="T8" fmla="*/ 154 w 175"/>
                <a:gd name="T9" fmla="*/ 63 h 202"/>
                <a:gd name="T10" fmla="*/ 139 w 175"/>
                <a:gd name="T11" fmla="*/ 0 h 202"/>
                <a:gd name="T12" fmla="*/ 29 w 175"/>
                <a:gd name="T13" fmla="*/ 0 h 202"/>
                <a:gd name="T14" fmla="*/ 29 w 175"/>
                <a:gd name="T15" fmla="*/ 67 h 202"/>
                <a:gd name="T16" fmla="*/ 149 w 175"/>
                <a:gd name="T17" fmla="*/ 176 h 202"/>
                <a:gd name="T18" fmla="*/ 128 w 175"/>
                <a:gd name="T19" fmla="*/ 202 h 202"/>
                <a:gd name="T20" fmla="*/ 154 w 175"/>
                <a:gd name="T21" fmla="*/ 202 h 202"/>
                <a:gd name="T22" fmla="*/ 154 w 175"/>
                <a:gd name="T23" fmla="*/ 202 h 202"/>
                <a:gd name="T24" fmla="*/ 162 w 175"/>
                <a:gd name="T25" fmla="*/ 202 h 202"/>
                <a:gd name="T26" fmla="*/ 175 w 175"/>
                <a:gd name="T27" fmla="*/ 13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202">
                  <a:moveTo>
                    <a:pt x="175" y="135"/>
                  </a:moveTo>
                  <a:cubicBezTo>
                    <a:pt x="175" y="135"/>
                    <a:pt x="154" y="121"/>
                    <a:pt x="154" y="85"/>
                  </a:cubicBezTo>
                  <a:cubicBezTo>
                    <a:pt x="154" y="71"/>
                    <a:pt x="154" y="71"/>
                    <a:pt x="154" y="71"/>
                  </a:cubicBezTo>
                  <a:cubicBezTo>
                    <a:pt x="154" y="71"/>
                    <a:pt x="154" y="71"/>
                    <a:pt x="154" y="71"/>
                  </a:cubicBezTo>
                  <a:cubicBezTo>
                    <a:pt x="154" y="63"/>
                    <a:pt x="154" y="63"/>
                    <a:pt x="154" y="63"/>
                  </a:cubicBezTo>
                  <a:cubicBezTo>
                    <a:pt x="139" y="0"/>
                    <a:pt x="139" y="0"/>
                    <a:pt x="139" y="0"/>
                  </a:cubicBezTo>
                  <a:cubicBezTo>
                    <a:pt x="29" y="0"/>
                    <a:pt x="29" y="0"/>
                    <a:pt x="29" y="0"/>
                  </a:cubicBezTo>
                  <a:cubicBezTo>
                    <a:pt x="29" y="0"/>
                    <a:pt x="0" y="87"/>
                    <a:pt x="29" y="67"/>
                  </a:cubicBezTo>
                  <a:cubicBezTo>
                    <a:pt x="68" y="42"/>
                    <a:pt x="139" y="57"/>
                    <a:pt x="149" y="176"/>
                  </a:cubicBezTo>
                  <a:cubicBezTo>
                    <a:pt x="137" y="179"/>
                    <a:pt x="128" y="189"/>
                    <a:pt x="128" y="202"/>
                  </a:cubicBezTo>
                  <a:cubicBezTo>
                    <a:pt x="154" y="202"/>
                    <a:pt x="154" y="202"/>
                    <a:pt x="154" y="202"/>
                  </a:cubicBezTo>
                  <a:cubicBezTo>
                    <a:pt x="154" y="202"/>
                    <a:pt x="154" y="202"/>
                    <a:pt x="154" y="202"/>
                  </a:cubicBezTo>
                  <a:cubicBezTo>
                    <a:pt x="162" y="202"/>
                    <a:pt x="162" y="202"/>
                    <a:pt x="162" y="202"/>
                  </a:cubicBezTo>
                  <a:lnTo>
                    <a:pt x="175" y="1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0" name="Freeform 615"/>
            <p:cNvSpPr>
              <a:spLocks/>
            </p:cNvSpPr>
            <p:nvPr/>
          </p:nvSpPr>
          <p:spPr bwMode="auto">
            <a:xfrm>
              <a:off x="6442076" y="5546725"/>
              <a:ext cx="106363" cy="114300"/>
            </a:xfrm>
            <a:custGeom>
              <a:avLst/>
              <a:gdLst>
                <a:gd name="T0" fmla="*/ 61 w 61"/>
                <a:gd name="T1" fmla="*/ 66 h 66"/>
                <a:gd name="T2" fmla="*/ 0 w 61"/>
                <a:gd name="T3" fmla="*/ 4 h 66"/>
                <a:gd name="T4" fmla="*/ 61 w 61"/>
                <a:gd name="T5" fmla="*/ 37 h 66"/>
                <a:gd name="T6" fmla="*/ 61 w 61"/>
                <a:gd name="T7" fmla="*/ 66 h 66"/>
              </a:gdLst>
              <a:ahLst/>
              <a:cxnLst>
                <a:cxn ang="0">
                  <a:pos x="T0" y="T1"/>
                </a:cxn>
                <a:cxn ang="0">
                  <a:pos x="T2" y="T3"/>
                </a:cxn>
                <a:cxn ang="0">
                  <a:pos x="T4" y="T5"/>
                </a:cxn>
                <a:cxn ang="0">
                  <a:pos x="T6" y="T7"/>
                </a:cxn>
              </a:cxnLst>
              <a:rect l="0" t="0" r="r" b="b"/>
              <a:pathLst>
                <a:path w="61" h="66">
                  <a:moveTo>
                    <a:pt x="61" y="66"/>
                  </a:moveTo>
                  <a:cubicBezTo>
                    <a:pt x="27" y="66"/>
                    <a:pt x="0" y="39"/>
                    <a:pt x="0" y="4"/>
                  </a:cubicBezTo>
                  <a:cubicBezTo>
                    <a:pt x="0" y="4"/>
                    <a:pt x="61" y="0"/>
                    <a:pt x="61" y="37"/>
                  </a:cubicBezTo>
                  <a:cubicBezTo>
                    <a:pt x="61" y="45"/>
                    <a:pt x="61" y="66"/>
                    <a:pt x="61" y="66"/>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1" name="Freeform 616"/>
            <p:cNvSpPr>
              <a:spLocks/>
            </p:cNvSpPr>
            <p:nvPr/>
          </p:nvSpPr>
          <p:spPr bwMode="auto">
            <a:xfrm>
              <a:off x="6488113" y="5592763"/>
              <a:ext cx="536575" cy="388937"/>
            </a:xfrm>
            <a:custGeom>
              <a:avLst/>
              <a:gdLst>
                <a:gd name="T0" fmla="*/ 253 w 311"/>
                <a:gd name="T1" fmla="*/ 87 h 225"/>
                <a:gd name="T2" fmla="*/ 137 w 311"/>
                <a:gd name="T3" fmla="*/ 87 h 225"/>
                <a:gd name="T4" fmla="*/ 120 w 311"/>
                <a:gd name="T5" fmla="*/ 87 h 225"/>
                <a:gd name="T6" fmla="*/ 58 w 311"/>
                <a:gd name="T7" fmla="*/ 87 h 225"/>
                <a:gd name="T8" fmla="*/ 58 w 311"/>
                <a:gd name="T9" fmla="*/ 92 h 225"/>
                <a:gd name="T10" fmla="*/ 52 w 311"/>
                <a:gd name="T11" fmla="*/ 84 h 225"/>
                <a:gd name="T12" fmla="*/ 69 w 311"/>
                <a:gd name="T13" fmla="*/ 76 h 225"/>
                <a:gd name="T14" fmla="*/ 97 w 311"/>
                <a:gd name="T15" fmla="*/ 76 h 225"/>
                <a:gd name="T16" fmla="*/ 116 w 311"/>
                <a:gd name="T17" fmla="*/ 57 h 225"/>
                <a:gd name="T18" fmla="*/ 116 w 311"/>
                <a:gd name="T19" fmla="*/ 31 h 225"/>
                <a:gd name="T20" fmla="*/ 111 w 311"/>
                <a:gd name="T21" fmla="*/ 31 h 225"/>
                <a:gd name="T22" fmla="*/ 97 w 311"/>
                <a:gd name="T23" fmla="*/ 24 h 225"/>
                <a:gd name="T24" fmla="*/ 77 w 311"/>
                <a:gd name="T25" fmla="*/ 24 h 225"/>
                <a:gd name="T26" fmla="*/ 76 w 311"/>
                <a:gd name="T27" fmla="*/ 25 h 225"/>
                <a:gd name="T28" fmla="*/ 50 w 311"/>
                <a:gd name="T29" fmla="*/ 0 h 225"/>
                <a:gd name="T30" fmla="*/ 26 w 311"/>
                <a:gd name="T31" fmla="*/ 0 h 225"/>
                <a:gd name="T32" fmla="*/ 0 w 311"/>
                <a:gd name="T33" fmla="*/ 26 h 225"/>
                <a:gd name="T34" fmla="*/ 0 w 311"/>
                <a:gd name="T35" fmla="*/ 37 h 225"/>
                <a:gd name="T36" fmla="*/ 0 w 311"/>
                <a:gd name="T37" fmla="*/ 37 h 225"/>
                <a:gd name="T38" fmla="*/ 0 w 311"/>
                <a:gd name="T39" fmla="*/ 98 h 225"/>
                <a:gd name="T40" fmla="*/ 116 w 311"/>
                <a:gd name="T41" fmla="*/ 214 h 225"/>
                <a:gd name="T42" fmla="*/ 220 w 311"/>
                <a:gd name="T43" fmla="*/ 149 h 225"/>
                <a:gd name="T44" fmla="*/ 231 w 311"/>
                <a:gd name="T45" fmla="*/ 148 h 225"/>
                <a:gd name="T46" fmla="*/ 311 w 311"/>
                <a:gd name="T47" fmla="*/ 225 h 225"/>
                <a:gd name="T48" fmla="*/ 311 w 311"/>
                <a:gd name="T49" fmla="*/ 144 h 225"/>
                <a:gd name="T50" fmla="*/ 253 w 311"/>
                <a:gd name="T51" fmla="*/ 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1" h="225">
                  <a:moveTo>
                    <a:pt x="253" y="87"/>
                  </a:moveTo>
                  <a:cubicBezTo>
                    <a:pt x="137" y="87"/>
                    <a:pt x="137" y="87"/>
                    <a:pt x="137" y="87"/>
                  </a:cubicBezTo>
                  <a:cubicBezTo>
                    <a:pt x="120" y="87"/>
                    <a:pt x="120" y="87"/>
                    <a:pt x="120" y="87"/>
                  </a:cubicBezTo>
                  <a:cubicBezTo>
                    <a:pt x="58" y="87"/>
                    <a:pt x="58" y="87"/>
                    <a:pt x="58" y="87"/>
                  </a:cubicBezTo>
                  <a:cubicBezTo>
                    <a:pt x="58" y="92"/>
                    <a:pt x="58" y="92"/>
                    <a:pt x="58" y="92"/>
                  </a:cubicBezTo>
                  <a:cubicBezTo>
                    <a:pt x="52" y="84"/>
                    <a:pt x="52" y="84"/>
                    <a:pt x="52" y="84"/>
                  </a:cubicBezTo>
                  <a:cubicBezTo>
                    <a:pt x="59" y="83"/>
                    <a:pt x="64" y="80"/>
                    <a:pt x="69" y="76"/>
                  </a:cubicBezTo>
                  <a:cubicBezTo>
                    <a:pt x="97" y="76"/>
                    <a:pt x="97" y="76"/>
                    <a:pt x="97" y="76"/>
                  </a:cubicBezTo>
                  <a:cubicBezTo>
                    <a:pt x="107" y="76"/>
                    <a:pt x="116" y="67"/>
                    <a:pt x="116" y="57"/>
                  </a:cubicBezTo>
                  <a:cubicBezTo>
                    <a:pt x="116" y="31"/>
                    <a:pt x="116" y="31"/>
                    <a:pt x="116" y="31"/>
                  </a:cubicBezTo>
                  <a:cubicBezTo>
                    <a:pt x="111" y="31"/>
                    <a:pt x="111" y="31"/>
                    <a:pt x="111" y="31"/>
                  </a:cubicBezTo>
                  <a:cubicBezTo>
                    <a:pt x="108" y="27"/>
                    <a:pt x="103" y="24"/>
                    <a:pt x="97" y="24"/>
                  </a:cubicBezTo>
                  <a:cubicBezTo>
                    <a:pt x="77" y="24"/>
                    <a:pt x="77" y="24"/>
                    <a:pt x="77" y="24"/>
                  </a:cubicBezTo>
                  <a:cubicBezTo>
                    <a:pt x="77" y="24"/>
                    <a:pt x="76" y="25"/>
                    <a:pt x="76" y="25"/>
                  </a:cubicBezTo>
                  <a:cubicBezTo>
                    <a:pt x="75" y="11"/>
                    <a:pt x="64" y="0"/>
                    <a:pt x="50" y="0"/>
                  </a:cubicBezTo>
                  <a:cubicBezTo>
                    <a:pt x="26" y="0"/>
                    <a:pt x="26" y="0"/>
                    <a:pt x="26" y="0"/>
                  </a:cubicBezTo>
                  <a:cubicBezTo>
                    <a:pt x="12" y="0"/>
                    <a:pt x="0" y="12"/>
                    <a:pt x="0" y="26"/>
                  </a:cubicBezTo>
                  <a:cubicBezTo>
                    <a:pt x="0" y="37"/>
                    <a:pt x="0" y="37"/>
                    <a:pt x="0" y="37"/>
                  </a:cubicBezTo>
                  <a:cubicBezTo>
                    <a:pt x="0" y="37"/>
                    <a:pt x="0" y="37"/>
                    <a:pt x="0" y="37"/>
                  </a:cubicBezTo>
                  <a:cubicBezTo>
                    <a:pt x="0" y="98"/>
                    <a:pt x="0" y="98"/>
                    <a:pt x="0" y="98"/>
                  </a:cubicBezTo>
                  <a:cubicBezTo>
                    <a:pt x="0" y="162"/>
                    <a:pt x="52" y="214"/>
                    <a:pt x="116" y="214"/>
                  </a:cubicBezTo>
                  <a:cubicBezTo>
                    <a:pt x="161" y="214"/>
                    <a:pt x="201" y="187"/>
                    <a:pt x="220" y="149"/>
                  </a:cubicBezTo>
                  <a:cubicBezTo>
                    <a:pt x="224" y="148"/>
                    <a:pt x="227" y="148"/>
                    <a:pt x="231" y="148"/>
                  </a:cubicBezTo>
                  <a:cubicBezTo>
                    <a:pt x="274" y="148"/>
                    <a:pt x="309" y="182"/>
                    <a:pt x="311" y="225"/>
                  </a:cubicBezTo>
                  <a:cubicBezTo>
                    <a:pt x="311" y="225"/>
                    <a:pt x="311" y="144"/>
                    <a:pt x="311" y="144"/>
                  </a:cubicBezTo>
                  <a:cubicBezTo>
                    <a:pt x="311" y="112"/>
                    <a:pt x="285" y="87"/>
                    <a:pt x="253" y="8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2" name="Rectangle 617"/>
            <p:cNvSpPr>
              <a:spLocks noChangeArrowheads="1"/>
            </p:cNvSpPr>
            <p:nvPr/>
          </p:nvSpPr>
          <p:spPr bwMode="auto">
            <a:xfrm>
              <a:off x="6548438" y="5718175"/>
              <a:ext cx="65088"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3" name="Rectangle 618"/>
            <p:cNvSpPr>
              <a:spLocks noChangeArrowheads="1"/>
            </p:cNvSpPr>
            <p:nvPr/>
          </p:nvSpPr>
          <p:spPr bwMode="auto">
            <a:xfrm>
              <a:off x="6488113" y="5691188"/>
              <a:ext cx="65088" cy="269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4" name="Oval 619"/>
            <p:cNvSpPr>
              <a:spLocks noChangeArrowheads="1"/>
            </p:cNvSpPr>
            <p:nvPr/>
          </p:nvSpPr>
          <p:spPr bwMode="auto">
            <a:xfrm>
              <a:off x="6586538" y="5627688"/>
              <a:ext cx="14288" cy="1587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5" name="Freeform 620"/>
            <p:cNvSpPr>
              <a:spLocks/>
            </p:cNvSpPr>
            <p:nvPr/>
          </p:nvSpPr>
          <p:spPr bwMode="auto">
            <a:xfrm>
              <a:off x="6427788" y="5592763"/>
              <a:ext cx="112713" cy="107950"/>
            </a:xfrm>
            <a:custGeom>
              <a:avLst/>
              <a:gdLst>
                <a:gd name="T0" fmla="*/ 66 w 66"/>
                <a:gd name="T1" fmla="*/ 0 h 62"/>
                <a:gd name="T2" fmla="*/ 5 w 66"/>
                <a:gd name="T3" fmla="*/ 62 h 62"/>
                <a:gd name="T4" fmla="*/ 37 w 66"/>
                <a:gd name="T5" fmla="*/ 0 h 62"/>
                <a:gd name="T6" fmla="*/ 66 w 66"/>
                <a:gd name="T7" fmla="*/ 0 h 62"/>
              </a:gdLst>
              <a:ahLst/>
              <a:cxnLst>
                <a:cxn ang="0">
                  <a:pos x="T0" y="T1"/>
                </a:cxn>
                <a:cxn ang="0">
                  <a:pos x="T2" y="T3"/>
                </a:cxn>
                <a:cxn ang="0">
                  <a:pos x="T4" y="T5"/>
                </a:cxn>
                <a:cxn ang="0">
                  <a:pos x="T6" y="T7"/>
                </a:cxn>
              </a:cxnLst>
              <a:rect l="0" t="0" r="r" b="b"/>
              <a:pathLst>
                <a:path w="66" h="62">
                  <a:moveTo>
                    <a:pt x="66" y="0"/>
                  </a:moveTo>
                  <a:cubicBezTo>
                    <a:pt x="66" y="34"/>
                    <a:pt x="39" y="62"/>
                    <a:pt x="5" y="62"/>
                  </a:cubicBezTo>
                  <a:cubicBezTo>
                    <a:pt x="5" y="62"/>
                    <a:pt x="0" y="0"/>
                    <a:pt x="37" y="0"/>
                  </a:cubicBezTo>
                  <a:cubicBezTo>
                    <a:pt x="45" y="0"/>
                    <a:pt x="66" y="0"/>
                    <a:pt x="6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6" name="Freeform 621"/>
            <p:cNvSpPr>
              <a:spLocks/>
            </p:cNvSpPr>
            <p:nvPr/>
          </p:nvSpPr>
          <p:spPr bwMode="auto">
            <a:xfrm>
              <a:off x="6486526" y="5902325"/>
              <a:ext cx="144463" cy="252412"/>
            </a:xfrm>
            <a:custGeom>
              <a:avLst/>
              <a:gdLst>
                <a:gd name="T0" fmla="*/ 22 w 91"/>
                <a:gd name="T1" fmla="*/ 159 h 159"/>
                <a:gd name="T2" fmla="*/ 0 w 91"/>
                <a:gd name="T3" fmla="*/ 159 h 159"/>
                <a:gd name="T4" fmla="*/ 49 w 91"/>
                <a:gd name="T5" fmla="*/ 0 h 159"/>
                <a:gd name="T6" fmla="*/ 91 w 91"/>
                <a:gd name="T7" fmla="*/ 0 h 159"/>
                <a:gd name="T8" fmla="*/ 22 w 91"/>
                <a:gd name="T9" fmla="*/ 159 h 159"/>
              </a:gdLst>
              <a:ahLst/>
              <a:cxnLst>
                <a:cxn ang="0">
                  <a:pos x="T0" y="T1"/>
                </a:cxn>
                <a:cxn ang="0">
                  <a:pos x="T2" y="T3"/>
                </a:cxn>
                <a:cxn ang="0">
                  <a:pos x="T4" y="T5"/>
                </a:cxn>
                <a:cxn ang="0">
                  <a:pos x="T6" y="T7"/>
                </a:cxn>
                <a:cxn ang="0">
                  <a:pos x="T8" y="T9"/>
                </a:cxn>
              </a:cxnLst>
              <a:rect l="0" t="0" r="r" b="b"/>
              <a:pathLst>
                <a:path w="91" h="159">
                  <a:moveTo>
                    <a:pt x="22" y="159"/>
                  </a:moveTo>
                  <a:lnTo>
                    <a:pt x="0" y="159"/>
                  </a:lnTo>
                  <a:lnTo>
                    <a:pt x="49" y="0"/>
                  </a:lnTo>
                  <a:lnTo>
                    <a:pt x="91" y="0"/>
                  </a:lnTo>
                  <a:lnTo>
                    <a:pt x="22" y="15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7" name="Freeform 622"/>
            <p:cNvSpPr>
              <a:spLocks/>
            </p:cNvSpPr>
            <p:nvPr/>
          </p:nvSpPr>
          <p:spPr bwMode="auto">
            <a:xfrm>
              <a:off x="6759576" y="5805488"/>
              <a:ext cx="290513" cy="349250"/>
            </a:xfrm>
            <a:custGeom>
              <a:avLst/>
              <a:gdLst>
                <a:gd name="T0" fmla="*/ 149 w 169"/>
                <a:gd name="T1" fmla="*/ 202 h 202"/>
                <a:gd name="T2" fmla="*/ 29 w 169"/>
                <a:gd name="T3" fmla="*/ 67 h 202"/>
                <a:gd name="T4" fmla="*/ 29 w 169"/>
                <a:gd name="T5" fmla="*/ 0 h 202"/>
                <a:gd name="T6" fmla="*/ 139 w 169"/>
                <a:gd name="T7" fmla="*/ 0 h 202"/>
                <a:gd name="T8" fmla="*/ 154 w 169"/>
                <a:gd name="T9" fmla="*/ 63 h 202"/>
                <a:gd name="T10" fmla="*/ 154 w 169"/>
                <a:gd name="T11" fmla="*/ 104 h 202"/>
                <a:gd name="T12" fmla="*/ 169 w 169"/>
                <a:gd name="T13" fmla="*/ 164 h 202"/>
                <a:gd name="T14" fmla="*/ 149 w 169"/>
                <a:gd name="T15" fmla="*/ 202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202">
                  <a:moveTo>
                    <a:pt x="149" y="202"/>
                  </a:moveTo>
                  <a:cubicBezTo>
                    <a:pt x="149" y="60"/>
                    <a:pt x="70" y="40"/>
                    <a:pt x="29" y="67"/>
                  </a:cubicBezTo>
                  <a:cubicBezTo>
                    <a:pt x="0" y="87"/>
                    <a:pt x="29" y="0"/>
                    <a:pt x="29" y="0"/>
                  </a:cubicBezTo>
                  <a:cubicBezTo>
                    <a:pt x="139" y="0"/>
                    <a:pt x="139" y="0"/>
                    <a:pt x="139" y="0"/>
                  </a:cubicBezTo>
                  <a:cubicBezTo>
                    <a:pt x="154" y="63"/>
                    <a:pt x="154" y="63"/>
                    <a:pt x="154" y="63"/>
                  </a:cubicBezTo>
                  <a:cubicBezTo>
                    <a:pt x="154" y="104"/>
                    <a:pt x="154" y="104"/>
                    <a:pt x="154" y="104"/>
                  </a:cubicBezTo>
                  <a:cubicBezTo>
                    <a:pt x="169" y="164"/>
                    <a:pt x="169" y="164"/>
                    <a:pt x="169" y="164"/>
                  </a:cubicBezTo>
                  <a:lnTo>
                    <a:pt x="149" y="2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8" name="Freeform 623"/>
            <p:cNvSpPr>
              <a:spLocks/>
            </p:cNvSpPr>
            <p:nvPr/>
          </p:nvSpPr>
          <p:spPr bwMode="auto">
            <a:xfrm>
              <a:off x="6988176" y="5927725"/>
              <a:ext cx="71438" cy="230187"/>
            </a:xfrm>
            <a:custGeom>
              <a:avLst/>
              <a:gdLst>
                <a:gd name="T0" fmla="*/ 21 w 41"/>
                <a:gd name="T1" fmla="*/ 14 h 133"/>
                <a:gd name="T2" fmla="*/ 21 w 41"/>
                <a:gd name="T3" fmla="*/ 0 h 133"/>
                <a:gd name="T4" fmla="*/ 0 w 41"/>
                <a:gd name="T5" fmla="*/ 11 h 133"/>
                <a:gd name="T6" fmla="*/ 0 w 41"/>
                <a:gd name="T7" fmla="*/ 31 h 133"/>
                <a:gd name="T8" fmla="*/ 20 w 41"/>
                <a:gd name="T9" fmla="*/ 101 h 133"/>
                <a:gd name="T10" fmla="*/ 20 w 41"/>
                <a:gd name="T11" fmla="*/ 131 h 133"/>
                <a:gd name="T12" fmla="*/ 28 w 41"/>
                <a:gd name="T13" fmla="*/ 131 h 133"/>
                <a:gd name="T14" fmla="*/ 41 w 41"/>
                <a:gd name="T15" fmla="*/ 64 h 133"/>
                <a:gd name="T16" fmla="*/ 21 w 41"/>
                <a:gd name="T17" fmla="*/ 1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33">
                  <a:moveTo>
                    <a:pt x="21" y="14"/>
                  </a:moveTo>
                  <a:cubicBezTo>
                    <a:pt x="21" y="0"/>
                    <a:pt x="21" y="0"/>
                    <a:pt x="21" y="0"/>
                  </a:cubicBezTo>
                  <a:cubicBezTo>
                    <a:pt x="0" y="11"/>
                    <a:pt x="0" y="11"/>
                    <a:pt x="0" y="11"/>
                  </a:cubicBezTo>
                  <a:cubicBezTo>
                    <a:pt x="0" y="31"/>
                    <a:pt x="0" y="31"/>
                    <a:pt x="0" y="31"/>
                  </a:cubicBezTo>
                  <a:cubicBezTo>
                    <a:pt x="0" y="31"/>
                    <a:pt x="20" y="69"/>
                    <a:pt x="20" y="101"/>
                  </a:cubicBezTo>
                  <a:cubicBezTo>
                    <a:pt x="20" y="133"/>
                    <a:pt x="20" y="131"/>
                    <a:pt x="20" y="131"/>
                  </a:cubicBezTo>
                  <a:cubicBezTo>
                    <a:pt x="28" y="131"/>
                    <a:pt x="28" y="131"/>
                    <a:pt x="28" y="131"/>
                  </a:cubicBezTo>
                  <a:cubicBezTo>
                    <a:pt x="41" y="64"/>
                    <a:pt x="41" y="64"/>
                    <a:pt x="41" y="64"/>
                  </a:cubicBezTo>
                  <a:cubicBezTo>
                    <a:pt x="41" y="64"/>
                    <a:pt x="21" y="50"/>
                    <a:pt x="21" y="1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9" name="Freeform 624"/>
            <p:cNvSpPr>
              <a:spLocks/>
            </p:cNvSpPr>
            <p:nvPr/>
          </p:nvSpPr>
          <p:spPr bwMode="auto">
            <a:xfrm>
              <a:off x="6978651" y="6108700"/>
              <a:ext cx="46038" cy="46037"/>
            </a:xfrm>
            <a:custGeom>
              <a:avLst/>
              <a:gdLst>
                <a:gd name="T0" fmla="*/ 27 w 27"/>
                <a:gd name="T1" fmla="*/ 0 h 27"/>
                <a:gd name="T2" fmla="*/ 0 w 27"/>
                <a:gd name="T3" fmla="*/ 27 h 27"/>
                <a:gd name="T4" fmla="*/ 27 w 27"/>
                <a:gd name="T5" fmla="*/ 27 h 27"/>
                <a:gd name="T6" fmla="*/ 27 w 27"/>
                <a:gd name="T7" fmla="*/ 0 h 27"/>
              </a:gdLst>
              <a:ahLst/>
              <a:cxnLst>
                <a:cxn ang="0">
                  <a:pos x="T0" y="T1"/>
                </a:cxn>
                <a:cxn ang="0">
                  <a:pos x="T2" y="T3"/>
                </a:cxn>
                <a:cxn ang="0">
                  <a:pos x="T4" y="T5"/>
                </a:cxn>
                <a:cxn ang="0">
                  <a:pos x="T6" y="T7"/>
                </a:cxn>
              </a:cxnLst>
              <a:rect l="0" t="0" r="r" b="b"/>
              <a:pathLst>
                <a:path w="27" h="27">
                  <a:moveTo>
                    <a:pt x="27" y="0"/>
                  </a:moveTo>
                  <a:cubicBezTo>
                    <a:pt x="12" y="0"/>
                    <a:pt x="0" y="12"/>
                    <a:pt x="0" y="27"/>
                  </a:cubicBezTo>
                  <a:cubicBezTo>
                    <a:pt x="27" y="27"/>
                    <a:pt x="27" y="27"/>
                    <a:pt x="27" y="27"/>
                  </a:cubicBezTo>
                  <a:lnTo>
                    <a:pt x="27"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0" name="Freeform 625"/>
            <p:cNvSpPr>
              <a:spLocks/>
            </p:cNvSpPr>
            <p:nvPr/>
          </p:nvSpPr>
          <p:spPr bwMode="auto">
            <a:xfrm>
              <a:off x="6442076" y="6116638"/>
              <a:ext cx="87313" cy="38100"/>
            </a:xfrm>
            <a:custGeom>
              <a:avLst/>
              <a:gdLst>
                <a:gd name="T0" fmla="*/ 21 w 50"/>
                <a:gd name="T1" fmla="*/ 0 h 22"/>
                <a:gd name="T2" fmla="*/ 0 w 50"/>
                <a:gd name="T3" fmla="*/ 22 h 22"/>
                <a:gd name="T4" fmla="*/ 41 w 50"/>
                <a:gd name="T5" fmla="*/ 22 h 22"/>
                <a:gd name="T6" fmla="*/ 50 w 50"/>
                <a:gd name="T7" fmla="*/ 0 h 22"/>
                <a:gd name="T8" fmla="*/ 21 w 50"/>
                <a:gd name="T9" fmla="*/ 0 h 22"/>
              </a:gdLst>
              <a:ahLst/>
              <a:cxnLst>
                <a:cxn ang="0">
                  <a:pos x="T0" y="T1"/>
                </a:cxn>
                <a:cxn ang="0">
                  <a:pos x="T2" y="T3"/>
                </a:cxn>
                <a:cxn ang="0">
                  <a:pos x="T4" y="T5"/>
                </a:cxn>
                <a:cxn ang="0">
                  <a:pos x="T6" y="T7"/>
                </a:cxn>
                <a:cxn ang="0">
                  <a:pos x="T8" y="T9"/>
                </a:cxn>
              </a:cxnLst>
              <a:rect l="0" t="0" r="r" b="b"/>
              <a:pathLst>
                <a:path w="50" h="22">
                  <a:moveTo>
                    <a:pt x="21" y="0"/>
                  </a:moveTo>
                  <a:cubicBezTo>
                    <a:pt x="9" y="0"/>
                    <a:pt x="0" y="10"/>
                    <a:pt x="0" y="22"/>
                  </a:cubicBezTo>
                  <a:cubicBezTo>
                    <a:pt x="41" y="22"/>
                    <a:pt x="41" y="22"/>
                    <a:pt x="41" y="22"/>
                  </a:cubicBezTo>
                  <a:cubicBezTo>
                    <a:pt x="50" y="0"/>
                    <a:pt x="50" y="0"/>
                    <a:pt x="50" y="0"/>
                  </a:cubicBezTo>
                  <a:lnTo>
                    <a:pt x="21"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1" name="Freeform 626"/>
            <p:cNvSpPr>
              <a:spLocks/>
            </p:cNvSpPr>
            <p:nvPr/>
          </p:nvSpPr>
          <p:spPr bwMode="auto">
            <a:xfrm>
              <a:off x="6651626" y="5634038"/>
              <a:ext cx="36513" cy="34925"/>
            </a:xfrm>
            <a:custGeom>
              <a:avLst/>
              <a:gdLst>
                <a:gd name="T0" fmla="*/ 21 w 21"/>
                <a:gd name="T1" fmla="*/ 20 h 20"/>
                <a:gd name="T2" fmla="*/ 21 w 21"/>
                <a:gd name="T3" fmla="*/ 7 h 20"/>
                <a:gd name="T4" fmla="*/ 14 w 21"/>
                <a:gd name="T5" fmla="*/ 0 h 20"/>
                <a:gd name="T6" fmla="*/ 0 w 21"/>
                <a:gd name="T7" fmla="*/ 0 h 20"/>
                <a:gd name="T8" fmla="*/ 7 w 21"/>
                <a:gd name="T9" fmla="*/ 20 h 20"/>
                <a:gd name="T10" fmla="*/ 21 w 21"/>
                <a:gd name="T11" fmla="*/ 20 h 20"/>
              </a:gdLst>
              <a:ahLst/>
              <a:cxnLst>
                <a:cxn ang="0">
                  <a:pos x="T0" y="T1"/>
                </a:cxn>
                <a:cxn ang="0">
                  <a:pos x="T2" y="T3"/>
                </a:cxn>
                <a:cxn ang="0">
                  <a:pos x="T4" y="T5"/>
                </a:cxn>
                <a:cxn ang="0">
                  <a:pos x="T6" y="T7"/>
                </a:cxn>
                <a:cxn ang="0">
                  <a:pos x="T8" y="T9"/>
                </a:cxn>
                <a:cxn ang="0">
                  <a:pos x="T10" y="T11"/>
                </a:cxn>
              </a:cxnLst>
              <a:rect l="0" t="0" r="r" b="b"/>
              <a:pathLst>
                <a:path w="21" h="20">
                  <a:moveTo>
                    <a:pt x="21" y="20"/>
                  </a:moveTo>
                  <a:cubicBezTo>
                    <a:pt x="21" y="7"/>
                    <a:pt x="21" y="7"/>
                    <a:pt x="21" y="7"/>
                  </a:cubicBezTo>
                  <a:cubicBezTo>
                    <a:pt x="21" y="3"/>
                    <a:pt x="18" y="0"/>
                    <a:pt x="14" y="0"/>
                  </a:cubicBezTo>
                  <a:cubicBezTo>
                    <a:pt x="0" y="0"/>
                    <a:pt x="0" y="0"/>
                    <a:pt x="0" y="0"/>
                  </a:cubicBezTo>
                  <a:cubicBezTo>
                    <a:pt x="0" y="0"/>
                    <a:pt x="1" y="11"/>
                    <a:pt x="7" y="20"/>
                  </a:cubicBezTo>
                  <a:lnTo>
                    <a:pt x="21" y="2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2" name="Freeform 627"/>
            <p:cNvSpPr>
              <a:spLocks/>
            </p:cNvSpPr>
            <p:nvPr/>
          </p:nvSpPr>
          <p:spPr bwMode="auto">
            <a:xfrm>
              <a:off x="6904038" y="5992813"/>
              <a:ext cx="80963" cy="161925"/>
            </a:xfrm>
            <a:custGeom>
              <a:avLst/>
              <a:gdLst>
                <a:gd name="T0" fmla="*/ 21 w 47"/>
                <a:gd name="T1" fmla="*/ 68 h 94"/>
                <a:gd name="T2" fmla="*/ 0 w 47"/>
                <a:gd name="T3" fmla="*/ 94 h 94"/>
                <a:gd name="T4" fmla="*/ 26 w 47"/>
                <a:gd name="T5" fmla="*/ 94 h 94"/>
                <a:gd name="T6" fmla="*/ 26 w 47"/>
                <a:gd name="T7" fmla="*/ 94 h 94"/>
                <a:gd name="T8" fmla="*/ 34 w 47"/>
                <a:gd name="T9" fmla="*/ 94 h 94"/>
                <a:gd name="T10" fmla="*/ 47 w 47"/>
                <a:gd name="T11" fmla="*/ 27 h 94"/>
                <a:gd name="T12" fmla="*/ 33 w 47"/>
                <a:gd name="T13" fmla="*/ 9 h 94"/>
                <a:gd name="T14" fmla="*/ 4 w 47"/>
                <a:gd name="T15" fmla="*/ 0 h 94"/>
                <a:gd name="T16" fmla="*/ 21 w 47"/>
                <a:gd name="T17" fmla="*/ 6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94">
                  <a:moveTo>
                    <a:pt x="21" y="68"/>
                  </a:moveTo>
                  <a:cubicBezTo>
                    <a:pt x="9" y="71"/>
                    <a:pt x="0" y="81"/>
                    <a:pt x="0" y="94"/>
                  </a:cubicBezTo>
                  <a:cubicBezTo>
                    <a:pt x="26" y="94"/>
                    <a:pt x="26" y="94"/>
                    <a:pt x="26" y="94"/>
                  </a:cubicBezTo>
                  <a:cubicBezTo>
                    <a:pt x="26" y="94"/>
                    <a:pt x="26" y="94"/>
                    <a:pt x="26" y="94"/>
                  </a:cubicBezTo>
                  <a:cubicBezTo>
                    <a:pt x="34" y="94"/>
                    <a:pt x="34" y="94"/>
                    <a:pt x="34" y="94"/>
                  </a:cubicBezTo>
                  <a:cubicBezTo>
                    <a:pt x="47" y="27"/>
                    <a:pt x="47" y="27"/>
                    <a:pt x="47" y="27"/>
                  </a:cubicBezTo>
                  <a:cubicBezTo>
                    <a:pt x="47" y="27"/>
                    <a:pt x="39" y="22"/>
                    <a:pt x="33" y="9"/>
                  </a:cubicBezTo>
                  <a:cubicBezTo>
                    <a:pt x="24" y="5"/>
                    <a:pt x="14" y="1"/>
                    <a:pt x="4" y="0"/>
                  </a:cubicBezTo>
                  <a:cubicBezTo>
                    <a:pt x="13" y="17"/>
                    <a:pt x="18" y="40"/>
                    <a:pt x="21" y="6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3" name="Freeform 628"/>
            <p:cNvSpPr>
              <a:spLocks/>
            </p:cNvSpPr>
            <p:nvPr/>
          </p:nvSpPr>
          <p:spPr bwMode="auto">
            <a:xfrm>
              <a:off x="6488113" y="5730875"/>
              <a:ext cx="101600" cy="33337"/>
            </a:xfrm>
            <a:custGeom>
              <a:avLst/>
              <a:gdLst>
                <a:gd name="T0" fmla="*/ 0 w 59"/>
                <a:gd name="T1" fmla="*/ 7 h 19"/>
                <a:gd name="T2" fmla="*/ 50 w 59"/>
                <a:gd name="T3" fmla="*/ 0 h 19"/>
                <a:gd name="T4" fmla="*/ 59 w 59"/>
                <a:gd name="T5" fmla="*/ 2 h 19"/>
                <a:gd name="T6" fmla="*/ 0 w 59"/>
                <a:gd name="T7" fmla="*/ 16 h 19"/>
                <a:gd name="T8" fmla="*/ 0 w 59"/>
                <a:gd name="T9" fmla="*/ 7 h 19"/>
                <a:gd name="T10" fmla="*/ 0 w 59"/>
                <a:gd name="T11" fmla="*/ 7 h 19"/>
              </a:gdLst>
              <a:ahLst/>
              <a:cxnLst>
                <a:cxn ang="0">
                  <a:pos x="T0" y="T1"/>
                </a:cxn>
                <a:cxn ang="0">
                  <a:pos x="T2" y="T3"/>
                </a:cxn>
                <a:cxn ang="0">
                  <a:pos x="T4" y="T5"/>
                </a:cxn>
                <a:cxn ang="0">
                  <a:pos x="T6" y="T7"/>
                </a:cxn>
                <a:cxn ang="0">
                  <a:pos x="T8" y="T9"/>
                </a:cxn>
                <a:cxn ang="0">
                  <a:pos x="T10" y="T11"/>
                </a:cxn>
              </a:cxnLst>
              <a:rect l="0" t="0" r="r" b="b"/>
              <a:pathLst>
                <a:path w="59" h="19">
                  <a:moveTo>
                    <a:pt x="0" y="7"/>
                  </a:moveTo>
                  <a:cubicBezTo>
                    <a:pt x="0" y="7"/>
                    <a:pt x="32" y="9"/>
                    <a:pt x="50" y="0"/>
                  </a:cubicBezTo>
                  <a:cubicBezTo>
                    <a:pt x="59" y="2"/>
                    <a:pt x="59" y="2"/>
                    <a:pt x="59" y="2"/>
                  </a:cubicBezTo>
                  <a:cubicBezTo>
                    <a:pt x="59" y="2"/>
                    <a:pt x="52" y="19"/>
                    <a:pt x="0" y="16"/>
                  </a:cubicBezTo>
                  <a:cubicBezTo>
                    <a:pt x="0" y="7"/>
                    <a:pt x="0" y="7"/>
                    <a:pt x="0" y="7"/>
                  </a:cubicBezTo>
                  <a:cubicBezTo>
                    <a:pt x="0" y="7"/>
                    <a:pt x="0" y="7"/>
                    <a:pt x="0" y="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4" name="Freeform 629"/>
            <p:cNvSpPr>
              <a:spLocks/>
            </p:cNvSpPr>
            <p:nvPr/>
          </p:nvSpPr>
          <p:spPr bwMode="auto">
            <a:xfrm>
              <a:off x="6553201" y="5724525"/>
              <a:ext cx="60325" cy="58737"/>
            </a:xfrm>
            <a:custGeom>
              <a:avLst/>
              <a:gdLst>
                <a:gd name="T0" fmla="*/ 35 w 35"/>
                <a:gd name="T1" fmla="*/ 0 h 34"/>
                <a:gd name="T2" fmla="*/ 0 w 35"/>
                <a:gd name="T3" fmla="*/ 0 h 34"/>
                <a:gd name="T4" fmla="*/ 35 w 35"/>
                <a:gd name="T5" fmla="*/ 34 h 34"/>
                <a:gd name="T6" fmla="*/ 35 w 35"/>
                <a:gd name="T7" fmla="*/ 0 h 34"/>
              </a:gdLst>
              <a:ahLst/>
              <a:cxnLst>
                <a:cxn ang="0">
                  <a:pos x="T0" y="T1"/>
                </a:cxn>
                <a:cxn ang="0">
                  <a:pos x="T2" y="T3"/>
                </a:cxn>
                <a:cxn ang="0">
                  <a:pos x="T4" y="T5"/>
                </a:cxn>
                <a:cxn ang="0">
                  <a:pos x="T6" y="T7"/>
                </a:cxn>
              </a:cxnLst>
              <a:rect l="0" t="0" r="r" b="b"/>
              <a:pathLst>
                <a:path w="35" h="34">
                  <a:moveTo>
                    <a:pt x="35" y="0"/>
                  </a:moveTo>
                  <a:cubicBezTo>
                    <a:pt x="0" y="0"/>
                    <a:pt x="0" y="0"/>
                    <a:pt x="0" y="0"/>
                  </a:cubicBezTo>
                  <a:cubicBezTo>
                    <a:pt x="0" y="0"/>
                    <a:pt x="4" y="34"/>
                    <a:pt x="35" y="34"/>
                  </a:cubicBezTo>
                  <a:cubicBezTo>
                    <a:pt x="35" y="22"/>
                    <a:pt x="35"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5" name="Freeform 630"/>
            <p:cNvSpPr>
              <a:spLocks/>
            </p:cNvSpPr>
            <p:nvPr/>
          </p:nvSpPr>
          <p:spPr bwMode="auto">
            <a:xfrm>
              <a:off x="6613526" y="5232400"/>
              <a:ext cx="936625" cy="509587"/>
            </a:xfrm>
            <a:custGeom>
              <a:avLst/>
              <a:gdLst>
                <a:gd name="T0" fmla="*/ 542 w 542"/>
                <a:gd name="T1" fmla="*/ 0 h 295"/>
                <a:gd name="T2" fmla="*/ 0 w 542"/>
                <a:gd name="T3" fmla="*/ 295 h 295"/>
              </a:gdLst>
              <a:ahLst/>
              <a:cxnLst>
                <a:cxn ang="0">
                  <a:pos x="T0" y="T1"/>
                </a:cxn>
                <a:cxn ang="0">
                  <a:pos x="T2" y="T3"/>
                </a:cxn>
              </a:cxnLst>
              <a:rect l="0" t="0" r="r" b="b"/>
              <a:pathLst>
                <a:path w="542" h="295">
                  <a:moveTo>
                    <a:pt x="542" y="0"/>
                  </a:moveTo>
                  <a:cubicBezTo>
                    <a:pt x="542" y="0"/>
                    <a:pt x="436" y="264"/>
                    <a:pt x="0" y="295"/>
                  </a:cubicBezTo>
                </a:path>
              </a:pathLst>
            </a:custGeom>
            <a:noFill/>
            <a:ln w="15875" cap="flat">
              <a:solidFill>
                <a:srgbClr val="3333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6" name="Freeform 631"/>
            <p:cNvSpPr>
              <a:spLocks/>
            </p:cNvSpPr>
            <p:nvPr/>
          </p:nvSpPr>
          <p:spPr bwMode="auto">
            <a:xfrm>
              <a:off x="6989763" y="5580063"/>
              <a:ext cx="104775" cy="207962"/>
            </a:xfrm>
            <a:custGeom>
              <a:avLst/>
              <a:gdLst>
                <a:gd name="T0" fmla="*/ 0 w 60"/>
                <a:gd name="T1" fmla="*/ 0 h 121"/>
                <a:gd name="T2" fmla="*/ 60 w 60"/>
                <a:gd name="T3" fmla="*/ 60 h 121"/>
                <a:gd name="T4" fmla="*/ 0 w 60"/>
                <a:gd name="T5" fmla="*/ 121 h 121"/>
              </a:gdLst>
              <a:ahLst/>
              <a:cxnLst>
                <a:cxn ang="0">
                  <a:pos x="T0" y="T1"/>
                </a:cxn>
                <a:cxn ang="0">
                  <a:pos x="T2" y="T3"/>
                </a:cxn>
                <a:cxn ang="0">
                  <a:pos x="T4" y="T5"/>
                </a:cxn>
              </a:cxnLst>
              <a:rect l="0" t="0" r="r" b="b"/>
              <a:pathLst>
                <a:path w="60" h="121">
                  <a:moveTo>
                    <a:pt x="0" y="0"/>
                  </a:moveTo>
                  <a:cubicBezTo>
                    <a:pt x="33" y="0"/>
                    <a:pt x="60" y="27"/>
                    <a:pt x="60" y="60"/>
                  </a:cubicBezTo>
                  <a:cubicBezTo>
                    <a:pt x="60" y="94"/>
                    <a:pt x="33" y="121"/>
                    <a:pt x="0" y="121"/>
                  </a:cubicBezTo>
                </a:path>
              </a:pathLst>
            </a:custGeom>
            <a:noFill/>
            <a:ln w="30163" cap="rnd">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26" name="Group 25"/>
          <p:cNvGrpSpPr/>
          <p:nvPr/>
        </p:nvGrpSpPr>
        <p:grpSpPr>
          <a:xfrm>
            <a:off x="10213339" y="4514992"/>
            <a:ext cx="383900" cy="1855299"/>
            <a:chOff x="10313988" y="4237038"/>
            <a:chExt cx="474662" cy="2293937"/>
          </a:xfrm>
        </p:grpSpPr>
        <p:sp>
          <p:nvSpPr>
            <p:cNvPr id="6" name="Oval 5"/>
            <p:cNvSpPr>
              <a:spLocks noChangeArrowheads="1"/>
            </p:cNvSpPr>
            <p:nvPr/>
          </p:nvSpPr>
          <p:spPr bwMode="auto">
            <a:xfrm>
              <a:off x="10539413" y="4538663"/>
              <a:ext cx="22225" cy="22225"/>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 name="Freeform 8"/>
            <p:cNvSpPr>
              <a:spLocks/>
            </p:cNvSpPr>
            <p:nvPr/>
          </p:nvSpPr>
          <p:spPr bwMode="auto">
            <a:xfrm>
              <a:off x="10396538" y="4595813"/>
              <a:ext cx="300037" cy="120650"/>
            </a:xfrm>
            <a:custGeom>
              <a:avLst/>
              <a:gdLst>
                <a:gd name="T0" fmla="*/ 131 w 131"/>
                <a:gd name="T1" fmla="*/ 53 h 53"/>
                <a:gd name="T2" fmla="*/ 68 w 131"/>
                <a:gd name="T3" fmla="*/ 53 h 53"/>
                <a:gd name="T4" fmla="*/ 34 w 131"/>
                <a:gd name="T5" fmla="*/ 33 h 53"/>
                <a:gd name="T6" fmla="*/ 68 w 131"/>
                <a:gd name="T7" fmla="*/ 0 h 53"/>
                <a:gd name="T8" fmla="*/ 131 w 131"/>
                <a:gd name="T9" fmla="*/ 0 h 53"/>
                <a:gd name="T10" fmla="*/ 131 w 131"/>
                <a:gd name="T11" fmla="*/ 53 h 53"/>
              </a:gdLst>
              <a:ahLst/>
              <a:cxnLst>
                <a:cxn ang="0">
                  <a:pos x="T0" y="T1"/>
                </a:cxn>
                <a:cxn ang="0">
                  <a:pos x="T2" y="T3"/>
                </a:cxn>
                <a:cxn ang="0">
                  <a:pos x="T4" y="T5"/>
                </a:cxn>
                <a:cxn ang="0">
                  <a:pos x="T6" y="T7"/>
                </a:cxn>
                <a:cxn ang="0">
                  <a:pos x="T8" y="T9"/>
                </a:cxn>
                <a:cxn ang="0">
                  <a:pos x="T10" y="T11"/>
                </a:cxn>
              </a:cxnLst>
              <a:rect l="0" t="0" r="r" b="b"/>
              <a:pathLst>
                <a:path w="131" h="53">
                  <a:moveTo>
                    <a:pt x="131" y="53"/>
                  </a:moveTo>
                  <a:cubicBezTo>
                    <a:pt x="68" y="53"/>
                    <a:pt x="68" y="53"/>
                    <a:pt x="68" y="53"/>
                  </a:cubicBezTo>
                  <a:cubicBezTo>
                    <a:pt x="68" y="53"/>
                    <a:pt x="69" y="27"/>
                    <a:pt x="34" y="33"/>
                  </a:cubicBezTo>
                  <a:cubicBezTo>
                    <a:pt x="0" y="39"/>
                    <a:pt x="68" y="0"/>
                    <a:pt x="68" y="0"/>
                  </a:cubicBezTo>
                  <a:cubicBezTo>
                    <a:pt x="131" y="0"/>
                    <a:pt x="131" y="0"/>
                    <a:pt x="131" y="0"/>
                  </a:cubicBezTo>
                  <a:lnTo>
                    <a:pt x="131" y="53"/>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 name="Freeform 9"/>
            <p:cNvSpPr>
              <a:spLocks/>
            </p:cNvSpPr>
            <p:nvPr/>
          </p:nvSpPr>
          <p:spPr bwMode="auto">
            <a:xfrm>
              <a:off x="10313988" y="4273550"/>
              <a:ext cx="460375" cy="411162"/>
            </a:xfrm>
            <a:custGeom>
              <a:avLst/>
              <a:gdLst>
                <a:gd name="T0" fmla="*/ 193 w 201"/>
                <a:gd name="T1" fmla="*/ 72 h 180"/>
                <a:gd name="T2" fmla="*/ 101 w 201"/>
                <a:gd name="T3" fmla="*/ 8 h 180"/>
                <a:gd name="T4" fmla="*/ 66 w 201"/>
                <a:gd name="T5" fmla="*/ 14 h 180"/>
                <a:gd name="T6" fmla="*/ 23 w 201"/>
                <a:gd name="T7" fmla="*/ 61 h 180"/>
                <a:gd name="T8" fmla="*/ 19 w 201"/>
                <a:gd name="T9" fmla="*/ 87 h 180"/>
                <a:gd name="T10" fmla="*/ 11 w 201"/>
                <a:gd name="T11" fmla="*/ 127 h 180"/>
                <a:gd name="T12" fmla="*/ 26 w 201"/>
                <a:gd name="T13" fmla="*/ 125 h 180"/>
                <a:gd name="T14" fmla="*/ 36 w 201"/>
                <a:gd name="T15" fmla="*/ 180 h 180"/>
                <a:gd name="T16" fmla="*/ 129 w 201"/>
                <a:gd name="T17" fmla="*/ 164 h 180"/>
                <a:gd name="T18" fmla="*/ 129 w 201"/>
                <a:gd name="T19" fmla="*/ 164 h 180"/>
                <a:gd name="T20" fmla="*/ 129 w 201"/>
                <a:gd name="T21" fmla="*/ 164 h 180"/>
                <a:gd name="T22" fmla="*/ 129 w 201"/>
                <a:gd name="T23" fmla="*/ 164 h 180"/>
                <a:gd name="T24" fmla="*/ 129 w 201"/>
                <a:gd name="T25" fmla="*/ 164 h 180"/>
                <a:gd name="T26" fmla="*/ 193 w 201"/>
                <a:gd name="T27" fmla="*/ 7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1" h="180">
                  <a:moveTo>
                    <a:pt x="193" y="72"/>
                  </a:moveTo>
                  <a:cubicBezTo>
                    <a:pt x="186" y="29"/>
                    <a:pt x="144" y="0"/>
                    <a:pt x="101" y="8"/>
                  </a:cubicBezTo>
                  <a:cubicBezTo>
                    <a:pt x="66" y="14"/>
                    <a:pt x="66" y="14"/>
                    <a:pt x="66" y="14"/>
                  </a:cubicBezTo>
                  <a:cubicBezTo>
                    <a:pt x="66" y="14"/>
                    <a:pt x="28" y="22"/>
                    <a:pt x="23" y="61"/>
                  </a:cubicBezTo>
                  <a:cubicBezTo>
                    <a:pt x="21" y="76"/>
                    <a:pt x="19" y="86"/>
                    <a:pt x="19" y="87"/>
                  </a:cubicBezTo>
                  <a:cubicBezTo>
                    <a:pt x="18" y="100"/>
                    <a:pt x="0" y="122"/>
                    <a:pt x="11" y="127"/>
                  </a:cubicBezTo>
                  <a:cubicBezTo>
                    <a:pt x="26" y="125"/>
                    <a:pt x="26" y="125"/>
                    <a:pt x="26" y="125"/>
                  </a:cubicBezTo>
                  <a:cubicBezTo>
                    <a:pt x="36" y="180"/>
                    <a:pt x="36" y="180"/>
                    <a:pt x="36" y="180"/>
                  </a:cubicBezTo>
                  <a:cubicBezTo>
                    <a:pt x="129" y="164"/>
                    <a:pt x="129" y="164"/>
                    <a:pt x="129" y="164"/>
                  </a:cubicBezTo>
                  <a:cubicBezTo>
                    <a:pt x="129" y="164"/>
                    <a:pt x="129" y="164"/>
                    <a:pt x="129" y="164"/>
                  </a:cubicBezTo>
                  <a:cubicBezTo>
                    <a:pt x="129" y="164"/>
                    <a:pt x="129" y="164"/>
                    <a:pt x="129" y="164"/>
                  </a:cubicBezTo>
                  <a:cubicBezTo>
                    <a:pt x="129" y="164"/>
                    <a:pt x="129" y="164"/>
                    <a:pt x="129" y="164"/>
                  </a:cubicBezTo>
                  <a:cubicBezTo>
                    <a:pt x="129" y="164"/>
                    <a:pt x="129" y="164"/>
                    <a:pt x="129" y="164"/>
                  </a:cubicBezTo>
                  <a:cubicBezTo>
                    <a:pt x="172" y="156"/>
                    <a:pt x="201" y="115"/>
                    <a:pt x="193" y="72"/>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 name="Oval 10"/>
            <p:cNvSpPr>
              <a:spLocks noChangeArrowheads="1"/>
            </p:cNvSpPr>
            <p:nvPr/>
          </p:nvSpPr>
          <p:spPr bwMode="auto">
            <a:xfrm>
              <a:off x="10402888" y="4494213"/>
              <a:ext cx="20637" cy="238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 name="Freeform 11"/>
            <p:cNvSpPr>
              <a:spLocks/>
            </p:cNvSpPr>
            <p:nvPr/>
          </p:nvSpPr>
          <p:spPr bwMode="auto">
            <a:xfrm>
              <a:off x="10377488" y="4581525"/>
              <a:ext cx="74612" cy="57150"/>
            </a:xfrm>
            <a:custGeom>
              <a:avLst/>
              <a:gdLst>
                <a:gd name="T0" fmla="*/ 0 w 32"/>
                <a:gd name="T1" fmla="*/ 5 h 25"/>
                <a:gd name="T2" fmla="*/ 3 w 32"/>
                <a:gd name="T3" fmla="*/ 25 h 25"/>
                <a:gd name="T4" fmla="*/ 32 w 32"/>
                <a:gd name="T5" fmla="*/ 0 h 25"/>
                <a:gd name="T6" fmla="*/ 0 w 32"/>
                <a:gd name="T7" fmla="*/ 5 h 25"/>
              </a:gdLst>
              <a:ahLst/>
              <a:cxnLst>
                <a:cxn ang="0">
                  <a:pos x="T0" y="T1"/>
                </a:cxn>
                <a:cxn ang="0">
                  <a:pos x="T2" y="T3"/>
                </a:cxn>
                <a:cxn ang="0">
                  <a:pos x="T4" y="T5"/>
                </a:cxn>
                <a:cxn ang="0">
                  <a:pos x="T6" y="T7"/>
                </a:cxn>
              </a:cxnLst>
              <a:rect l="0" t="0" r="r" b="b"/>
              <a:pathLst>
                <a:path w="32" h="25">
                  <a:moveTo>
                    <a:pt x="0" y="5"/>
                  </a:moveTo>
                  <a:cubicBezTo>
                    <a:pt x="3" y="25"/>
                    <a:pt x="3" y="25"/>
                    <a:pt x="3" y="25"/>
                  </a:cubicBezTo>
                  <a:cubicBezTo>
                    <a:pt x="17" y="22"/>
                    <a:pt x="28" y="12"/>
                    <a:pt x="32"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 name="Rectangle 12"/>
            <p:cNvSpPr>
              <a:spLocks noChangeArrowheads="1"/>
            </p:cNvSpPr>
            <p:nvPr/>
          </p:nvSpPr>
          <p:spPr bwMode="auto">
            <a:xfrm>
              <a:off x="10493375" y="5305425"/>
              <a:ext cx="203200" cy="614362"/>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 name="Freeform 13"/>
            <p:cNvSpPr>
              <a:spLocks/>
            </p:cNvSpPr>
            <p:nvPr/>
          </p:nvSpPr>
          <p:spPr bwMode="auto">
            <a:xfrm>
              <a:off x="10464800" y="5857875"/>
              <a:ext cx="268287" cy="542925"/>
            </a:xfrm>
            <a:custGeom>
              <a:avLst/>
              <a:gdLst>
                <a:gd name="T0" fmla="*/ 18 w 169"/>
                <a:gd name="T1" fmla="*/ 39 h 342"/>
                <a:gd name="T2" fmla="*/ 0 w 169"/>
                <a:gd name="T3" fmla="*/ 342 h 342"/>
                <a:gd name="T4" fmla="*/ 169 w 169"/>
                <a:gd name="T5" fmla="*/ 342 h 342"/>
                <a:gd name="T6" fmla="*/ 146 w 169"/>
                <a:gd name="T7" fmla="*/ 39 h 342"/>
                <a:gd name="T8" fmla="*/ 61 w 169"/>
                <a:gd name="T9" fmla="*/ 0 h 342"/>
                <a:gd name="T10" fmla="*/ 18 w 169"/>
                <a:gd name="T11" fmla="*/ 39 h 342"/>
              </a:gdLst>
              <a:ahLst/>
              <a:cxnLst>
                <a:cxn ang="0">
                  <a:pos x="T0" y="T1"/>
                </a:cxn>
                <a:cxn ang="0">
                  <a:pos x="T2" y="T3"/>
                </a:cxn>
                <a:cxn ang="0">
                  <a:pos x="T4" y="T5"/>
                </a:cxn>
                <a:cxn ang="0">
                  <a:pos x="T6" y="T7"/>
                </a:cxn>
                <a:cxn ang="0">
                  <a:pos x="T8" y="T9"/>
                </a:cxn>
                <a:cxn ang="0">
                  <a:pos x="T10" y="T11"/>
                </a:cxn>
              </a:cxnLst>
              <a:rect l="0" t="0" r="r" b="b"/>
              <a:pathLst>
                <a:path w="169" h="342">
                  <a:moveTo>
                    <a:pt x="18" y="39"/>
                  </a:moveTo>
                  <a:lnTo>
                    <a:pt x="0" y="342"/>
                  </a:lnTo>
                  <a:lnTo>
                    <a:pt x="169" y="342"/>
                  </a:lnTo>
                  <a:lnTo>
                    <a:pt x="146" y="39"/>
                  </a:lnTo>
                  <a:lnTo>
                    <a:pt x="61" y="0"/>
                  </a:lnTo>
                  <a:lnTo>
                    <a:pt x="18" y="39"/>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 name="Freeform 14"/>
            <p:cNvSpPr>
              <a:spLocks/>
            </p:cNvSpPr>
            <p:nvPr/>
          </p:nvSpPr>
          <p:spPr bwMode="auto">
            <a:xfrm>
              <a:off x="10447338" y="4697413"/>
              <a:ext cx="341312" cy="808037"/>
            </a:xfrm>
            <a:custGeom>
              <a:avLst/>
              <a:gdLst>
                <a:gd name="T0" fmla="*/ 77 w 149"/>
                <a:gd name="T1" fmla="*/ 0 h 354"/>
                <a:gd name="T2" fmla="*/ 0 w 149"/>
                <a:gd name="T3" fmla="*/ 127 h 354"/>
                <a:gd name="T4" fmla="*/ 0 w 149"/>
                <a:gd name="T5" fmla="*/ 354 h 354"/>
                <a:gd name="T6" fmla="*/ 149 w 149"/>
                <a:gd name="T7" fmla="*/ 354 h 354"/>
                <a:gd name="T8" fmla="*/ 121 w 149"/>
                <a:gd name="T9" fmla="*/ 0 h 354"/>
                <a:gd name="T10" fmla="*/ 77 w 149"/>
                <a:gd name="T11" fmla="*/ 0 h 354"/>
              </a:gdLst>
              <a:ahLst/>
              <a:cxnLst>
                <a:cxn ang="0">
                  <a:pos x="T0" y="T1"/>
                </a:cxn>
                <a:cxn ang="0">
                  <a:pos x="T2" y="T3"/>
                </a:cxn>
                <a:cxn ang="0">
                  <a:pos x="T4" y="T5"/>
                </a:cxn>
                <a:cxn ang="0">
                  <a:pos x="T6" y="T7"/>
                </a:cxn>
                <a:cxn ang="0">
                  <a:pos x="T8" y="T9"/>
                </a:cxn>
                <a:cxn ang="0">
                  <a:pos x="T10" y="T11"/>
                </a:cxn>
              </a:cxnLst>
              <a:rect l="0" t="0" r="r" b="b"/>
              <a:pathLst>
                <a:path w="149" h="354">
                  <a:moveTo>
                    <a:pt x="77" y="0"/>
                  </a:moveTo>
                  <a:cubicBezTo>
                    <a:pt x="15" y="0"/>
                    <a:pt x="0" y="135"/>
                    <a:pt x="0" y="127"/>
                  </a:cubicBezTo>
                  <a:cubicBezTo>
                    <a:pt x="0" y="354"/>
                    <a:pt x="0" y="354"/>
                    <a:pt x="0" y="354"/>
                  </a:cubicBezTo>
                  <a:cubicBezTo>
                    <a:pt x="149" y="354"/>
                    <a:pt x="149" y="354"/>
                    <a:pt x="149" y="354"/>
                  </a:cubicBezTo>
                  <a:cubicBezTo>
                    <a:pt x="121" y="0"/>
                    <a:pt x="121" y="0"/>
                    <a:pt x="121" y="0"/>
                  </a:cubicBezTo>
                  <a:cubicBezTo>
                    <a:pt x="121" y="0"/>
                    <a:pt x="80" y="0"/>
                    <a:pt x="77" y="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 name="Freeform 15"/>
            <p:cNvSpPr>
              <a:spLocks/>
            </p:cNvSpPr>
            <p:nvPr/>
          </p:nvSpPr>
          <p:spPr bwMode="auto">
            <a:xfrm>
              <a:off x="10401300" y="6400800"/>
              <a:ext cx="254000" cy="130175"/>
            </a:xfrm>
            <a:custGeom>
              <a:avLst/>
              <a:gdLst>
                <a:gd name="T0" fmla="*/ 63 w 111"/>
                <a:gd name="T1" fmla="*/ 0 h 57"/>
                <a:gd name="T2" fmla="*/ 0 w 111"/>
                <a:gd name="T3" fmla="*/ 57 h 57"/>
                <a:gd name="T4" fmla="*/ 63 w 111"/>
                <a:gd name="T5" fmla="*/ 57 h 57"/>
                <a:gd name="T6" fmla="*/ 111 w 111"/>
                <a:gd name="T7" fmla="*/ 57 h 57"/>
                <a:gd name="T8" fmla="*/ 111 w 111"/>
                <a:gd name="T9" fmla="*/ 0 h 57"/>
                <a:gd name="T10" fmla="*/ 63 w 111"/>
                <a:gd name="T11" fmla="*/ 0 h 57"/>
              </a:gdLst>
              <a:ahLst/>
              <a:cxnLst>
                <a:cxn ang="0">
                  <a:pos x="T0" y="T1"/>
                </a:cxn>
                <a:cxn ang="0">
                  <a:pos x="T2" y="T3"/>
                </a:cxn>
                <a:cxn ang="0">
                  <a:pos x="T4" y="T5"/>
                </a:cxn>
                <a:cxn ang="0">
                  <a:pos x="T6" y="T7"/>
                </a:cxn>
                <a:cxn ang="0">
                  <a:pos x="T8" y="T9"/>
                </a:cxn>
                <a:cxn ang="0">
                  <a:pos x="T10" y="T11"/>
                </a:cxn>
              </a:cxnLst>
              <a:rect l="0" t="0" r="r" b="b"/>
              <a:pathLst>
                <a:path w="111" h="57">
                  <a:moveTo>
                    <a:pt x="63" y="0"/>
                  </a:moveTo>
                  <a:cubicBezTo>
                    <a:pt x="30" y="0"/>
                    <a:pt x="3" y="25"/>
                    <a:pt x="0" y="57"/>
                  </a:cubicBezTo>
                  <a:cubicBezTo>
                    <a:pt x="63" y="57"/>
                    <a:pt x="63" y="57"/>
                    <a:pt x="63" y="57"/>
                  </a:cubicBezTo>
                  <a:cubicBezTo>
                    <a:pt x="111" y="57"/>
                    <a:pt x="111" y="57"/>
                    <a:pt x="111" y="57"/>
                  </a:cubicBezTo>
                  <a:cubicBezTo>
                    <a:pt x="111" y="0"/>
                    <a:pt x="111" y="0"/>
                    <a:pt x="111" y="0"/>
                  </a:cubicBezTo>
                  <a:lnTo>
                    <a:pt x="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 name="Freeform 16"/>
            <p:cNvSpPr>
              <a:spLocks/>
            </p:cNvSpPr>
            <p:nvPr/>
          </p:nvSpPr>
          <p:spPr bwMode="auto">
            <a:xfrm>
              <a:off x="10423525" y="6400800"/>
              <a:ext cx="230187" cy="66675"/>
            </a:xfrm>
            <a:custGeom>
              <a:avLst/>
              <a:gdLst>
                <a:gd name="T0" fmla="*/ 53 w 100"/>
                <a:gd name="T1" fmla="*/ 0 h 29"/>
                <a:gd name="T2" fmla="*/ 0 w 100"/>
                <a:gd name="T3" fmla="*/ 29 h 29"/>
                <a:gd name="T4" fmla="*/ 68 w 100"/>
                <a:gd name="T5" fmla="*/ 29 h 29"/>
                <a:gd name="T6" fmla="*/ 100 w 100"/>
                <a:gd name="T7" fmla="*/ 0 h 29"/>
                <a:gd name="T8" fmla="*/ 53 w 100"/>
                <a:gd name="T9" fmla="*/ 0 h 29"/>
              </a:gdLst>
              <a:ahLst/>
              <a:cxnLst>
                <a:cxn ang="0">
                  <a:pos x="T0" y="T1"/>
                </a:cxn>
                <a:cxn ang="0">
                  <a:pos x="T2" y="T3"/>
                </a:cxn>
                <a:cxn ang="0">
                  <a:pos x="T4" y="T5"/>
                </a:cxn>
                <a:cxn ang="0">
                  <a:pos x="T6" y="T7"/>
                </a:cxn>
                <a:cxn ang="0">
                  <a:pos x="T8" y="T9"/>
                </a:cxn>
              </a:cxnLst>
              <a:rect l="0" t="0" r="r" b="b"/>
              <a:pathLst>
                <a:path w="100" h="29">
                  <a:moveTo>
                    <a:pt x="53" y="0"/>
                  </a:moveTo>
                  <a:cubicBezTo>
                    <a:pt x="31" y="0"/>
                    <a:pt x="11" y="12"/>
                    <a:pt x="0" y="29"/>
                  </a:cubicBezTo>
                  <a:cubicBezTo>
                    <a:pt x="68" y="29"/>
                    <a:pt x="68" y="29"/>
                    <a:pt x="68" y="29"/>
                  </a:cubicBezTo>
                  <a:cubicBezTo>
                    <a:pt x="85" y="29"/>
                    <a:pt x="98" y="16"/>
                    <a:pt x="100" y="0"/>
                  </a:cubicBezTo>
                  <a:lnTo>
                    <a:pt x="53"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 name="Freeform 17"/>
            <p:cNvSpPr>
              <a:spLocks/>
            </p:cNvSpPr>
            <p:nvPr/>
          </p:nvSpPr>
          <p:spPr bwMode="auto">
            <a:xfrm>
              <a:off x="10447338" y="4638675"/>
              <a:ext cx="284162" cy="368300"/>
            </a:xfrm>
            <a:custGeom>
              <a:avLst/>
              <a:gdLst>
                <a:gd name="T0" fmla="*/ 87 w 124"/>
                <a:gd name="T1" fmla="*/ 0 h 161"/>
                <a:gd name="T2" fmla="*/ 0 w 124"/>
                <a:gd name="T3" fmla="*/ 161 h 161"/>
                <a:gd name="T4" fmla="*/ 50 w 124"/>
                <a:gd name="T5" fmla="*/ 77 h 161"/>
                <a:gd name="T6" fmla="*/ 34 w 124"/>
                <a:gd name="T7" fmla="*/ 59 h 161"/>
                <a:gd name="T8" fmla="*/ 62 w 124"/>
                <a:gd name="T9" fmla="*/ 59 h 161"/>
                <a:gd name="T10" fmla="*/ 104 w 124"/>
                <a:gd name="T11" fmla="*/ 26 h 161"/>
                <a:gd name="T12" fmla="*/ 107 w 124"/>
                <a:gd name="T13" fmla="*/ 16 h 161"/>
                <a:gd name="T14" fmla="*/ 87 w 124"/>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61">
                  <a:moveTo>
                    <a:pt x="87" y="0"/>
                  </a:moveTo>
                  <a:cubicBezTo>
                    <a:pt x="87" y="0"/>
                    <a:pt x="0" y="44"/>
                    <a:pt x="0" y="161"/>
                  </a:cubicBezTo>
                  <a:cubicBezTo>
                    <a:pt x="50" y="77"/>
                    <a:pt x="50" y="77"/>
                    <a:pt x="50" y="77"/>
                  </a:cubicBezTo>
                  <a:cubicBezTo>
                    <a:pt x="34" y="59"/>
                    <a:pt x="34" y="59"/>
                    <a:pt x="34" y="59"/>
                  </a:cubicBezTo>
                  <a:cubicBezTo>
                    <a:pt x="62" y="59"/>
                    <a:pt x="62" y="59"/>
                    <a:pt x="62" y="59"/>
                  </a:cubicBezTo>
                  <a:cubicBezTo>
                    <a:pt x="104" y="26"/>
                    <a:pt x="104" y="26"/>
                    <a:pt x="104" y="26"/>
                  </a:cubicBezTo>
                  <a:cubicBezTo>
                    <a:pt x="124" y="26"/>
                    <a:pt x="107" y="16"/>
                    <a:pt x="107" y="16"/>
                  </a:cubicBezTo>
                  <a:lnTo>
                    <a:pt x="87"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 name="Oval 18"/>
            <p:cNvSpPr>
              <a:spLocks noChangeArrowheads="1"/>
            </p:cNvSpPr>
            <p:nvPr/>
          </p:nvSpPr>
          <p:spPr bwMode="auto">
            <a:xfrm>
              <a:off x="10550525" y="4570413"/>
              <a:ext cx="22225" cy="20637"/>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 name="Freeform 19"/>
            <p:cNvSpPr>
              <a:spLocks/>
            </p:cNvSpPr>
            <p:nvPr/>
          </p:nvSpPr>
          <p:spPr bwMode="auto">
            <a:xfrm>
              <a:off x="10369550" y="4237038"/>
              <a:ext cx="398462" cy="606425"/>
            </a:xfrm>
            <a:custGeom>
              <a:avLst/>
              <a:gdLst>
                <a:gd name="T0" fmla="*/ 174 w 174"/>
                <a:gd name="T1" fmla="*/ 112 h 266"/>
                <a:gd name="T2" fmla="*/ 174 w 174"/>
                <a:gd name="T3" fmla="*/ 266 h 266"/>
                <a:gd name="T4" fmla="*/ 84 w 174"/>
                <a:gd name="T5" fmla="*/ 109 h 266"/>
                <a:gd name="T6" fmla="*/ 0 w 174"/>
                <a:gd name="T7" fmla="*/ 41 h 266"/>
                <a:gd name="T8" fmla="*/ 98 w 174"/>
                <a:gd name="T9" fmla="*/ 0 h 266"/>
                <a:gd name="T10" fmla="*/ 174 w 174"/>
                <a:gd name="T11" fmla="*/ 112 h 266"/>
              </a:gdLst>
              <a:ahLst/>
              <a:cxnLst>
                <a:cxn ang="0">
                  <a:pos x="T0" y="T1"/>
                </a:cxn>
                <a:cxn ang="0">
                  <a:pos x="T2" y="T3"/>
                </a:cxn>
                <a:cxn ang="0">
                  <a:pos x="T4" y="T5"/>
                </a:cxn>
                <a:cxn ang="0">
                  <a:pos x="T6" y="T7"/>
                </a:cxn>
                <a:cxn ang="0">
                  <a:pos x="T8" y="T9"/>
                </a:cxn>
                <a:cxn ang="0">
                  <a:pos x="T10" y="T11"/>
                </a:cxn>
              </a:cxnLst>
              <a:rect l="0" t="0" r="r" b="b"/>
              <a:pathLst>
                <a:path w="174" h="266">
                  <a:moveTo>
                    <a:pt x="174" y="112"/>
                  </a:moveTo>
                  <a:cubicBezTo>
                    <a:pt x="174" y="112"/>
                    <a:pt x="174" y="246"/>
                    <a:pt x="174" y="266"/>
                  </a:cubicBezTo>
                  <a:cubicBezTo>
                    <a:pt x="111" y="198"/>
                    <a:pt x="84" y="109"/>
                    <a:pt x="84" y="109"/>
                  </a:cubicBezTo>
                  <a:cubicBezTo>
                    <a:pt x="22" y="105"/>
                    <a:pt x="0" y="41"/>
                    <a:pt x="0" y="41"/>
                  </a:cubicBezTo>
                  <a:cubicBezTo>
                    <a:pt x="0" y="41"/>
                    <a:pt x="20" y="0"/>
                    <a:pt x="98" y="0"/>
                  </a:cubicBezTo>
                  <a:cubicBezTo>
                    <a:pt x="170" y="0"/>
                    <a:pt x="174" y="71"/>
                    <a:pt x="174"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1" name="Freeform 20"/>
            <p:cNvSpPr>
              <a:spLocks/>
            </p:cNvSpPr>
            <p:nvPr/>
          </p:nvSpPr>
          <p:spPr bwMode="auto">
            <a:xfrm>
              <a:off x="10529888" y="4419600"/>
              <a:ext cx="68262" cy="109537"/>
            </a:xfrm>
            <a:custGeom>
              <a:avLst/>
              <a:gdLst>
                <a:gd name="T0" fmla="*/ 0 w 30"/>
                <a:gd name="T1" fmla="*/ 2 h 48"/>
                <a:gd name="T2" fmla="*/ 8 w 30"/>
                <a:gd name="T3" fmla="*/ 48 h 48"/>
                <a:gd name="T4" fmla="*/ 27 w 30"/>
                <a:gd name="T5" fmla="*/ 21 h 48"/>
                <a:gd name="T6" fmla="*/ 0 w 30"/>
                <a:gd name="T7" fmla="*/ 2 h 48"/>
              </a:gdLst>
              <a:ahLst/>
              <a:cxnLst>
                <a:cxn ang="0">
                  <a:pos x="T0" y="T1"/>
                </a:cxn>
                <a:cxn ang="0">
                  <a:pos x="T2" y="T3"/>
                </a:cxn>
                <a:cxn ang="0">
                  <a:pos x="T4" y="T5"/>
                </a:cxn>
                <a:cxn ang="0">
                  <a:pos x="T6" y="T7"/>
                </a:cxn>
              </a:cxnLst>
              <a:rect l="0" t="0" r="r" b="b"/>
              <a:pathLst>
                <a:path w="30" h="48">
                  <a:moveTo>
                    <a:pt x="0" y="2"/>
                  </a:moveTo>
                  <a:cubicBezTo>
                    <a:pt x="8" y="48"/>
                    <a:pt x="8" y="48"/>
                    <a:pt x="8" y="48"/>
                  </a:cubicBezTo>
                  <a:cubicBezTo>
                    <a:pt x="21" y="45"/>
                    <a:pt x="30" y="33"/>
                    <a:pt x="27" y="21"/>
                  </a:cubicBezTo>
                  <a:cubicBezTo>
                    <a:pt x="25" y="8"/>
                    <a:pt x="13" y="0"/>
                    <a:pt x="0" y="2"/>
                  </a:cubicBez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25" name="Group 24"/>
            <p:cNvGrpSpPr/>
            <p:nvPr/>
          </p:nvGrpSpPr>
          <p:grpSpPr>
            <a:xfrm rot="16200000">
              <a:off x="10403714" y="5256502"/>
              <a:ext cx="409575" cy="188912"/>
              <a:chOff x="10104438" y="5100638"/>
              <a:chExt cx="409575" cy="188912"/>
            </a:xfrm>
          </p:grpSpPr>
          <p:sp>
            <p:nvSpPr>
              <p:cNvPr id="7" name="Freeform 6"/>
              <p:cNvSpPr>
                <a:spLocks/>
              </p:cNvSpPr>
              <p:nvPr/>
            </p:nvSpPr>
            <p:spPr bwMode="auto">
              <a:xfrm>
                <a:off x="10104438" y="5138738"/>
                <a:ext cx="409575" cy="114300"/>
              </a:xfrm>
              <a:custGeom>
                <a:avLst/>
                <a:gdLst>
                  <a:gd name="T0" fmla="*/ 0 w 258"/>
                  <a:gd name="T1" fmla="*/ 72 h 72"/>
                  <a:gd name="T2" fmla="*/ 258 w 258"/>
                  <a:gd name="T3" fmla="*/ 72 h 72"/>
                  <a:gd name="T4" fmla="*/ 223 w 258"/>
                  <a:gd name="T5" fmla="*/ 0 h 72"/>
                  <a:gd name="T6" fmla="*/ 0 w 258"/>
                  <a:gd name="T7" fmla="*/ 0 h 72"/>
                  <a:gd name="T8" fmla="*/ 0 w 258"/>
                  <a:gd name="T9" fmla="*/ 72 h 72"/>
                </a:gdLst>
                <a:ahLst/>
                <a:cxnLst>
                  <a:cxn ang="0">
                    <a:pos x="T0" y="T1"/>
                  </a:cxn>
                  <a:cxn ang="0">
                    <a:pos x="T2" y="T3"/>
                  </a:cxn>
                  <a:cxn ang="0">
                    <a:pos x="T4" y="T5"/>
                  </a:cxn>
                  <a:cxn ang="0">
                    <a:pos x="T6" y="T7"/>
                  </a:cxn>
                  <a:cxn ang="0">
                    <a:pos x="T8" y="T9"/>
                  </a:cxn>
                </a:cxnLst>
                <a:rect l="0" t="0" r="r" b="b"/>
                <a:pathLst>
                  <a:path w="258" h="72">
                    <a:moveTo>
                      <a:pt x="0" y="72"/>
                    </a:moveTo>
                    <a:lnTo>
                      <a:pt x="258" y="72"/>
                    </a:lnTo>
                    <a:lnTo>
                      <a:pt x="223" y="0"/>
                    </a:lnTo>
                    <a:lnTo>
                      <a:pt x="0" y="0"/>
                    </a:lnTo>
                    <a:lnTo>
                      <a:pt x="0" y="72"/>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 name="Freeform 21"/>
              <p:cNvSpPr>
                <a:spLocks/>
              </p:cNvSpPr>
              <p:nvPr/>
            </p:nvSpPr>
            <p:spPr bwMode="auto">
              <a:xfrm>
                <a:off x="10398125" y="5100638"/>
                <a:ext cx="100012" cy="188912"/>
              </a:xfrm>
              <a:custGeom>
                <a:avLst/>
                <a:gdLst>
                  <a:gd name="T0" fmla="*/ 0 w 63"/>
                  <a:gd name="T1" fmla="*/ 119 h 119"/>
                  <a:gd name="T2" fmla="*/ 0 w 63"/>
                  <a:gd name="T3" fmla="*/ 0 h 119"/>
                  <a:gd name="T4" fmla="*/ 63 w 63"/>
                  <a:gd name="T5" fmla="*/ 0 h 119"/>
                  <a:gd name="T6" fmla="*/ 63 w 63"/>
                  <a:gd name="T7" fmla="*/ 63 h 119"/>
                  <a:gd name="T8" fmla="*/ 37 w 63"/>
                  <a:gd name="T9" fmla="*/ 84 h 119"/>
                  <a:gd name="T10" fmla="*/ 63 w 63"/>
                  <a:gd name="T11" fmla="*/ 84 h 119"/>
                  <a:gd name="T12" fmla="*/ 63 w 63"/>
                  <a:gd name="T13" fmla="*/ 119 h 119"/>
                  <a:gd name="T14" fmla="*/ 0 w 63"/>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19">
                    <a:moveTo>
                      <a:pt x="0" y="119"/>
                    </a:moveTo>
                    <a:lnTo>
                      <a:pt x="0" y="0"/>
                    </a:lnTo>
                    <a:lnTo>
                      <a:pt x="63" y="0"/>
                    </a:lnTo>
                    <a:lnTo>
                      <a:pt x="63" y="63"/>
                    </a:lnTo>
                    <a:lnTo>
                      <a:pt x="37" y="84"/>
                    </a:lnTo>
                    <a:lnTo>
                      <a:pt x="63" y="84"/>
                    </a:lnTo>
                    <a:lnTo>
                      <a:pt x="63" y="119"/>
                    </a:lnTo>
                    <a:lnTo>
                      <a:pt x="0" y="119"/>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grpSp>
        <p:nvGrpSpPr>
          <p:cNvPr id="755" name="Group 754"/>
          <p:cNvGrpSpPr/>
          <p:nvPr/>
        </p:nvGrpSpPr>
        <p:grpSpPr>
          <a:xfrm>
            <a:off x="11311807" y="4505874"/>
            <a:ext cx="462013" cy="1516982"/>
            <a:chOff x="4754563" y="4254500"/>
            <a:chExt cx="688975" cy="2262188"/>
          </a:xfrm>
        </p:grpSpPr>
        <p:sp>
          <p:nvSpPr>
            <p:cNvPr id="756" name="Freeform 460"/>
            <p:cNvSpPr>
              <a:spLocks/>
            </p:cNvSpPr>
            <p:nvPr/>
          </p:nvSpPr>
          <p:spPr bwMode="auto">
            <a:xfrm flipH="1">
              <a:off x="4866444" y="4767263"/>
              <a:ext cx="558800" cy="155575"/>
            </a:xfrm>
            <a:custGeom>
              <a:avLst/>
              <a:gdLst>
                <a:gd name="T0" fmla="*/ 246 w 246"/>
                <a:gd name="T1" fmla="*/ 0 h 69"/>
                <a:gd name="T2" fmla="*/ 93 w 246"/>
                <a:gd name="T3" fmla="*/ 0 h 69"/>
                <a:gd name="T4" fmla="*/ 33 w 246"/>
                <a:gd name="T5" fmla="*/ 0 h 69"/>
                <a:gd name="T6" fmla="*/ 0 w 246"/>
                <a:gd name="T7" fmla="*/ 33 h 69"/>
                <a:gd name="T8" fmla="*/ 0 w 246"/>
                <a:gd name="T9" fmla="*/ 69 h 69"/>
                <a:gd name="T10" fmla="*/ 126 w 246"/>
                <a:gd name="T11" fmla="*/ 69 h 69"/>
                <a:gd name="T12" fmla="*/ 126 w 246"/>
                <a:gd name="T13" fmla="*/ 63 h 69"/>
                <a:gd name="T14" fmla="*/ 246 w 246"/>
                <a:gd name="T15" fmla="*/ 63 h 69"/>
                <a:gd name="T16" fmla="*/ 246 w 246"/>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69">
                  <a:moveTo>
                    <a:pt x="246" y="0"/>
                  </a:moveTo>
                  <a:cubicBezTo>
                    <a:pt x="93" y="0"/>
                    <a:pt x="93" y="0"/>
                    <a:pt x="93" y="0"/>
                  </a:cubicBezTo>
                  <a:cubicBezTo>
                    <a:pt x="33" y="0"/>
                    <a:pt x="33" y="0"/>
                    <a:pt x="33" y="0"/>
                  </a:cubicBezTo>
                  <a:cubicBezTo>
                    <a:pt x="15" y="0"/>
                    <a:pt x="0" y="15"/>
                    <a:pt x="0" y="33"/>
                  </a:cubicBezTo>
                  <a:cubicBezTo>
                    <a:pt x="0" y="69"/>
                    <a:pt x="0" y="69"/>
                    <a:pt x="0" y="69"/>
                  </a:cubicBezTo>
                  <a:cubicBezTo>
                    <a:pt x="126" y="69"/>
                    <a:pt x="126" y="69"/>
                    <a:pt x="126" y="69"/>
                  </a:cubicBezTo>
                  <a:cubicBezTo>
                    <a:pt x="126" y="63"/>
                    <a:pt x="126" y="63"/>
                    <a:pt x="126" y="63"/>
                  </a:cubicBezTo>
                  <a:cubicBezTo>
                    <a:pt x="246" y="63"/>
                    <a:pt x="246" y="63"/>
                    <a:pt x="246" y="63"/>
                  </a:cubicBezTo>
                  <a:lnTo>
                    <a:pt x="246"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7" name="Oval 447"/>
            <p:cNvSpPr>
              <a:spLocks noChangeArrowheads="1"/>
            </p:cNvSpPr>
            <p:nvPr/>
          </p:nvSpPr>
          <p:spPr bwMode="auto">
            <a:xfrm>
              <a:off x="5211763" y="4570413"/>
              <a:ext cx="93663" cy="92075"/>
            </a:xfrm>
            <a:prstGeom prst="ellipse">
              <a:avLst/>
            </a:prstGeom>
            <a:noFill/>
            <a:ln w="12700" cap="flat">
              <a:solidFill>
                <a:srgbClr val="EC008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8" name="Rectangle 448"/>
            <p:cNvSpPr>
              <a:spLocks noChangeArrowheads="1"/>
            </p:cNvSpPr>
            <p:nvPr/>
          </p:nvSpPr>
          <p:spPr bwMode="auto">
            <a:xfrm>
              <a:off x="4938713" y="4414838"/>
              <a:ext cx="311150" cy="423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9" name="Freeform 449"/>
            <p:cNvSpPr>
              <a:spLocks/>
            </p:cNvSpPr>
            <p:nvPr/>
          </p:nvSpPr>
          <p:spPr bwMode="auto">
            <a:xfrm>
              <a:off x="4906963" y="4475163"/>
              <a:ext cx="377825" cy="79375"/>
            </a:xfrm>
            <a:custGeom>
              <a:avLst/>
              <a:gdLst>
                <a:gd name="T0" fmla="*/ 0 w 166"/>
                <a:gd name="T1" fmla="*/ 27 h 35"/>
                <a:gd name="T2" fmla="*/ 8 w 166"/>
                <a:gd name="T3" fmla="*/ 35 h 35"/>
                <a:gd name="T4" fmla="*/ 157 w 166"/>
                <a:gd name="T5" fmla="*/ 35 h 35"/>
                <a:gd name="T6" fmla="*/ 166 w 166"/>
                <a:gd name="T7" fmla="*/ 27 h 35"/>
                <a:gd name="T8" fmla="*/ 166 w 166"/>
                <a:gd name="T9" fmla="*/ 8 h 35"/>
                <a:gd name="T10" fmla="*/ 157 w 166"/>
                <a:gd name="T11" fmla="*/ 0 h 35"/>
                <a:gd name="T12" fmla="*/ 8 w 166"/>
                <a:gd name="T13" fmla="*/ 0 h 35"/>
                <a:gd name="T14" fmla="*/ 0 w 166"/>
                <a:gd name="T15" fmla="*/ 8 h 35"/>
                <a:gd name="T16" fmla="*/ 0 w 1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5">
                  <a:moveTo>
                    <a:pt x="0" y="27"/>
                  </a:moveTo>
                  <a:cubicBezTo>
                    <a:pt x="0" y="31"/>
                    <a:pt x="3" y="35"/>
                    <a:pt x="8" y="35"/>
                  </a:cubicBezTo>
                  <a:cubicBezTo>
                    <a:pt x="157" y="35"/>
                    <a:pt x="157" y="35"/>
                    <a:pt x="157" y="35"/>
                  </a:cubicBezTo>
                  <a:cubicBezTo>
                    <a:pt x="162" y="35"/>
                    <a:pt x="166" y="31"/>
                    <a:pt x="166" y="27"/>
                  </a:cubicBezTo>
                  <a:cubicBezTo>
                    <a:pt x="166" y="8"/>
                    <a:pt x="166" y="8"/>
                    <a:pt x="166" y="8"/>
                  </a:cubicBezTo>
                  <a:cubicBezTo>
                    <a:pt x="166" y="4"/>
                    <a:pt x="162" y="0"/>
                    <a:pt x="157" y="0"/>
                  </a:cubicBezTo>
                  <a:cubicBezTo>
                    <a:pt x="8" y="0"/>
                    <a:pt x="8" y="0"/>
                    <a:pt x="8" y="0"/>
                  </a:cubicBezTo>
                  <a:cubicBezTo>
                    <a:pt x="3" y="0"/>
                    <a:pt x="0" y="4"/>
                    <a:pt x="0" y="8"/>
                  </a:cubicBezTo>
                  <a:lnTo>
                    <a:pt x="0" y="27"/>
                  </a:lnTo>
                  <a:close/>
                </a:path>
              </a:pathLst>
            </a:custGeom>
            <a:solidFill>
              <a:srgbClr val="9B7F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0" name="Freeform 450"/>
            <p:cNvSpPr>
              <a:spLocks/>
            </p:cNvSpPr>
            <p:nvPr/>
          </p:nvSpPr>
          <p:spPr bwMode="auto">
            <a:xfrm>
              <a:off x="5195888" y="6388100"/>
              <a:ext cx="247650" cy="128588"/>
            </a:xfrm>
            <a:custGeom>
              <a:avLst/>
              <a:gdLst>
                <a:gd name="T0" fmla="*/ 47 w 109"/>
                <a:gd name="T1" fmla="*/ 0 h 57"/>
                <a:gd name="T2" fmla="*/ 109 w 109"/>
                <a:gd name="T3" fmla="*/ 57 h 57"/>
                <a:gd name="T4" fmla="*/ 47 w 109"/>
                <a:gd name="T5" fmla="*/ 57 h 57"/>
                <a:gd name="T6" fmla="*/ 0 w 109"/>
                <a:gd name="T7" fmla="*/ 57 h 57"/>
                <a:gd name="T8" fmla="*/ 0 w 109"/>
                <a:gd name="T9" fmla="*/ 0 h 57"/>
                <a:gd name="T10" fmla="*/ 47 w 109"/>
                <a:gd name="T11" fmla="*/ 0 h 57"/>
              </a:gdLst>
              <a:ahLst/>
              <a:cxnLst>
                <a:cxn ang="0">
                  <a:pos x="T0" y="T1"/>
                </a:cxn>
                <a:cxn ang="0">
                  <a:pos x="T2" y="T3"/>
                </a:cxn>
                <a:cxn ang="0">
                  <a:pos x="T4" y="T5"/>
                </a:cxn>
                <a:cxn ang="0">
                  <a:pos x="T6" y="T7"/>
                </a:cxn>
                <a:cxn ang="0">
                  <a:pos x="T8" y="T9"/>
                </a:cxn>
                <a:cxn ang="0">
                  <a:pos x="T10" y="T11"/>
                </a:cxn>
              </a:cxnLst>
              <a:rect l="0" t="0" r="r" b="b"/>
              <a:pathLst>
                <a:path w="109" h="57">
                  <a:moveTo>
                    <a:pt x="47" y="0"/>
                  </a:moveTo>
                  <a:cubicBezTo>
                    <a:pt x="79" y="0"/>
                    <a:pt x="106" y="25"/>
                    <a:pt x="109" y="57"/>
                  </a:cubicBezTo>
                  <a:cubicBezTo>
                    <a:pt x="47" y="57"/>
                    <a:pt x="47" y="57"/>
                    <a:pt x="47" y="57"/>
                  </a:cubicBezTo>
                  <a:cubicBezTo>
                    <a:pt x="0" y="57"/>
                    <a:pt x="0" y="57"/>
                    <a:pt x="0" y="57"/>
                  </a:cubicBezTo>
                  <a:cubicBezTo>
                    <a:pt x="0" y="0"/>
                    <a:pt x="0" y="0"/>
                    <a:pt x="0" y="0"/>
                  </a:cubicBezTo>
                  <a:lnTo>
                    <a:pt x="47"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1" name="Freeform 451"/>
            <p:cNvSpPr>
              <a:spLocks/>
            </p:cNvSpPr>
            <p:nvPr/>
          </p:nvSpPr>
          <p:spPr bwMode="auto">
            <a:xfrm>
              <a:off x="4886326" y="6388100"/>
              <a:ext cx="250825" cy="128588"/>
            </a:xfrm>
            <a:custGeom>
              <a:avLst/>
              <a:gdLst>
                <a:gd name="T0" fmla="*/ 48 w 110"/>
                <a:gd name="T1" fmla="*/ 0 h 57"/>
                <a:gd name="T2" fmla="*/ 110 w 110"/>
                <a:gd name="T3" fmla="*/ 57 h 57"/>
                <a:gd name="T4" fmla="*/ 48 w 110"/>
                <a:gd name="T5" fmla="*/ 57 h 57"/>
                <a:gd name="T6" fmla="*/ 0 w 110"/>
                <a:gd name="T7" fmla="*/ 57 h 57"/>
                <a:gd name="T8" fmla="*/ 0 w 110"/>
                <a:gd name="T9" fmla="*/ 0 h 57"/>
                <a:gd name="T10" fmla="*/ 48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48" y="0"/>
                  </a:moveTo>
                  <a:cubicBezTo>
                    <a:pt x="80" y="0"/>
                    <a:pt x="107" y="25"/>
                    <a:pt x="110" y="57"/>
                  </a:cubicBezTo>
                  <a:cubicBezTo>
                    <a:pt x="48" y="57"/>
                    <a:pt x="48" y="57"/>
                    <a:pt x="48" y="57"/>
                  </a:cubicBezTo>
                  <a:cubicBezTo>
                    <a:pt x="0" y="57"/>
                    <a:pt x="0" y="57"/>
                    <a:pt x="0" y="57"/>
                  </a:cubicBezTo>
                  <a:cubicBezTo>
                    <a:pt x="0" y="0"/>
                    <a:pt x="0" y="0"/>
                    <a:pt x="0" y="0"/>
                  </a:cubicBezTo>
                  <a:lnTo>
                    <a:pt x="48"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2" name="Rectangle 452"/>
            <p:cNvSpPr>
              <a:spLocks noChangeArrowheads="1"/>
            </p:cNvSpPr>
            <p:nvPr/>
          </p:nvSpPr>
          <p:spPr bwMode="auto">
            <a:xfrm>
              <a:off x="4754563" y="4910138"/>
              <a:ext cx="111125" cy="684213"/>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3" name="Freeform 453"/>
            <p:cNvSpPr>
              <a:spLocks/>
            </p:cNvSpPr>
            <p:nvPr/>
          </p:nvSpPr>
          <p:spPr bwMode="auto">
            <a:xfrm>
              <a:off x="4754563" y="5481638"/>
              <a:ext cx="111125" cy="223838"/>
            </a:xfrm>
            <a:custGeom>
              <a:avLst/>
              <a:gdLst>
                <a:gd name="T0" fmla="*/ 49 w 49"/>
                <a:gd name="T1" fmla="*/ 0 h 99"/>
                <a:gd name="T2" fmla="*/ 49 w 49"/>
                <a:gd name="T3" fmla="*/ 99 h 99"/>
                <a:gd name="T4" fmla="*/ 0 w 49"/>
                <a:gd name="T5" fmla="*/ 50 h 99"/>
                <a:gd name="T6" fmla="*/ 49 w 49"/>
                <a:gd name="T7" fmla="*/ 0 h 99"/>
              </a:gdLst>
              <a:ahLst/>
              <a:cxnLst>
                <a:cxn ang="0">
                  <a:pos x="T0" y="T1"/>
                </a:cxn>
                <a:cxn ang="0">
                  <a:pos x="T2" y="T3"/>
                </a:cxn>
                <a:cxn ang="0">
                  <a:pos x="T4" y="T5"/>
                </a:cxn>
                <a:cxn ang="0">
                  <a:pos x="T6" y="T7"/>
                </a:cxn>
              </a:cxnLst>
              <a:rect l="0" t="0" r="r" b="b"/>
              <a:pathLst>
                <a:path w="49" h="99">
                  <a:moveTo>
                    <a:pt x="49" y="0"/>
                  </a:moveTo>
                  <a:cubicBezTo>
                    <a:pt x="49" y="99"/>
                    <a:pt x="49" y="99"/>
                    <a:pt x="49" y="99"/>
                  </a:cubicBezTo>
                  <a:cubicBezTo>
                    <a:pt x="22" y="99"/>
                    <a:pt x="0" y="77"/>
                    <a:pt x="0" y="50"/>
                  </a:cubicBezTo>
                  <a:cubicBezTo>
                    <a:pt x="0" y="22"/>
                    <a:pt x="22" y="0"/>
                    <a:pt x="49" y="0"/>
                  </a:cubicBez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4" name="Freeform 454"/>
            <p:cNvSpPr>
              <a:spLocks/>
            </p:cNvSpPr>
            <p:nvPr/>
          </p:nvSpPr>
          <p:spPr bwMode="auto">
            <a:xfrm>
              <a:off x="5029201" y="4614863"/>
              <a:ext cx="131763" cy="263525"/>
            </a:xfrm>
            <a:custGeom>
              <a:avLst/>
              <a:gdLst>
                <a:gd name="T0" fmla="*/ 42 w 83"/>
                <a:gd name="T1" fmla="*/ 166 h 166"/>
                <a:gd name="T2" fmla="*/ 83 w 83"/>
                <a:gd name="T3" fmla="*/ 157 h 166"/>
                <a:gd name="T4" fmla="*/ 83 w 83"/>
                <a:gd name="T5" fmla="*/ 0 h 166"/>
                <a:gd name="T6" fmla="*/ 0 w 83"/>
                <a:gd name="T7" fmla="*/ 0 h 166"/>
                <a:gd name="T8" fmla="*/ 0 w 83"/>
                <a:gd name="T9" fmla="*/ 166 h 166"/>
                <a:gd name="T10" fmla="*/ 42 w 83"/>
                <a:gd name="T11" fmla="*/ 166 h 166"/>
              </a:gdLst>
              <a:ahLst/>
              <a:cxnLst>
                <a:cxn ang="0">
                  <a:pos x="T0" y="T1"/>
                </a:cxn>
                <a:cxn ang="0">
                  <a:pos x="T2" y="T3"/>
                </a:cxn>
                <a:cxn ang="0">
                  <a:pos x="T4" y="T5"/>
                </a:cxn>
                <a:cxn ang="0">
                  <a:pos x="T6" y="T7"/>
                </a:cxn>
                <a:cxn ang="0">
                  <a:pos x="T8" y="T9"/>
                </a:cxn>
                <a:cxn ang="0">
                  <a:pos x="T10" y="T11"/>
                </a:cxn>
              </a:cxnLst>
              <a:rect l="0" t="0" r="r" b="b"/>
              <a:pathLst>
                <a:path w="83" h="166">
                  <a:moveTo>
                    <a:pt x="42" y="166"/>
                  </a:moveTo>
                  <a:lnTo>
                    <a:pt x="83" y="157"/>
                  </a:lnTo>
                  <a:lnTo>
                    <a:pt x="83" y="0"/>
                  </a:lnTo>
                  <a:lnTo>
                    <a:pt x="0" y="0"/>
                  </a:lnTo>
                  <a:lnTo>
                    <a:pt x="0" y="166"/>
                  </a:lnTo>
                  <a:lnTo>
                    <a:pt x="42" y="166"/>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5" name="Freeform 455"/>
            <p:cNvSpPr>
              <a:spLocks/>
            </p:cNvSpPr>
            <p:nvPr/>
          </p:nvSpPr>
          <p:spPr bwMode="auto">
            <a:xfrm>
              <a:off x="5029201" y="4614863"/>
              <a:ext cx="131763" cy="115888"/>
            </a:xfrm>
            <a:custGeom>
              <a:avLst/>
              <a:gdLst>
                <a:gd name="T0" fmla="*/ 58 w 58"/>
                <a:gd name="T1" fmla="*/ 47 h 51"/>
                <a:gd name="T2" fmla="*/ 29 w 58"/>
                <a:gd name="T3" fmla="*/ 51 h 51"/>
                <a:gd name="T4" fmla="*/ 0 w 58"/>
                <a:gd name="T5" fmla="*/ 47 h 51"/>
                <a:gd name="T6" fmla="*/ 0 w 58"/>
                <a:gd name="T7" fmla="*/ 0 h 51"/>
                <a:gd name="T8" fmla="*/ 58 w 58"/>
                <a:gd name="T9" fmla="*/ 0 h 51"/>
                <a:gd name="T10" fmla="*/ 58 w 58"/>
                <a:gd name="T11" fmla="*/ 47 h 51"/>
              </a:gdLst>
              <a:ahLst/>
              <a:cxnLst>
                <a:cxn ang="0">
                  <a:pos x="T0" y="T1"/>
                </a:cxn>
                <a:cxn ang="0">
                  <a:pos x="T2" y="T3"/>
                </a:cxn>
                <a:cxn ang="0">
                  <a:pos x="T4" y="T5"/>
                </a:cxn>
                <a:cxn ang="0">
                  <a:pos x="T6" y="T7"/>
                </a:cxn>
                <a:cxn ang="0">
                  <a:pos x="T8" y="T9"/>
                </a:cxn>
                <a:cxn ang="0">
                  <a:pos x="T10" y="T11"/>
                </a:cxn>
              </a:cxnLst>
              <a:rect l="0" t="0" r="r" b="b"/>
              <a:pathLst>
                <a:path w="58" h="51">
                  <a:moveTo>
                    <a:pt x="58" y="47"/>
                  </a:moveTo>
                  <a:cubicBezTo>
                    <a:pt x="48" y="49"/>
                    <a:pt x="39" y="51"/>
                    <a:pt x="29" y="51"/>
                  </a:cubicBezTo>
                  <a:cubicBezTo>
                    <a:pt x="19" y="51"/>
                    <a:pt x="9" y="49"/>
                    <a:pt x="0" y="47"/>
                  </a:cubicBezTo>
                  <a:cubicBezTo>
                    <a:pt x="0" y="0"/>
                    <a:pt x="0" y="0"/>
                    <a:pt x="0" y="0"/>
                  </a:cubicBezTo>
                  <a:cubicBezTo>
                    <a:pt x="58" y="0"/>
                    <a:pt x="58" y="0"/>
                    <a:pt x="58" y="0"/>
                  </a:cubicBezTo>
                  <a:lnTo>
                    <a:pt x="58" y="47"/>
                  </a:lnTo>
                  <a:close/>
                </a:path>
              </a:pathLst>
            </a:custGeom>
            <a:solidFill>
              <a:srgbClr val="A083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6" name="Freeform 456"/>
            <p:cNvSpPr>
              <a:spLocks/>
            </p:cNvSpPr>
            <p:nvPr/>
          </p:nvSpPr>
          <p:spPr bwMode="auto">
            <a:xfrm>
              <a:off x="4938713" y="4254500"/>
              <a:ext cx="311150" cy="211138"/>
            </a:xfrm>
            <a:custGeom>
              <a:avLst/>
              <a:gdLst>
                <a:gd name="T0" fmla="*/ 68 w 137"/>
                <a:gd name="T1" fmla="*/ 0 h 94"/>
                <a:gd name="T2" fmla="*/ 137 w 137"/>
                <a:gd name="T3" fmla="*/ 68 h 94"/>
                <a:gd name="T4" fmla="*/ 137 w 137"/>
                <a:gd name="T5" fmla="*/ 94 h 94"/>
                <a:gd name="T6" fmla="*/ 0 w 137"/>
                <a:gd name="T7" fmla="*/ 94 h 94"/>
                <a:gd name="T8" fmla="*/ 0 w 137"/>
                <a:gd name="T9" fmla="*/ 68 h 94"/>
                <a:gd name="T10" fmla="*/ 68 w 137"/>
                <a:gd name="T11" fmla="*/ 0 h 94"/>
              </a:gdLst>
              <a:ahLst/>
              <a:cxnLst>
                <a:cxn ang="0">
                  <a:pos x="T0" y="T1"/>
                </a:cxn>
                <a:cxn ang="0">
                  <a:pos x="T2" y="T3"/>
                </a:cxn>
                <a:cxn ang="0">
                  <a:pos x="T4" y="T5"/>
                </a:cxn>
                <a:cxn ang="0">
                  <a:pos x="T6" y="T7"/>
                </a:cxn>
                <a:cxn ang="0">
                  <a:pos x="T8" y="T9"/>
                </a:cxn>
                <a:cxn ang="0">
                  <a:pos x="T10" y="T11"/>
                </a:cxn>
              </a:cxnLst>
              <a:rect l="0" t="0" r="r" b="b"/>
              <a:pathLst>
                <a:path w="137" h="94">
                  <a:moveTo>
                    <a:pt x="68" y="0"/>
                  </a:moveTo>
                  <a:cubicBezTo>
                    <a:pt x="106" y="0"/>
                    <a:pt x="137" y="31"/>
                    <a:pt x="137" y="68"/>
                  </a:cubicBezTo>
                  <a:cubicBezTo>
                    <a:pt x="137" y="94"/>
                    <a:pt x="137" y="94"/>
                    <a:pt x="137" y="94"/>
                  </a:cubicBezTo>
                  <a:cubicBezTo>
                    <a:pt x="0" y="94"/>
                    <a:pt x="0" y="94"/>
                    <a:pt x="0" y="94"/>
                  </a:cubicBezTo>
                  <a:cubicBezTo>
                    <a:pt x="0" y="68"/>
                    <a:pt x="0" y="68"/>
                    <a:pt x="0" y="68"/>
                  </a:cubicBezTo>
                  <a:cubicBezTo>
                    <a:pt x="0" y="31"/>
                    <a:pt x="31" y="0"/>
                    <a:pt x="6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7" name="Freeform 457"/>
            <p:cNvSpPr>
              <a:spLocks/>
            </p:cNvSpPr>
            <p:nvPr/>
          </p:nvSpPr>
          <p:spPr bwMode="auto">
            <a:xfrm>
              <a:off x="4938713" y="4414838"/>
              <a:ext cx="311150" cy="288925"/>
            </a:xfrm>
            <a:custGeom>
              <a:avLst/>
              <a:gdLst>
                <a:gd name="T0" fmla="*/ 137 w 137"/>
                <a:gd name="T1" fmla="*/ 0 h 128"/>
                <a:gd name="T2" fmla="*/ 137 w 137"/>
                <a:gd name="T3" fmla="*/ 106 h 128"/>
                <a:gd name="T4" fmla="*/ 69 w 137"/>
                <a:gd name="T5" fmla="*/ 128 h 128"/>
                <a:gd name="T6" fmla="*/ 0 w 137"/>
                <a:gd name="T7" fmla="*/ 106 h 128"/>
                <a:gd name="T8" fmla="*/ 0 w 137"/>
                <a:gd name="T9" fmla="*/ 0 h 128"/>
                <a:gd name="T10" fmla="*/ 137 w 137"/>
                <a:gd name="T11" fmla="*/ 0 h 128"/>
              </a:gdLst>
              <a:ahLst/>
              <a:cxnLst>
                <a:cxn ang="0">
                  <a:pos x="T0" y="T1"/>
                </a:cxn>
                <a:cxn ang="0">
                  <a:pos x="T2" y="T3"/>
                </a:cxn>
                <a:cxn ang="0">
                  <a:pos x="T4" y="T5"/>
                </a:cxn>
                <a:cxn ang="0">
                  <a:pos x="T6" y="T7"/>
                </a:cxn>
                <a:cxn ang="0">
                  <a:pos x="T8" y="T9"/>
                </a:cxn>
                <a:cxn ang="0">
                  <a:pos x="T10" y="T11"/>
                </a:cxn>
              </a:cxnLst>
              <a:rect l="0" t="0" r="r" b="b"/>
              <a:pathLst>
                <a:path w="137" h="128">
                  <a:moveTo>
                    <a:pt x="137" y="0"/>
                  </a:moveTo>
                  <a:cubicBezTo>
                    <a:pt x="137" y="106"/>
                    <a:pt x="137" y="106"/>
                    <a:pt x="137" y="106"/>
                  </a:cubicBezTo>
                  <a:cubicBezTo>
                    <a:pt x="118" y="120"/>
                    <a:pt x="94" y="128"/>
                    <a:pt x="69" y="128"/>
                  </a:cubicBezTo>
                  <a:cubicBezTo>
                    <a:pt x="32" y="128"/>
                    <a:pt x="0" y="106"/>
                    <a:pt x="0" y="106"/>
                  </a:cubicBezTo>
                  <a:cubicBezTo>
                    <a:pt x="0" y="0"/>
                    <a:pt x="0" y="0"/>
                    <a:pt x="0" y="0"/>
                  </a:cubicBezTo>
                  <a:lnTo>
                    <a:pt x="137"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8" name="Rectangle 458"/>
            <p:cNvSpPr>
              <a:spLocks noChangeArrowheads="1"/>
            </p:cNvSpPr>
            <p:nvPr/>
          </p:nvSpPr>
          <p:spPr bwMode="auto">
            <a:xfrm>
              <a:off x="4889501" y="5891213"/>
              <a:ext cx="106363" cy="496888"/>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9" name="Rectangle 459"/>
            <p:cNvSpPr>
              <a:spLocks noChangeArrowheads="1"/>
            </p:cNvSpPr>
            <p:nvPr/>
          </p:nvSpPr>
          <p:spPr bwMode="auto">
            <a:xfrm>
              <a:off x="5195888" y="5891213"/>
              <a:ext cx="106363" cy="496888"/>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0" name="Freeform 460"/>
            <p:cNvSpPr>
              <a:spLocks/>
            </p:cNvSpPr>
            <p:nvPr/>
          </p:nvSpPr>
          <p:spPr bwMode="auto">
            <a:xfrm>
              <a:off x="4754563" y="4767263"/>
              <a:ext cx="558800" cy="155575"/>
            </a:xfrm>
            <a:custGeom>
              <a:avLst/>
              <a:gdLst>
                <a:gd name="T0" fmla="*/ 246 w 246"/>
                <a:gd name="T1" fmla="*/ 0 h 69"/>
                <a:gd name="T2" fmla="*/ 93 w 246"/>
                <a:gd name="T3" fmla="*/ 0 h 69"/>
                <a:gd name="T4" fmla="*/ 33 w 246"/>
                <a:gd name="T5" fmla="*/ 0 h 69"/>
                <a:gd name="T6" fmla="*/ 0 w 246"/>
                <a:gd name="T7" fmla="*/ 33 h 69"/>
                <a:gd name="T8" fmla="*/ 0 w 246"/>
                <a:gd name="T9" fmla="*/ 69 h 69"/>
                <a:gd name="T10" fmla="*/ 126 w 246"/>
                <a:gd name="T11" fmla="*/ 69 h 69"/>
                <a:gd name="T12" fmla="*/ 126 w 246"/>
                <a:gd name="T13" fmla="*/ 63 h 69"/>
                <a:gd name="T14" fmla="*/ 246 w 246"/>
                <a:gd name="T15" fmla="*/ 63 h 69"/>
                <a:gd name="T16" fmla="*/ 246 w 246"/>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69">
                  <a:moveTo>
                    <a:pt x="246" y="0"/>
                  </a:moveTo>
                  <a:cubicBezTo>
                    <a:pt x="93" y="0"/>
                    <a:pt x="93" y="0"/>
                    <a:pt x="93" y="0"/>
                  </a:cubicBezTo>
                  <a:cubicBezTo>
                    <a:pt x="33" y="0"/>
                    <a:pt x="33" y="0"/>
                    <a:pt x="33" y="0"/>
                  </a:cubicBezTo>
                  <a:cubicBezTo>
                    <a:pt x="15" y="0"/>
                    <a:pt x="0" y="15"/>
                    <a:pt x="0" y="33"/>
                  </a:cubicBezTo>
                  <a:cubicBezTo>
                    <a:pt x="0" y="69"/>
                    <a:pt x="0" y="69"/>
                    <a:pt x="0" y="69"/>
                  </a:cubicBezTo>
                  <a:cubicBezTo>
                    <a:pt x="126" y="69"/>
                    <a:pt x="126" y="69"/>
                    <a:pt x="126" y="69"/>
                  </a:cubicBezTo>
                  <a:cubicBezTo>
                    <a:pt x="126" y="63"/>
                    <a:pt x="126" y="63"/>
                    <a:pt x="126" y="63"/>
                  </a:cubicBezTo>
                  <a:cubicBezTo>
                    <a:pt x="246" y="63"/>
                    <a:pt x="246" y="63"/>
                    <a:pt x="246" y="63"/>
                  </a:cubicBezTo>
                  <a:lnTo>
                    <a:pt x="246"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1" name="Line 461"/>
            <p:cNvSpPr>
              <a:spLocks noChangeShapeType="1"/>
            </p:cNvSpPr>
            <p:nvPr/>
          </p:nvSpPr>
          <p:spPr bwMode="auto">
            <a:xfrm>
              <a:off x="4995863" y="5891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2" name="Line 462"/>
            <p:cNvSpPr>
              <a:spLocks noChangeShapeType="1"/>
            </p:cNvSpPr>
            <p:nvPr/>
          </p:nvSpPr>
          <p:spPr bwMode="auto">
            <a:xfrm>
              <a:off x="4995863" y="5891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3" name="Freeform 463"/>
            <p:cNvSpPr>
              <a:spLocks/>
            </p:cNvSpPr>
            <p:nvPr/>
          </p:nvSpPr>
          <p:spPr bwMode="auto">
            <a:xfrm>
              <a:off x="4886326" y="5326063"/>
              <a:ext cx="415925" cy="647700"/>
            </a:xfrm>
            <a:custGeom>
              <a:avLst/>
              <a:gdLst>
                <a:gd name="T0" fmla="*/ 0 w 262"/>
                <a:gd name="T1" fmla="*/ 0 h 408"/>
                <a:gd name="T2" fmla="*/ 262 w 262"/>
                <a:gd name="T3" fmla="*/ 0 h 408"/>
                <a:gd name="T4" fmla="*/ 262 w 262"/>
                <a:gd name="T5" fmla="*/ 408 h 408"/>
                <a:gd name="T6" fmla="*/ 195 w 262"/>
                <a:gd name="T7" fmla="*/ 408 h 408"/>
                <a:gd name="T8" fmla="*/ 69 w 262"/>
                <a:gd name="T9" fmla="*/ 408 h 408"/>
                <a:gd name="T10" fmla="*/ 2 w 262"/>
                <a:gd name="T11" fmla="*/ 408 h 408"/>
                <a:gd name="T12" fmla="*/ 0 w 262"/>
                <a:gd name="T13" fmla="*/ 0 h 408"/>
              </a:gdLst>
              <a:ahLst/>
              <a:cxnLst>
                <a:cxn ang="0">
                  <a:pos x="T0" y="T1"/>
                </a:cxn>
                <a:cxn ang="0">
                  <a:pos x="T2" y="T3"/>
                </a:cxn>
                <a:cxn ang="0">
                  <a:pos x="T4" y="T5"/>
                </a:cxn>
                <a:cxn ang="0">
                  <a:pos x="T6" y="T7"/>
                </a:cxn>
                <a:cxn ang="0">
                  <a:pos x="T8" y="T9"/>
                </a:cxn>
                <a:cxn ang="0">
                  <a:pos x="T10" y="T11"/>
                </a:cxn>
                <a:cxn ang="0">
                  <a:pos x="T12" y="T13"/>
                </a:cxn>
              </a:cxnLst>
              <a:rect l="0" t="0" r="r" b="b"/>
              <a:pathLst>
                <a:path w="262" h="408">
                  <a:moveTo>
                    <a:pt x="0" y="0"/>
                  </a:moveTo>
                  <a:lnTo>
                    <a:pt x="262" y="0"/>
                  </a:lnTo>
                  <a:lnTo>
                    <a:pt x="262" y="408"/>
                  </a:lnTo>
                  <a:lnTo>
                    <a:pt x="195" y="408"/>
                  </a:lnTo>
                  <a:lnTo>
                    <a:pt x="69" y="408"/>
                  </a:lnTo>
                  <a:lnTo>
                    <a:pt x="2" y="408"/>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4" name="Freeform 465"/>
            <p:cNvSpPr>
              <a:spLocks/>
            </p:cNvSpPr>
            <p:nvPr/>
          </p:nvSpPr>
          <p:spPr bwMode="auto">
            <a:xfrm>
              <a:off x="4886326" y="4767263"/>
              <a:ext cx="419100" cy="741363"/>
            </a:xfrm>
            <a:custGeom>
              <a:avLst/>
              <a:gdLst>
                <a:gd name="T0" fmla="*/ 218 w 264"/>
                <a:gd name="T1" fmla="*/ 0 h 467"/>
                <a:gd name="T2" fmla="*/ 69 w 264"/>
                <a:gd name="T3" fmla="*/ 67 h 467"/>
                <a:gd name="T4" fmla="*/ 20 w 264"/>
                <a:gd name="T5" fmla="*/ 0 h 467"/>
                <a:gd name="T6" fmla="*/ 0 w 264"/>
                <a:gd name="T7" fmla="*/ 0 h 467"/>
                <a:gd name="T8" fmla="*/ 0 w 264"/>
                <a:gd name="T9" fmla="*/ 467 h 467"/>
                <a:gd name="T10" fmla="*/ 264 w 264"/>
                <a:gd name="T11" fmla="*/ 467 h 467"/>
                <a:gd name="T12" fmla="*/ 264 w 264"/>
                <a:gd name="T13" fmla="*/ 0 h 467"/>
                <a:gd name="T14" fmla="*/ 218 w 264"/>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467">
                  <a:moveTo>
                    <a:pt x="218" y="0"/>
                  </a:moveTo>
                  <a:lnTo>
                    <a:pt x="69" y="67"/>
                  </a:lnTo>
                  <a:lnTo>
                    <a:pt x="20" y="0"/>
                  </a:lnTo>
                  <a:lnTo>
                    <a:pt x="0" y="0"/>
                  </a:lnTo>
                  <a:lnTo>
                    <a:pt x="0" y="467"/>
                  </a:lnTo>
                  <a:lnTo>
                    <a:pt x="264" y="467"/>
                  </a:lnTo>
                  <a:lnTo>
                    <a:pt x="264" y="0"/>
                  </a:lnTo>
                  <a:lnTo>
                    <a:pt x="2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8" name="Freeform 466"/>
            <p:cNvSpPr>
              <a:spLocks/>
            </p:cNvSpPr>
            <p:nvPr/>
          </p:nvSpPr>
          <p:spPr bwMode="auto">
            <a:xfrm>
              <a:off x="4886326" y="4767263"/>
              <a:ext cx="363538" cy="523875"/>
            </a:xfrm>
            <a:custGeom>
              <a:avLst/>
              <a:gdLst>
                <a:gd name="T0" fmla="*/ 229 w 229"/>
                <a:gd name="T1" fmla="*/ 0 h 330"/>
                <a:gd name="T2" fmla="*/ 0 w 229"/>
                <a:gd name="T3" fmla="*/ 253 h 330"/>
                <a:gd name="T4" fmla="*/ 2 w 229"/>
                <a:gd name="T5" fmla="*/ 330 h 330"/>
                <a:gd name="T6" fmla="*/ 229 w 229"/>
                <a:gd name="T7" fmla="*/ 0 h 330"/>
              </a:gdLst>
              <a:ahLst/>
              <a:cxnLst>
                <a:cxn ang="0">
                  <a:pos x="T0" y="T1"/>
                </a:cxn>
                <a:cxn ang="0">
                  <a:pos x="T2" y="T3"/>
                </a:cxn>
                <a:cxn ang="0">
                  <a:pos x="T4" y="T5"/>
                </a:cxn>
                <a:cxn ang="0">
                  <a:pos x="T6" y="T7"/>
                </a:cxn>
              </a:cxnLst>
              <a:rect l="0" t="0" r="r" b="b"/>
              <a:pathLst>
                <a:path w="229" h="330">
                  <a:moveTo>
                    <a:pt x="229" y="0"/>
                  </a:moveTo>
                  <a:lnTo>
                    <a:pt x="0" y="253"/>
                  </a:lnTo>
                  <a:lnTo>
                    <a:pt x="2" y="330"/>
                  </a:lnTo>
                  <a:lnTo>
                    <a:pt x="229"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9" name="Freeform 467"/>
            <p:cNvSpPr>
              <a:spLocks/>
            </p:cNvSpPr>
            <p:nvPr/>
          </p:nvSpPr>
          <p:spPr bwMode="auto">
            <a:xfrm>
              <a:off x="4886326" y="4767263"/>
              <a:ext cx="363538" cy="741363"/>
            </a:xfrm>
            <a:custGeom>
              <a:avLst/>
              <a:gdLst>
                <a:gd name="T0" fmla="*/ 0 w 229"/>
                <a:gd name="T1" fmla="*/ 467 h 467"/>
                <a:gd name="T2" fmla="*/ 229 w 229"/>
                <a:gd name="T3" fmla="*/ 0 h 467"/>
                <a:gd name="T4" fmla="*/ 0 w 229"/>
                <a:gd name="T5" fmla="*/ 372 h 467"/>
                <a:gd name="T6" fmla="*/ 0 w 229"/>
                <a:gd name="T7" fmla="*/ 467 h 467"/>
              </a:gdLst>
              <a:ahLst/>
              <a:cxnLst>
                <a:cxn ang="0">
                  <a:pos x="T0" y="T1"/>
                </a:cxn>
                <a:cxn ang="0">
                  <a:pos x="T2" y="T3"/>
                </a:cxn>
                <a:cxn ang="0">
                  <a:pos x="T4" y="T5"/>
                </a:cxn>
                <a:cxn ang="0">
                  <a:pos x="T6" y="T7"/>
                </a:cxn>
              </a:cxnLst>
              <a:rect l="0" t="0" r="r" b="b"/>
              <a:pathLst>
                <a:path w="229" h="467">
                  <a:moveTo>
                    <a:pt x="0" y="467"/>
                  </a:moveTo>
                  <a:lnTo>
                    <a:pt x="229" y="0"/>
                  </a:lnTo>
                  <a:lnTo>
                    <a:pt x="0" y="372"/>
                  </a:lnTo>
                  <a:lnTo>
                    <a:pt x="0" y="46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0" name="Freeform 468"/>
            <p:cNvSpPr>
              <a:spLocks/>
            </p:cNvSpPr>
            <p:nvPr/>
          </p:nvSpPr>
          <p:spPr bwMode="auto">
            <a:xfrm>
              <a:off x="4940301" y="4767263"/>
              <a:ext cx="309563" cy="741363"/>
            </a:xfrm>
            <a:custGeom>
              <a:avLst/>
              <a:gdLst>
                <a:gd name="T0" fmla="*/ 0 w 195"/>
                <a:gd name="T1" fmla="*/ 467 h 467"/>
                <a:gd name="T2" fmla="*/ 195 w 195"/>
                <a:gd name="T3" fmla="*/ 0 h 467"/>
                <a:gd name="T4" fmla="*/ 45 w 195"/>
                <a:gd name="T5" fmla="*/ 467 h 467"/>
                <a:gd name="T6" fmla="*/ 0 w 195"/>
                <a:gd name="T7" fmla="*/ 467 h 467"/>
              </a:gdLst>
              <a:ahLst/>
              <a:cxnLst>
                <a:cxn ang="0">
                  <a:pos x="T0" y="T1"/>
                </a:cxn>
                <a:cxn ang="0">
                  <a:pos x="T2" y="T3"/>
                </a:cxn>
                <a:cxn ang="0">
                  <a:pos x="T4" y="T5"/>
                </a:cxn>
                <a:cxn ang="0">
                  <a:pos x="T6" y="T7"/>
                </a:cxn>
              </a:cxnLst>
              <a:rect l="0" t="0" r="r" b="b"/>
              <a:pathLst>
                <a:path w="195" h="467">
                  <a:moveTo>
                    <a:pt x="0" y="467"/>
                  </a:moveTo>
                  <a:lnTo>
                    <a:pt x="195" y="0"/>
                  </a:lnTo>
                  <a:lnTo>
                    <a:pt x="45" y="467"/>
                  </a:lnTo>
                  <a:lnTo>
                    <a:pt x="0" y="46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1" name="Rectangle 469"/>
            <p:cNvSpPr>
              <a:spLocks noChangeArrowheads="1"/>
            </p:cNvSpPr>
            <p:nvPr/>
          </p:nvSpPr>
          <p:spPr bwMode="auto">
            <a:xfrm>
              <a:off x="5195888" y="5973763"/>
              <a:ext cx="106363" cy="53975"/>
            </a:xfrm>
            <a:prstGeom prst="rect">
              <a:avLst/>
            </a:prstGeom>
            <a:solidFill>
              <a:srgbClr val="A083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2" name="Rectangle 470"/>
            <p:cNvSpPr>
              <a:spLocks noChangeArrowheads="1"/>
            </p:cNvSpPr>
            <p:nvPr/>
          </p:nvSpPr>
          <p:spPr bwMode="auto">
            <a:xfrm>
              <a:off x="4889501" y="5973763"/>
              <a:ext cx="106363" cy="53975"/>
            </a:xfrm>
            <a:prstGeom prst="rect">
              <a:avLst/>
            </a:prstGeom>
            <a:solidFill>
              <a:srgbClr val="A083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3" name="Oval 471"/>
            <p:cNvSpPr>
              <a:spLocks noChangeArrowheads="1"/>
            </p:cNvSpPr>
            <p:nvPr/>
          </p:nvSpPr>
          <p:spPr bwMode="auto">
            <a:xfrm>
              <a:off x="4875213" y="4570413"/>
              <a:ext cx="93663" cy="92075"/>
            </a:xfrm>
            <a:prstGeom prst="ellipse">
              <a:avLst/>
            </a:prstGeom>
            <a:noFill/>
            <a:ln w="12700" cap="flat">
              <a:solidFill>
                <a:srgbClr val="EC008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4" name="Freeform 472"/>
            <p:cNvSpPr>
              <a:spLocks/>
            </p:cNvSpPr>
            <p:nvPr/>
          </p:nvSpPr>
          <p:spPr bwMode="auto">
            <a:xfrm>
              <a:off x="5148263" y="4410075"/>
              <a:ext cx="101600" cy="80963"/>
            </a:xfrm>
            <a:custGeom>
              <a:avLst/>
              <a:gdLst>
                <a:gd name="T0" fmla="*/ 0 w 45"/>
                <a:gd name="T1" fmla="*/ 0 h 36"/>
                <a:gd name="T2" fmla="*/ 45 w 45"/>
                <a:gd name="T3" fmla="*/ 36 h 36"/>
                <a:gd name="T4" fmla="*/ 45 w 45"/>
                <a:gd name="T5" fmla="*/ 0 h 36"/>
                <a:gd name="T6" fmla="*/ 0 w 45"/>
                <a:gd name="T7" fmla="*/ 0 h 36"/>
              </a:gdLst>
              <a:ahLst/>
              <a:cxnLst>
                <a:cxn ang="0">
                  <a:pos x="T0" y="T1"/>
                </a:cxn>
                <a:cxn ang="0">
                  <a:pos x="T2" y="T3"/>
                </a:cxn>
                <a:cxn ang="0">
                  <a:pos x="T4" y="T5"/>
                </a:cxn>
                <a:cxn ang="0">
                  <a:pos x="T6" y="T7"/>
                </a:cxn>
              </a:cxnLst>
              <a:rect l="0" t="0" r="r" b="b"/>
              <a:pathLst>
                <a:path w="45" h="36">
                  <a:moveTo>
                    <a:pt x="0" y="0"/>
                  </a:moveTo>
                  <a:cubicBezTo>
                    <a:pt x="4" y="20"/>
                    <a:pt x="23" y="36"/>
                    <a:pt x="45" y="36"/>
                  </a:cubicBezTo>
                  <a:cubicBezTo>
                    <a:pt x="45" y="0"/>
                    <a:pt x="45" y="0"/>
                    <a:pt x="45"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5" name="Freeform 473"/>
            <p:cNvSpPr>
              <a:spLocks/>
            </p:cNvSpPr>
            <p:nvPr/>
          </p:nvSpPr>
          <p:spPr bwMode="auto">
            <a:xfrm>
              <a:off x="4938713" y="4410075"/>
              <a:ext cx="215900" cy="80963"/>
            </a:xfrm>
            <a:custGeom>
              <a:avLst/>
              <a:gdLst>
                <a:gd name="T0" fmla="*/ 0 w 95"/>
                <a:gd name="T1" fmla="*/ 0 h 36"/>
                <a:gd name="T2" fmla="*/ 0 w 95"/>
                <a:gd name="T3" fmla="*/ 36 h 36"/>
                <a:gd name="T4" fmla="*/ 95 w 95"/>
                <a:gd name="T5" fmla="*/ 0 h 36"/>
                <a:gd name="T6" fmla="*/ 0 w 95"/>
                <a:gd name="T7" fmla="*/ 0 h 36"/>
              </a:gdLst>
              <a:ahLst/>
              <a:cxnLst>
                <a:cxn ang="0">
                  <a:pos x="T0" y="T1"/>
                </a:cxn>
                <a:cxn ang="0">
                  <a:pos x="T2" y="T3"/>
                </a:cxn>
                <a:cxn ang="0">
                  <a:pos x="T4" y="T5"/>
                </a:cxn>
                <a:cxn ang="0">
                  <a:pos x="T6" y="T7"/>
                </a:cxn>
              </a:cxnLst>
              <a:rect l="0" t="0" r="r" b="b"/>
              <a:pathLst>
                <a:path w="95" h="36">
                  <a:moveTo>
                    <a:pt x="0" y="0"/>
                  </a:moveTo>
                  <a:cubicBezTo>
                    <a:pt x="0" y="36"/>
                    <a:pt x="0" y="36"/>
                    <a:pt x="0" y="36"/>
                  </a:cubicBezTo>
                  <a:cubicBezTo>
                    <a:pt x="37" y="36"/>
                    <a:pt x="70" y="22"/>
                    <a:pt x="95"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6" name="Oval 474"/>
            <p:cNvSpPr>
              <a:spLocks noChangeArrowheads="1"/>
            </p:cNvSpPr>
            <p:nvPr/>
          </p:nvSpPr>
          <p:spPr bwMode="auto">
            <a:xfrm>
              <a:off x="4995863" y="4525963"/>
              <a:ext cx="17463"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7" name="Oval 475"/>
            <p:cNvSpPr>
              <a:spLocks noChangeArrowheads="1"/>
            </p:cNvSpPr>
            <p:nvPr/>
          </p:nvSpPr>
          <p:spPr bwMode="auto">
            <a:xfrm>
              <a:off x="5175251" y="4525963"/>
              <a:ext cx="19050"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8" name="Freeform 476"/>
            <p:cNvSpPr>
              <a:spLocks/>
            </p:cNvSpPr>
            <p:nvPr/>
          </p:nvSpPr>
          <p:spPr bwMode="auto">
            <a:xfrm>
              <a:off x="5091113" y="4624388"/>
              <a:ext cx="52388" cy="14288"/>
            </a:xfrm>
            <a:custGeom>
              <a:avLst/>
              <a:gdLst>
                <a:gd name="T0" fmla="*/ 23 w 23"/>
                <a:gd name="T1" fmla="*/ 6 h 6"/>
                <a:gd name="T2" fmla="*/ 12 w 23"/>
                <a:gd name="T3" fmla="*/ 0 h 6"/>
                <a:gd name="T4" fmla="*/ 0 w 23"/>
                <a:gd name="T5" fmla="*/ 6 h 6"/>
                <a:gd name="T6" fmla="*/ 23 w 23"/>
                <a:gd name="T7" fmla="*/ 6 h 6"/>
              </a:gdLst>
              <a:ahLst/>
              <a:cxnLst>
                <a:cxn ang="0">
                  <a:pos x="T0" y="T1"/>
                </a:cxn>
                <a:cxn ang="0">
                  <a:pos x="T2" y="T3"/>
                </a:cxn>
                <a:cxn ang="0">
                  <a:pos x="T4" y="T5"/>
                </a:cxn>
                <a:cxn ang="0">
                  <a:pos x="T6" y="T7"/>
                </a:cxn>
              </a:cxnLst>
              <a:rect l="0" t="0" r="r" b="b"/>
              <a:pathLst>
                <a:path w="23" h="6">
                  <a:moveTo>
                    <a:pt x="23" y="6"/>
                  </a:moveTo>
                  <a:cubicBezTo>
                    <a:pt x="21" y="3"/>
                    <a:pt x="16" y="0"/>
                    <a:pt x="12" y="0"/>
                  </a:cubicBezTo>
                  <a:cubicBezTo>
                    <a:pt x="7" y="0"/>
                    <a:pt x="3" y="3"/>
                    <a:pt x="0" y="6"/>
                  </a:cubicBezTo>
                  <a:lnTo>
                    <a:pt x="23"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9" name="Freeform 477"/>
            <p:cNvSpPr>
              <a:spLocks/>
            </p:cNvSpPr>
            <p:nvPr/>
          </p:nvSpPr>
          <p:spPr bwMode="auto">
            <a:xfrm>
              <a:off x="5049838" y="4624388"/>
              <a:ext cx="52388" cy="14288"/>
            </a:xfrm>
            <a:custGeom>
              <a:avLst/>
              <a:gdLst>
                <a:gd name="T0" fmla="*/ 23 w 23"/>
                <a:gd name="T1" fmla="*/ 6 h 6"/>
                <a:gd name="T2" fmla="*/ 11 w 23"/>
                <a:gd name="T3" fmla="*/ 0 h 6"/>
                <a:gd name="T4" fmla="*/ 0 w 23"/>
                <a:gd name="T5" fmla="*/ 6 h 6"/>
                <a:gd name="T6" fmla="*/ 23 w 23"/>
                <a:gd name="T7" fmla="*/ 6 h 6"/>
              </a:gdLst>
              <a:ahLst/>
              <a:cxnLst>
                <a:cxn ang="0">
                  <a:pos x="T0" y="T1"/>
                </a:cxn>
                <a:cxn ang="0">
                  <a:pos x="T2" y="T3"/>
                </a:cxn>
                <a:cxn ang="0">
                  <a:pos x="T4" y="T5"/>
                </a:cxn>
                <a:cxn ang="0">
                  <a:pos x="T6" y="T7"/>
                </a:cxn>
              </a:cxnLst>
              <a:rect l="0" t="0" r="r" b="b"/>
              <a:pathLst>
                <a:path w="23" h="6">
                  <a:moveTo>
                    <a:pt x="23" y="6"/>
                  </a:moveTo>
                  <a:cubicBezTo>
                    <a:pt x="20" y="3"/>
                    <a:pt x="16" y="0"/>
                    <a:pt x="11" y="0"/>
                  </a:cubicBezTo>
                  <a:cubicBezTo>
                    <a:pt x="6" y="0"/>
                    <a:pt x="2" y="3"/>
                    <a:pt x="0" y="6"/>
                  </a:cubicBezTo>
                  <a:lnTo>
                    <a:pt x="23"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0" name="Freeform 478"/>
            <p:cNvSpPr>
              <a:spLocks/>
            </p:cNvSpPr>
            <p:nvPr/>
          </p:nvSpPr>
          <p:spPr bwMode="auto">
            <a:xfrm>
              <a:off x="5049838" y="4638675"/>
              <a:ext cx="93663" cy="17463"/>
            </a:xfrm>
            <a:custGeom>
              <a:avLst/>
              <a:gdLst>
                <a:gd name="T0" fmla="*/ 5 w 41"/>
                <a:gd name="T1" fmla="*/ 8 h 8"/>
                <a:gd name="T2" fmla="*/ 36 w 41"/>
                <a:gd name="T3" fmla="*/ 8 h 8"/>
                <a:gd name="T4" fmla="*/ 41 w 41"/>
                <a:gd name="T5" fmla="*/ 2 h 8"/>
                <a:gd name="T6" fmla="*/ 41 w 41"/>
                <a:gd name="T7" fmla="*/ 0 h 8"/>
                <a:gd name="T8" fmla="*/ 0 w 41"/>
                <a:gd name="T9" fmla="*/ 0 h 8"/>
                <a:gd name="T10" fmla="*/ 0 w 41"/>
                <a:gd name="T11" fmla="*/ 2 h 8"/>
                <a:gd name="T12" fmla="*/ 5 w 4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1" h="8">
                  <a:moveTo>
                    <a:pt x="5" y="8"/>
                  </a:moveTo>
                  <a:cubicBezTo>
                    <a:pt x="36" y="8"/>
                    <a:pt x="36" y="8"/>
                    <a:pt x="36" y="8"/>
                  </a:cubicBezTo>
                  <a:cubicBezTo>
                    <a:pt x="39" y="8"/>
                    <a:pt x="41" y="5"/>
                    <a:pt x="41" y="2"/>
                  </a:cubicBezTo>
                  <a:cubicBezTo>
                    <a:pt x="41" y="0"/>
                    <a:pt x="41" y="0"/>
                    <a:pt x="41" y="0"/>
                  </a:cubicBezTo>
                  <a:cubicBezTo>
                    <a:pt x="0" y="0"/>
                    <a:pt x="0" y="0"/>
                    <a:pt x="0" y="0"/>
                  </a:cubicBezTo>
                  <a:cubicBezTo>
                    <a:pt x="0" y="2"/>
                    <a:pt x="0" y="2"/>
                    <a:pt x="0" y="2"/>
                  </a:cubicBezTo>
                  <a:cubicBezTo>
                    <a:pt x="0" y="5"/>
                    <a:pt x="2" y="8"/>
                    <a:pt x="5" y="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1" name="Freeform 479"/>
            <p:cNvSpPr>
              <a:spLocks/>
            </p:cNvSpPr>
            <p:nvPr/>
          </p:nvSpPr>
          <p:spPr bwMode="auto">
            <a:xfrm>
              <a:off x="5075238" y="4587875"/>
              <a:ext cx="42863" cy="19050"/>
            </a:xfrm>
            <a:custGeom>
              <a:avLst/>
              <a:gdLst>
                <a:gd name="T0" fmla="*/ 0 w 19"/>
                <a:gd name="T1" fmla="*/ 0 h 8"/>
                <a:gd name="T2" fmla="*/ 9 w 19"/>
                <a:gd name="T3" fmla="*/ 8 h 8"/>
                <a:gd name="T4" fmla="*/ 19 w 19"/>
                <a:gd name="T5" fmla="*/ 0 h 8"/>
                <a:gd name="T6" fmla="*/ 0 w 19"/>
                <a:gd name="T7" fmla="*/ 0 h 8"/>
              </a:gdLst>
              <a:ahLst/>
              <a:cxnLst>
                <a:cxn ang="0">
                  <a:pos x="T0" y="T1"/>
                </a:cxn>
                <a:cxn ang="0">
                  <a:pos x="T2" y="T3"/>
                </a:cxn>
                <a:cxn ang="0">
                  <a:pos x="T4" y="T5"/>
                </a:cxn>
                <a:cxn ang="0">
                  <a:pos x="T6" y="T7"/>
                </a:cxn>
              </a:cxnLst>
              <a:rect l="0" t="0" r="r" b="b"/>
              <a:pathLst>
                <a:path w="19" h="8">
                  <a:moveTo>
                    <a:pt x="0" y="0"/>
                  </a:moveTo>
                  <a:cubicBezTo>
                    <a:pt x="1" y="4"/>
                    <a:pt x="5" y="8"/>
                    <a:pt x="9" y="8"/>
                  </a:cubicBezTo>
                  <a:cubicBezTo>
                    <a:pt x="14" y="8"/>
                    <a:pt x="18" y="4"/>
                    <a:pt x="19" y="0"/>
                  </a:cubicBezTo>
                  <a:lnTo>
                    <a:pt x="0" y="0"/>
                  </a:lnTo>
                  <a:close/>
                </a:path>
              </a:pathLst>
            </a:custGeom>
            <a:solidFill>
              <a:srgbClr val="9B7F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2" name="Freeform 480"/>
            <p:cNvSpPr>
              <a:spLocks/>
            </p:cNvSpPr>
            <p:nvPr/>
          </p:nvSpPr>
          <p:spPr bwMode="auto">
            <a:xfrm>
              <a:off x="4905376" y="4452938"/>
              <a:ext cx="168275" cy="144463"/>
            </a:xfrm>
            <a:custGeom>
              <a:avLst/>
              <a:gdLst>
                <a:gd name="T0" fmla="*/ 54 w 74"/>
                <a:gd name="T1" fmla="*/ 0 h 64"/>
                <a:gd name="T2" fmla="*/ 37 w 74"/>
                <a:gd name="T3" fmla="*/ 10 h 64"/>
                <a:gd name="T4" fmla="*/ 20 w 74"/>
                <a:gd name="T5" fmla="*/ 0 h 64"/>
                <a:gd name="T6" fmla="*/ 0 w 74"/>
                <a:gd name="T7" fmla="*/ 20 h 64"/>
                <a:gd name="T8" fmla="*/ 37 w 74"/>
                <a:gd name="T9" fmla="*/ 64 h 64"/>
                <a:gd name="T10" fmla="*/ 74 w 74"/>
                <a:gd name="T11" fmla="*/ 20 h 64"/>
                <a:gd name="T12" fmla="*/ 54 w 7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74" h="64">
                  <a:moveTo>
                    <a:pt x="54" y="0"/>
                  </a:moveTo>
                  <a:cubicBezTo>
                    <a:pt x="47" y="0"/>
                    <a:pt x="41" y="4"/>
                    <a:pt x="37" y="10"/>
                  </a:cubicBezTo>
                  <a:cubicBezTo>
                    <a:pt x="34" y="4"/>
                    <a:pt x="27" y="0"/>
                    <a:pt x="20" y="0"/>
                  </a:cubicBezTo>
                  <a:cubicBezTo>
                    <a:pt x="9" y="0"/>
                    <a:pt x="0" y="9"/>
                    <a:pt x="0" y="20"/>
                  </a:cubicBezTo>
                  <a:cubicBezTo>
                    <a:pt x="0" y="31"/>
                    <a:pt x="23" y="53"/>
                    <a:pt x="37" y="64"/>
                  </a:cubicBezTo>
                  <a:cubicBezTo>
                    <a:pt x="51" y="53"/>
                    <a:pt x="74" y="31"/>
                    <a:pt x="74" y="20"/>
                  </a:cubicBezTo>
                  <a:cubicBezTo>
                    <a:pt x="74" y="9"/>
                    <a:pt x="65" y="0"/>
                    <a:pt x="54" y="0"/>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3" name="Freeform 481"/>
            <p:cNvSpPr>
              <a:spLocks/>
            </p:cNvSpPr>
            <p:nvPr/>
          </p:nvSpPr>
          <p:spPr bwMode="auto">
            <a:xfrm>
              <a:off x="4922838" y="4468813"/>
              <a:ext cx="131763" cy="112713"/>
            </a:xfrm>
            <a:custGeom>
              <a:avLst/>
              <a:gdLst>
                <a:gd name="T0" fmla="*/ 42 w 58"/>
                <a:gd name="T1" fmla="*/ 0 h 50"/>
                <a:gd name="T2" fmla="*/ 29 w 58"/>
                <a:gd name="T3" fmla="*/ 8 h 50"/>
                <a:gd name="T4" fmla="*/ 16 w 58"/>
                <a:gd name="T5" fmla="*/ 0 h 50"/>
                <a:gd name="T6" fmla="*/ 0 w 58"/>
                <a:gd name="T7" fmla="*/ 16 h 50"/>
                <a:gd name="T8" fmla="*/ 29 w 58"/>
                <a:gd name="T9" fmla="*/ 50 h 50"/>
                <a:gd name="T10" fmla="*/ 58 w 58"/>
                <a:gd name="T11" fmla="*/ 16 h 50"/>
                <a:gd name="T12" fmla="*/ 42 w 5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8" h="50">
                  <a:moveTo>
                    <a:pt x="42" y="0"/>
                  </a:moveTo>
                  <a:cubicBezTo>
                    <a:pt x="37" y="0"/>
                    <a:pt x="32" y="3"/>
                    <a:pt x="29" y="8"/>
                  </a:cubicBezTo>
                  <a:cubicBezTo>
                    <a:pt x="26" y="3"/>
                    <a:pt x="21" y="0"/>
                    <a:pt x="16" y="0"/>
                  </a:cubicBezTo>
                  <a:cubicBezTo>
                    <a:pt x="7" y="0"/>
                    <a:pt x="0" y="7"/>
                    <a:pt x="0" y="16"/>
                  </a:cubicBezTo>
                  <a:cubicBezTo>
                    <a:pt x="0" y="24"/>
                    <a:pt x="18" y="41"/>
                    <a:pt x="29" y="50"/>
                  </a:cubicBezTo>
                  <a:cubicBezTo>
                    <a:pt x="40" y="41"/>
                    <a:pt x="58" y="24"/>
                    <a:pt x="58" y="16"/>
                  </a:cubicBezTo>
                  <a:cubicBezTo>
                    <a:pt x="58" y="7"/>
                    <a:pt x="51" y="0"/>
                    <a:pt x="42" y="0"/>
                  </a:cubicBezTo>
                  <a:close/>
                </a:path>
              </a:pathLst>
            </a:custGeom>
            <a:solidFill>
              <a:srgbClr val="A27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4" name="Freeform 482"/>
            <p:cNvSpPr>
              <a:spLocks/>
            </p:cNvSpPr>
            <p:nvPr/>
          </p:nvSpPr>
          <p:spPr bwMode="auto">
            <a:xfrm>
              <a:off x="5108576" y="4452938"/>
              <a:ext cx="169863" cy="144463"/>
            </a:xfrm>
            <a:custGeom>
              <a:avLst/>
              <a:gdLst>
                <a:gd name="T0" fmla="*/ 54 w 74"/>
                <a:gd name="T1" fmla="*/ 0 h 64"/>
                <a:gd name="T2" fmla="*/ 37 w 74"/>
                <a:gd name="T3" fmla="*/ 10 h 64"/>
                <a:gd name="T4" fmla="*/ 20 w 74"/>
                <a:gd name="T5" fmla="*/ 0 h 64"/>
                <a:gd name="T6" fmla="*/ 0 w 74"/>
                <a:gd name="T7" fmla="*/ 20 h 64"/>
                <a:gd name="T8" fmla="*/ 37 w 74"/>
                <a:gd name="T9" fmla="*/ 64 h 64"/>
                <a:gd name="T10" fmla="*/ 74 w 74"/>
                <a:gd name="T11" fmla="*/ 20 h 64"/>
                <a:gd name="T12" fmla="*/ 54 w 7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74" h="64">
                  <a:moveTo>
                    <a:pt x="54" y="0"/>
                  </a:moveTo>
                  <a:cubicBezTo>
                    <a:pt x="47" y="0"/>
                    <a:pt x="41" y="4"/>
                    <a:pt x="37" y="10"/>
                  </a:cubicBezTo>
                  <a:cubicBezTo>
                    <a:pt x="34" y="4"/>
                    <a:pt x="27" y="0"/>
                    <a:pt x="20" y="0"/>
                  </a:cubicBezTo>
                  <a:cubicBezTo>
                    <a:pt x="9" y="0"/>
                    <a:pt x="0" y="9"/>
                    <a:pt x="0" y="20"/>
                  </a:cubicBezTo>
                  <a:cubicBezTo>
                    <a:pt x="0" y="31"/>
                    <a:pt x="23" y="53"/>
                    <a:pt x="37" y="64"/>
                  </a:cubicBezTo>
                  <a:cubicBezTo>
                    <a:pt x="51" y="53"/>
                    <a:pt x="74" y="31"/>
                    <a:pt x="74" y="20"/>
                  </a:cubicBezTo>
                  <a:cubicBezTo>
                    <a:pt x="74" y="9"/>
                    <a:pt x="65" y="0"/>
                    <a:pt x="54" y="0"/>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5" name="Freeform 483"/>
            <p:cNvSpPr>
              <a:spLocks/>
            </p:cNvSpPr>
            <p:nvPr/>
          </p:nvSpPr>
          <p:spPr bwMode="auto">
            <a:xfrm>
              <a:off x="5127626" y="4468813"/>
              <a:ext cx="131763" cy="112713"/>
            </a:xfrm>
            <a:custGeom>
              <a:avLst/>
              <a:gdLst>
                <a:gd name="T0" fmla="*/ 43 w 58"/>
                <a:gd name="T1" fmla="*/ 0 h 50"/>
                <a:gd name="T2" fmla="*/ 29 w 58"/>
                <a:gd name="T3" fmla="*/ 8 h 50"/>
                <a:gd name="T4" fmla="*/ 16 w 58"/>
                <a:gd name="T5" fmla="*/ 0 h 50"/>
                <a:gd name="T6" fmla="*/ 0 w 58"/>
                <a:gd name="T7" fmla="*/ 16 h 50"/>
                <a:gd name="T8" fmla="*/ 29 w 58"/>
                <a:gd name="T9" fmla="*/ 50 h 50"/>
                <a:gd name="T10" fmla="*/ 58 w 58"/>
                <a:gd name="T11" fmla="*/ 16 h 50"/>
                <a:gd name="T12" fmla="*/ 43 w 5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8" h="50">
                  <a:moveTo>
                    <a:pt x="43" y="0"/>
                  </a:moveTo>
                  <a:cubicBezTo>
                    <a:pt x="37" y="0"/>
                    <a:pt x="32" y="3"/>
                    <a:pt x="29" y="8"/>
                  </a:cubicBezTo>
                  <a:cubicBezTo>
                    <a:pt x="26" y="3"/>
                    <a:pt x="22" y="0"/>
                    <a:pt x="16" y="0"/>
                  </a:cubicBezTo>
                  <a:cubicBezTo>
                    <a:pt x="7" y="0"/>
                    <a:pt x="0" y="7"/>
                    <a:pt x="0" y="16"/>
                  </a:cubicBezTo>
                  <a:cubicBezTo>
                    <a:pt x="0" y="24"/>
                    <a:pt x="18" y="41"/>
                    <a:pt x="29" y="50"/>
                  </a:cubicBezTo>
                  <a:cubicBezTo>
                    <a:pt x="40" y="41"/>
                    <a:pt x="58" y="24"/>
                    <a:pt x="58" y="16"/>
                  </a:cubicBezTo>
                  <a:cubicBezTo>
                    <a:pt x="58" y="7"/>
                    <a:pt x="51" y="0"/>
                    <a:pt x="43" y="0"/>
                  </a:cubicBezTo>
                  <a:close/>
                </a:path>
              </a:pathLst>
            </a:custGeom>
            <a:solidFill>
              <a:srgbClr val="A27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6" name="Freeform 484"/>
            <p:cNvSpPr>
              <a:spLocks/>
            </p:cNvSpPr>
            <p:nvPr/>
          </p:nvSpPr>
          <p:spPr bwMode="auto">
            <a:xfrm>
              <a:off x="5065713" y="4491038"/>
              <a:ext cx="52388" cy="19050"/>
            </a:xfrm>
            <a:custGeom>
              <a:avLst/>
              <a:gdLst>
                <a:gd name="T0" fmla="*/ 0 w 23"/>
                <a:gd name="T1" fmla="*/ 8 h 8"/>
                <a:gd name="T2" fmla="*/ 11 w 23"/>
                <a:gd name="T3" fmla="*/ 0 h 8"/>
                <a:gd name="T4" fmla="*/ 23 w 23"/>
                <a:gd name="T5" fmla="*/ 7 h 8"/>
              </a:gdLst>
              <a:ahLst/>
              <a:cxnLst>
                <a:cxn ang="0">
                  <a:pos x="T0" y="T1"/>
                </a:cxn>
                <a:cxn ang="0">
                  <a:pos x="T2" y="T3"/>
                </a:cxn>
                <a:cxn ang="0">
                  <a:pos x="T4" y="T5"/>
                </a:cxn>
              </a:cxnLst>
              <a:rect l="0" t="0" r="r" b="b"/>
              <a:pathLst>
                <a:path w="23" h="8">
                  <a:moveTo>
                    <a:pt x="0" y="8"/>
                  </a:moveTo>
                  <a:cubicBezTo>
                    <a:pt x="2" y="3"/>
                    <a:pt x="6" y="0"/>
                    <a:pt x="11" y="0"/>
                  </a:cubicBezTo>
                  <a:cubicBezTo>
                    <a:pt x="16" y="0"/>
                    <a:pt x="21" y="3"/>
                    <a:pt x="23" y="7"/>
                  </a:cubicBezTo>
                </a:path>
              </a:pathLst>
            </a:custGeom>
            <a:noFill/>
            <a:ln w="9525" cap="flat">
              <a:solidFill>
                <a:srgbClr val="D51F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7" name="Freeform 485"/>
            <p:cNvSpPr>
              <a:spLocks/>
            </p:cNvSpPr>
            <p:nvPr/>
          </p:nvSpPr>
          <p:spPr bwMode="auto">
            <a:xfrm>
              <a:off x="4891088" y="4481513"/>
              <a:ext cx="26988" cy="20638"/>
            </a:xfrm>
            <a:custGeom>
              <a:avLst/>
              <a:gdLst>
                <a:gd name="T0" fmla="*/ 12 w 12"/>
                <a:gd name="T1" fmla="*/ 4 h 9"/>
                <a:gd name="T2" fmla="*/ 8 w 12"/>
                <a:gd name="T3" fmla="*/ 9 h 9"/>
                <a:gd name="T4" fmla="*/ 4 w 12"/>
                <a:gd name="T5" fmla="*/ 9 h 9"/>
                <a:gd name="T6" fmla="*/ 0 w 12"/>
                <a:gd name="T7" fmla="*/ 4 h 9"/>
                <a:gd name="T8" fmla="*/ 0 w 12"/>
                <a:gd name="T9" fmla="*/ 4 h 9"/>
                <a:gd name="T10" fmla="*/ 4 w 12"/>
                <a:gd name="T11" fmla="*/ 0 h 9"/>
                <a:gd name="T12" fmla="*/ 8 w 12"/>
                <a:gd name="T13" fmla="*/ 0 h 9"/>
                <a:gd name="T14" fmla="*/ 12 w 1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4"/>
                  </a:moveTo>
                  <a:cubicBezTo>
                    <a:pt x="12" y="7"/>
                    <a:pt x="10" y="9"/>
                    <a:pt x="8" y="9"/>
                  </a:cubicBezTo>
                  <a:cubicBezTo>
                    <a:pt x="4" y="9"/>
                    <a:pt x="4" y="9"/>
                    <a:pt x="4" y="9"/>
                  </a:cubicBezTo>
                  <a:cubicBezTo>
                    <a:pt x="2" y="9"/>
                    <a:pt x="0" y="7"/>
                    <a:pt x="0" y="4"/>
                  </a:cubicBezTo>
                  <a:cubicBezTo>
                    <a:pt x="0" y="4"/>
                    <a:pt x="0" y="4"/>
                    <a:pt x="0" y="4"/>
                  </a:cubicBezTo>
                  <a:cubicBezTo>
                    <a:pt x="0" y="2"/>
                    <a:pt x="2" y="0"/>
                    <a:pt x="4" y="0"/>
                  </a:cubicBezTo>
                  <a:cubicBezTo>
                    <a:pt x="8" y="0"/>
                    <a:pt x="8" y="0"/>
                    <a:pt x="8" y="0"/>
                  </a:cubicBezTo>
                  <a:cubicBezTo>
                    <a:pt x="10" y="0"/>
                    <a:pt x="12" y="2"/>
                    <a:pt x="12" y="4"/>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8" name="Freeform 486"/>
            <p:cNvSpPr>
              <a:spLocks/>
            </p:cNvSpPr>
            <p:nvPr/>
          </p:nvSpPr>
          <p:spPr bwMode="auto">
            <a:xfrm>
              <a:off x="5264151" y="4481513"/>
              <a:ext cx="26988" cy="20638"/>
            </a:xfrm>
            <a:custGeom>
              <a:avLst/>
              <a:gdLst>
                <a:gd name="T0" fmla="*/ 12 w 12"/>
                <a:gd name="T1" fmla="*/ 4 h 9"/>
                <a:gd name="T2" fmla="*/ 8 w 12"/>
                <a:gd name="T3" fmla="*/ 9 h 9"/>
                <a:gd name="T4" fmla="*/ 5 w 12"/>
                <a:gd name="T5" fmla="*/ 9 h 9"/>
                <a:gd name="T6" fmla="*/ 0 w 12"/>
                <a:gd name="T7" fmla="*/ 4 h 9"/>
                <a:gd name="T8" fmla="*/ 0 w 12"/>
                <a:gd name="T9" fmla="*/ 4 h 9"/>
                <a:gd name="T10" fmla="*/ 5 w 12"/>
                <a:gd name="T11" fmla="*/ 0 h 9"/>
                <a:gd name="T12" fmla="*/ 8 w 12"/>
                <a:gd name="T13" fmla="*/ 0 h 9"/>
                <a:gd name="T14" fmla="*/ 12 w 1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4"/>
                  </a:moveTo>
                  <a:cubicBezTo>
                    <a:pt x="12" y="7"/>
                    <a:pt x="10" y="9"/>
                    <a:pt x="8" y="9"/>
                  </a:cubicBezTo>
                  <a:cubicBezTo>
                    <a:pt x="5" y="9"/>
                    <a:pt x="5" y="9"/>
                    <a:pt x="5" y="9"/>
                  </a:cubicBezTo>
                  <a:cubicBezTo>
                    <a:pt x="2" y="9"/>
                    <a:pt x="0" y="7"/>
                    <a:pt x="0" y="4"/>
                  </a:cubicBezTo>
                  <a:cubicBezTo>
                    <a:pt x="0" y="4"/>
                    <a:pt x="0" y="4"/>
                    <a:pt x="0" y="4"/>
                  </a:cubicBezTo>
                  <a:cubicBezTo>
                    <a:pt x="0" y="2"/>
                    <a:pt x="2" y="0"/>
                    <a:pt x="5" y="0"/>
                  </a:cubicBezTo>
                  <a:cubicBezTo>
                    <a:pt x="8" y="0"/>
                    <a:pt x="8" y="0"/>
                    <a:pt x="8" y="0"/>
                  </a:cubicBezTo>
                  <a:cubicBezTo>
                    <a:pt x="10" y="0"/>
                    <a:pt x="12" y="2"/>
                    <a:pt x="12" y="4"/>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9" name="Rectangle 452"/>
            <p:cNvSpPr>
              <a:spLocks noChangeArrowheads="1"/>
            </p:cNvSpPr>
            <p:nvPr/>
          </p:nvSpPr>
          <p:spPr bwMode="auto">
            <a:xfrm flipH="1">
              <a:off x="5315743" y="4868863"/>
              <a:ext cx="111125" cy="711256"/>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0" name="Freeform 453"/>
            <p:cNvSpPr>
              <a:spLocks/>
            </p:cNvSpPr>
            <p:nvPr/>
          </p:nvSpPr>
          <p:spPr bwMode="auto">
            <a:xfrm flipH="1">
              <a:off x="5315745" y="5481638"/>
              <a:ext cx="111125" cy="223838"/>
            </a:xfrm>
            <a:custGeom>
              <a:avLst/>
              <a:gdLst>
                <a:gd name="T0" fmla="*/ 49 w 49"/>
                <a:gd name="T1" fmla="*/ 0 h 99"/>
                <a:gd name="T2" fmla="*/ 49 w 49"/>
                <a:gd name="T3" fmla="*/ 99 h 99"/>
                <a:gd name="T4" fmla="*/ 0 w 49"/>
                <a:gd name="T5" fmla="*/ 50 h 99"/>
                <a:gd name="T6" fmla="*/ 49 w 49"/>
                <a:gd name="T7" fmla="*/ 0 h 99"/>
              </a:gdLst>
              <a:ahLst/>
              <a:cxnLst>
                <a:cxn ang="0">
                  <a:pos x="T0" y="T1"/>
                </a:cxn>
                <a:cxn ang="0">
                  <a:pos x="T2" y="T3"/>
                </a:cxn>
                <a:cxn ang="0">
                  <a:pos x="T4" y="T5"/>
                </a:cxn>
                <a:cxn ang="0">
                  <a:pos x="T6" y="T7"/>
                </a:cxn>
              </a:cxnLst>
              <a:rect l="0" t="0" r="r" b="b"/>
              <a:pathLst>
                <a:path w="49" h="99">
                  <a:moveTo>
                    <a:pt x="49" y="0"/>
                  </a:moveTo>
                  <a:cubicBezTo>
                    <a:pt x="49" y="99"/>
                    <a:pt x="49" y="99"/>
                    <a:pt x="49" y="99"/>
                  </a:cubicBezTo>
                  <a:cubicBezTo>
                    <a:pt x="22" y="99"/>
                    <a:pt x="0" y="77"/>
                    <a:pt x="0" y="50"/>
                  </a:cubicBezTo>
                  <a:cubicBezTo>
                    <a:pt x="0" y="22"/>
                    <a:pt x="22" y="0"/>
                    <a:pt x="49" y="0"/>
                  </a:cubicBez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919" name="Group 918"/>
          <p:cNvGrpSpPr/>
          <p:nvPr/>
        </p:nvGrpSpPr>
        <p:grpSpPr>
          <a:xfrm>
            <a:off x="3419732" y="3205216"/>
            <a:ext cx="5352538" cy="1474293"/>
            <a:chOff x="3384649" y="2749805"/>
            <a:chExt cx="5353297" cy="1474502"/>
          </a:xfrm>
        </p:grpSpPr>
        <p:sp>
          <p:nvSpPr>
            <p:cNvPr id="918" name="Rectangle 917"/>
            <p:cNvSpPr/>
            <p:nvPr/>
          </p:nvSpPr>
          <p:spPr bwMode="auto">
            <a:xfrm>
              <a:off x="3384649" y="2749805"/>
              <a:ext cx="5353297" cy="1474502"/>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957" name="Freeform 5"/>
            <p:cNvSpPr>
              <a:spLocks noChangeAspect="1" noEditPoints="1"/>
            </p:cNvSpPr>
            <p:nvPr/>
          </p:nvSpPr>
          <p:spPr bwMode="black">
            <a:xfrm>
              <a:off x="3764048" y="2979095"/>
              <a:ext cx="4594498" cy="1015922"/>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C3C00"/>
            </a:solidFill>
            <a:ln>
              <a:noFill/>
            </a:ln>
          </p:spPr>
          <p:txBody>
            <a:bodyPr vert="horz" wrap="square" lIns="91427" tIns="45713" rIns="91427" bIns="45713" numCol="1" anchor="t" anchorCtr="0" compatLnSpc="1">
              <a:prstTxWarp prst="textNoShape">
                <a:avLst/>
              </a:prstTxWarp>
            </a:bodyPr>
            <a:lstStyle/>
            <a:p>
              <a:pPr defTabSz="932587">
                <a:defRPr/>
              </a:pPr>
              <a:endParaRPr lang="en-US" sz="1400" kern="0">
                <a:solidFill>
                  <a:sysClr val="windowText" lastClr="000000"/>
                </a:solidFill>
              </a:endParaRPr>
            </a:p>
          </p:txBody>
        </p:sp>
      </p:grpSp>
      <p:grpSp>
        <p:nvGrpSpPr>
          <p:cNvPr id="482" name="Group 481"/>
          <p:cNvGrpSpPr/>
          <p:nvPr/>
        </p:nvGrpSpPr>
        <p:grpSpPr>
          <a:xfrm>
            <a:off x="7021741" y="4493176"/>
            <a:ext cx="668468" cy="1274923"/>
            <a:chOff x="6550025" y="1262063"/>
            <a:chExt cx="1317625" cy="2513013"/>
          </a:xfrm>
        </p:grpSpPr>
        <p:sp>
          <p:nvSpPr>
            <p:cNvPr id="454" name="Freeform 376"/>
            <p:cNvSpPr>
              <a:spLocks/>
            </p:cNvSpPr>
            <p:nvPr/>
          </p:nvSpPr>
          <p:spPr bwMode="auto">
            <a:xfrm>
              <a:off x="6761163" y="1262063"/>
              <a:ext cx="322263" cy="217488"/>
            </a:xfrm>
            <a:custGeom>
              <a:avLst/>
              <a:gdLst>
                <a:gd name="T0" fmla="*/ 141 w 141"/>
                <a:gd name="T1" fmla="*/ 95 h 95"/>
                <a:gd name="T2" fmla="*/ 141 w 141"/>
                <a:gd name="T3" fmla="*/ 65 h 95"/>
                <a:gd name="T4" fmla="*/ 76 w 141"/>
                <a:gd name="T5" fmla="*/ 0 h 95"/>
                <a:gd name="T6" fmla="*/ 64 w 141"/>
                <a:gd name="T7" fmla="*/ 0 h 95"/>
                <a:gd name="T8" fmla="*/ 0 w 141"/>
                <a:gd name="T9" fmla="*/ 65 h 95"/>
                <a:gd name="T10" fmla="*/ 0 w 141"/>
                <a:gd name="T11" fmla="*/ 95 h 95"/>
                <a:gd name="T12" fmla="*/ 141 w 141"/>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41" h="95">
                  <a:moveTo>
                    <a:pt x="141" y="95"/>
                  </a:moveTo>
                  <a:cubicBezTo>
                    <a:pt x="141" y="65"/>
                    <a:pt x="141" y="65"/>
                    <a:pt x="141" y="65"/>
                  </a:cubicBezTo>
                  <a:cubicBezTo>
                    <a:pt x="141" y="29"/>
                    <a:pt x="112" y="0"/>
                    <a:pt x="76" y="0"/>
                  </a:cubicBezTo>
                  <a:cubicBezTo>
                    <a:pt x="64" y="0"/>
                    <a:pt x="64" y="0"/>
                    <a:pt x="64" y="0"/>
                  </a:cubicBezTo>
                  <a:cubicBezTo>
                    <a:pt x="29" y="0"/>
                    <a:pt x="0" y="29"/>
                    <a:pt x="0" y="65"/>
                  </a:cubicBezTo>
                  <a:cubicBezTo>
                    <a:pt x="0" y="95"/>
                    <a:pt x="0" y="95"/>
                    <a:pt x="0" y="95"/>
                  </a:cubicBezTo>
                  <a:lnTo>
                    <a:pt x="141" y="95"/>
                  </a:lnTo>
                  <a:close/>
                </a:path>
              </a:pathLst>
            </a:cu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5" name="Freeform 377"/>
            <p:cNvSpPr>
              <a:spLocks/>
            </p:cNvSpPr>
            <p:nvPr/>
          </p:nvSpPr>
          <p:spPr bwMode="auto">
            <a:xfrm>
              <a:off x="6724650" y="1527175"/>
              <a:ext cx="393700" cy="82550"/>
            </a:xfrm>
            <a:custGeom>
              <a:avLst/>
              <a:gdLst>
                <a:gd name="T0" fmla="*/ 0 w 172"/>
                <a:gd name="T1" fmla="*/ 27 h 36"/>
                <a:gd name="T2" fmla="*/ 9 w 172"/>
                <a:gd name="T3" fmla="*/ 36 h 36"/>
                <a:gd name="T4" fmla="*/ 164 w 172"/>
                <a:gd name="T5" fmla="*/ 36 h 36"/>
                <a:gd name="T6" fmla="*/ 172 w 172"/>
                <a:gd name="T7" fmla="*/ 27 h 36"/>
                <a:gd name="T8" fmla="*/ 172 w 172"/>
                <a:gd name="T9" fmla="*/ 8 h 36"/>
                <a:gd name="T10" fmla="*/ 164 w 172"/>
                <a:gd name="T11" fmla="*/ 0 h 36"/>
                <a:gd name="T12" fmla="*/ 9 w 172"/>
                <a:gd name="T13" fmla="*/ 0 h 36"/>
                <a:gd name="T14" fmla="*/ 0 w 172"/>
                <a:gd name="T15" fmla="*/ 8 h 36"/>
                <a:gd name="T16" fmla="*/ 0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0" y="27"/>
                  </a:moveTo>
                  <a:cubicBezTo>
                    <a:pt x="0" y="32"/>
                    <a:pt x="4" y="36"/>
                    <a:pt x="9" y="36"/>
                  </a:cubicBezTo>
                  <a:cubicBezTo>
                    <a:pt x="164" y="36"/>
                    <a:pt x="164" y="36"/>
                    <a:pt x="164" y="36"/>
                  </a:cubicBezTo>
                  <a:cubicBezTo>
                    <a:pt x="169" y="36"/>
                    <a:pt x="172" y="32"/>
                    <a:pt x="172" y="27"/>
                  </a:cubicBezTo>
                  <a:cubicBezTo>
                    <a:pt x="172" y="8"/>
                    <a:pt x="172" y="8"/>
                    <a:pt x="172" y="8"/>
                  </a:cubicBezTo>
                  <a:cubicBezTo>
                    <a:pt x="172" y="3"/>
                    <a:pt x="169" y="0"/>
                    <a:pt x="164" y="0"/>
                  </a:cubicBezTo>
                  <a:cubicBezTo>
                    <a:pt x="9" y="0"/>
                    <a:pt x="9" y="0"/>
                    <a:pt x="9" y="0"/>
                  </a:cubicBezTo>
                  <a:cubicBezTo>
                    <a:pt x="4" y="0"/>
                    <a:pt x="0" y="3"/>
                    <a:pt x="0" y="8"/>
                  </a:cubicBezTo>
                  <a:lnTo>
                    <a:pt x="0"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6" name="Rectangle 378"/>
            <p:cNvSpPr>
              <a:spLocks noChangeArrowheads="1"/>
            </p:cNvSpPr>
            <p:nvPr/>
          </p:nvSpPr>
          <p:spPr bwMode="auto">
            <a:xfrm>
              <a:off x="6707188" y="2605088"/>
              <a:ext cx="431800" cy="14128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7" name="Rectangle 379"/>
            <p:cNvSpPr>
              <a:spLocks noChangeArrowheads="1"/>
            </p:cNvSpPr>
            <p:nvPr/>
          </p:nvSpPr>
          <p:spPr bwMode="auto">
            <a:xfrm>
              <a:off x="7026275" y="2605088"/>
              <a:ext cx="112713" cy="104933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8" name="Freeform 380"/>
            <p:cNvSpPr>
              <a:spLocks/>
            </p:cNvSpPr>
            <p:nvPr/>
          </p:nvSpPr>
          <p:spPr bwMode="auto">
            <a:xfrm>
              <a:off x="7026275" y="3640138"/>
              <a:ext cx="258763" cy="13493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3"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accent6">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9" name="Rectangle 381"/>
            <p:cNvSpPr>
              <a:spLocks noChangeArrowheads="1"/>
            </p:cNvSpPr>
            <p:nvPr/>
          </p:nvSpPr>
          <p:spPr bwMode="auto">
            <a:xfrm>
              <a:off x="6707188" y="2605088"/>
              <a:ext cx="111125" cy="104933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0" name="Freeform 382"/>
            <p:cNvSpPr>
              <a:spLocks/>
            </p:cNvSpPr>
            <p:nvPr/>
          </p:nvSpPr>
          <p:spPr bwMode="auto">
            <a:xfrm>
              <a:off x="6707188" y="3640138"/>
              <a:ext cx="257175" cy="13493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2"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accent6">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1" name="Freeform 383"/>
            <p:cNvSpPr>
              <a:spLocks/>
            </p:cNvSpPr>
            <p:nvPr/>
          </p:nvSpPr>
          <p:spPr bwMode="auto">
            <a:xfrm>
              <a:off x="6550025" y="1830388"/>
              <a:ext cx="746125" cy="774700"/>
            </a:xfrm>
            <a:custGeom>
              <a:avLst/>
              <a:gdLst>
                <a:gd name="T0" fmla="*/ 69 w 327"/>
                <a:gd name="T1" fmla="*/ 0 h 340"/>
                <a:gd name="T2" fmla="*/ 258 w 327"/>
                <a:gd name="T3" fmla="*/ 0 h 340"/>
                <a:gd name="T4" fmla="*/ 327 w 327"/>
                <a:gd name="T5" fmla="*/ 70 h 340"/>
                <a:gd name="T6" fmla="*/ 327 w 327"/>
                <a:gd name="T7" fmla="*/ 128 h 340"/>
                <a:gd name="T8" fmla="*/ 258 w 327"/>
                <a:gd name="T9" fmla="*/ 128 h 340"/>
                <a:gd name="T10" fmla="*/ 258 w 327"/>
                <a:gd name="T11" fmla="*/ 340 h 340"/>
                <a:gd name="T12" fmla="*/ 69 w 327"/>
                <a:gd name="T13" fmla="*/ 340 h 340"/>
                <a:gd name="T14" fmla="*/ 69 w 327"/>
                <a:gd name="T15" fmla="*/ 128 h 340"/>
                <a:gd name="T16" fmla="*/ 0 w 327"/>
                <a:gd name="T17" fmla="*/ 128 h 340"/>
                <a:gd name="T18" fmla="*/ 0 w 327"/>
                <a:gd name="T19" fmla="*/ 70 h 340"/>
                <a:gd name="T20" fmla="*/ 69 w 327"/>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7" h="340">
                  <a:moveTo>
                    <a:pt x="69" y="0"/>
                  </a:moveTo>
                  <a:cubicBezTo>
                    <a:pt x="258" y="0"/>
                    <a:pt x="258" y="0"/>
                    <a:pt x="258" y="0"/>
                  </a:cubicBezTo>
                  <a:cubicBezTo>
                    <a:pt x="296" y="0"/>
                    <a:pt x="327" y="32"/>
                    <a:pt x="327" y="70"/>
                  </a:cubicBezTo>
                  <a:cubicBezTo>
                    <a:pt x="327" y="128"/>
                    <a:pt x="327" y="128"/>
                    <a:pt x="327" y="128"/>
                  </a:cubicBezTo>
                  <a:cubicBezTo>
                    <a:pt x="258" y="128"/>
                    <a:pt x="258" y="128"/>
                    <a:pt x="258" y="128"/>
                  </a:cubicBezTo>
                  <a:cubicBezTo>
                    <a:pt x="258" y="340"/>
                    <a:pt x="258" y="340"/>
                    <a:pt x="258" y="340"/>
                  </a:cubicBezTo>
                  <a:cubicBezTo>
                    <a:pt x="69" y="340"/>
                    <a:pt x="69" y="340"/>
                    <a:pt x="69" y="340"/>
                  </a:cubicBezTo>
                  <a:cubicBezTo>
                    <a:pt x="69" y="128"/>
                    <a:pt x="69" y="128"/>
                    <a:pt x="69" y="128"/>
                  </a:cubicBezTo>
                  <a:cubicBezTo>
                    <a:pt x="0" y="128"/>
                    <a:pt x="0" y="128"/>
                    <a:pt x="0" y="128"/>
                  </a:cubicBezTo>
                  <a:cubicBezTo>
                    <a:pt x="0" y="70"/>
                    <a:pt x="0" y="70"/>
                    <a:pt x="0" y="70"/>
                  </a:cubicBezTo>
                  <a:cubicBezTo>
                    <a:pt x="0" y="32"/>
                    <a:pt x="31" y="0"/>
                    <a:pt x="6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2" name="Freeform 384"/>
            <p:cNvSpPr>
              <a:spLocks/>
            </p:cNvSpPr>
            <p:nvPr/>
          </p:nvSpPr>
          <p:spPr bwMode="auto">
            <a:xfrm>
              <a:off x="7159625" y="2120900"/>
              <a:ext cx="266700" cy="398463"/>
            </a:xfrm>
            <a:custGeom>
              <a:avLst/>
              <a:gdLst>
                <a:gd name="T0" fmla="*/ 44 w 117"/>
                <a:gd name="T1" fmla="*/ 175 h 175"/>
                <a:gd name="T2" fmla="*/ 117 w 117"/>
                <a:gd name="T3" fmla="*/ 175 h 175"/>
                <a:gd name="T4" fmla="*/ 117 w 117"/>
                <a:gd name="T5" fmla="*/ 119 h 175"/>
                <a:gd name="T6" fmla="*/ 51 w 117"/>
                <a:gd name="T7" fmla="*/ 119 h 175"/>
                <a:gd name="T8" fmla="*/ 51 w 117"/>
                <a:gd name="T9" fmla="*/ 0 h 175"/>
                <a:gd name="T10" fmla="*/ 0 w 117"/>
                <a:gd name="T11" fmla="*/ 0 h 175"/>
                <a:gd name="T12" fmla="*/ 0 w 117"/>
                <a:gd name="T13" fmla="*/ 131 h 175"/>
                <a:gd name="T14" fmla="*/ 44 w 117"/>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75">
                  <a:moveTo>
                    <a:pt x="44" y="175"/>
                  </a:moveTo>
                  <a:cubicBezTo>
                    <a:pt x="117" y="175"/>
                    <a:pt x="117" y="175"/>
                    <a:pt x="117" y="175"/>
                  </a:cubicBezTo>
                  <a:cubicBezTo>
                    <a:pt x="117" y="119"/>
                    <a:pt x="117" y="119"/>
                    <a:pt x="117" y="119"/>
                  </a:cubicBezTo>
                  <a:cubicBezTo>
                    <a:pt x="51" y="119"/>
                    <a:pt x="51" y="119"/>
                    <a:pt x="51" y="119"/>
                  </a:cubicBezTo>
                  <a:cubicBezTo>
                    <a:pt x="51" y="0"/>
                    <a:pt x="51" y="0"/>
                    <a:pt x="51" y="0"/>
                  </a:cubicBezTo>
                  <a:cubicBezTo>
                    <a:pt x="0" y="0"/>
                    <a:pt x="0" y="0"/>
                    <a:pt x="0" y="0"/>
                  </a:cubicBezTo>
                  <a:cubicBezTo>
                    <a:pt x="0" y="131"/>
                    <a:pt x="0" y="131"/>
                    <a:pt x="0" y="131"/>
                  </a:cubicBezTo>
                  <a:cubicBezTo>
                    <a:pt x="0" y="155"/>
                    <a:pt x="20" y="175"/>
                    <a:pt x="44"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3" name="Rectangle 385"/>
            <p:cNvSpPr>
              <a:spLocks noChangeArrowheads="1"/>
            </p:cNvSpPr>
            <p:nvPr/>
          </p:nvSpPr>
          <p:spPr bwMode="auto">
            <a:xfrm>
              <a:off x="6569075" y="2120900"/>
              <a:ext cx="117475" cy="69056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4" name="Freeform 386"/>
            <p:cNvSpPr>
              <a:spLocks/>
            </p:cNvSpPr>
            <p:nvPr/>
          </p:nvSpPr>
          <p:spPr bwMode="auto">
            <a:xfrm>
              <a:off x="6569075" y="2693988"/>
              <a:ext cx="117475" cy="231775"/>
            </a:xfrm>
            <a:custGeom>
              <a:avLst/>
              <a:gdLst>
                <a:gd name="T0" fmla="*/ 51 w 51"/>
                <a:gd name="T1" fmla="*/ 0 h 102"/>
                <a:gd name="T2" fmla="*/ 51 w 51"/>
                <a:gd name="T3" fmla="*/ 102 h 102"/>
                <a:gd name="T4" fmla="*/ 0 w 51"/>
                <a:gd name="T5" fmla="*/ 51 h 102"/>
                <a:gd name="T6" fmla="*/ 51 w 51"/>
                <a:gd name="T7" fmla="*/ 0 h 102"/>
              </a:gdLst>
              <a:ahLst/>
              <a:cxnLst>
                <a:cxn ang="0">
                  <a:pos x="T0" y="T1"/>
                </a:cxn>
                <a:cxn ang="0">
                  <a:pos x="T2" y="T3"/>
                </a:cxn>
                <a:cxn ang="0">
                  <a:pos x="T4" y="T5"/>
                </a:cxn>
                <a:cxn ang="0">
                  <a:pos x="T6" y="T7"/>
                </a:cxn>
              </a:cxnLst>
              <a:rect l="0" t="0" r="r" b="b"/>
              <a:pathLst>
                <a:path w="51" h="102">
                  <a:moveTo>
                    <a:pt x="51" y="0"/>
                  </a:moveTo>
                  <a:cubicBezTo>
                    <a:pt x="51" y="102"/>
                    <a:pt x="51" y="102"/>
                    <a:pt x="51" y="102"/>
                  </a:cubicBezTo>
                  <a:cubicBezTo>
                    <a:pt x="22" y="102"/>
                    <a:pt x="0" y="79"/>
                    <a:pt x="0" y="51"/>
                  </a:cubicBezTo>
                  <a:cubicBezTo>
                    <a:pt x="0" y="23"/>
                    <a:pt x="22" y="0"/>
                    <a:pt x="5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5" name="Freeform 387"/>
            <p:cNvSpPr>
              <a:spLocks/>
            </p:cNvSpPr>
            <p:nvPr/>
          </p:nvSpPr>
          <p:spPr bwMode="auto">
            <a:xfrm>
              <a:off x="7307263" y="2401888"/>
              <a:ext cx="234950" cy="117475"/>
            </a:xfrm>
            <a:custGeom>
              <a:avLst/>
              <a:gdLst>
                <a:gd name="T0" fmla="*/ 0 w 103"/>
                <a:gd name="T1" fmla="*/ 0 h 52"/>
                <a:gd name="T2" fmla="*/ 103 w 103"/>
                <a:gd name="T3" fmla="*/ 0 h 52"/>
                <a:gd name="T4" fmla="*/ 52 w 103"/>
                <a:gd name="T5" fmla="*/ 52 h 52"/>
                <a:gd name="T6" fmla="*/ 0 w 103"/>
                <a:gd name="T7" fmla="*/ 0 h 52"/>
              </a:gdLst>
              <a:ahLst/>
              <a:cxnLst>
                <a:cxn ang="0">
                  <a:pos x="T0" y="T1"/>
                </a:cxn>
                <a:cxn ang="0">
                  <a:pos x="T2" y="T3"/>
                </a:cxn>
                <a:cxn ang="0">
                  <a:pos x="T4" y="T5"/>
                </a:cxn>
                <a:cxn ang="0">
                  <a:pos x="T6" y="T7"/>
                </a:cxn>
              </a:cxnLst>
              <a:rect l="0" t="0" r="r" b="b"/>
              <a:pathLst>
                <a:path w="103" h="52">
                  <a:moveTo>
                    <a:pt x="0" y="0"/>
                  </a:moveTo>
                  <a:cubicBezTo>
                    <a:pt x="103" y="0"/>
                    <a:pt x="103" y="0"/>
                    <a:pt x="103" y="0"/>
                  </a:cubicBezTo>
                  <a:cubicBezTo>
                    <a:pt x="103" y="29"/>
                    <a:pt x="80" y="52"/>
                    <a:pt x="52" y="52"/>
                  </a:cubicBezTo>
                  <a:cubicBezTo>
                    <a:pt x="23" y="52"/>
                    <a:pt x="0" y="29"/>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7" name="Rectangle 389"/>
            <p:cNvSpPr>
              <a:spLocks noChangeArrowheads="1"/>
            </p:cNvSpPr>
            <p:nvPr/>
          </p:nvSpPr>
          <p:spPr bwMode="auto">
            <a:xfrm>
              <a:off x="7212013" y="2349500"/>
              <a:ext cx="512763" cy="523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8" name="Freeform 390"/>
            <p:cNvSpPr>
              <a:spLocks/>
            </p:cNvSpPr>
            <p:nvPr/>
          </p:nvSpPr>
          <p:spPr bwMode="auto">
            <a:xfrm>
              <a:off x="7331075" y="2089150"/>
              <a:ext cx="536575" cy="260350"/>
            </a:xfrm>
            <a:custGeom>
              <a:avLst/>
              <a:gdLst>
                <a:gd name="T0" fmla="*/ 87 w 338"/>
                <a:gd name="T1" fmla="*/ 0 h 164"/>
                <a:gd name="T2" fmla="*/ 338 w 338"/>
                <a:gd name="T3" fmla="*/ 0 h 164"/>
                <a:gd name="T4" fmla="*/ 248 w 338"/>
                <a:gd name="T5" fmla="*/ 164 h 164"/>
                <a:gd name="T6" fmla="*/ 0 w 338"/>
                <a:gd name="T7" fmla="*/ 164 h 164"/>
                <a:gd name="T8" fmla="*/ 87 w 338"/>
                <a:gd name="T9" fmla="*/ 0 h 164"/>
              </a:gdLst>
              <a:ahLst/>
              <a:cxnLst>
                <a:cxn ang="0">
                  <a:pos x="T0" y="T1"/>
                </a:cxn>
                <a:cxn ang="0">
                  <a:pos x="T2" y="T3"/>
                </a:cxn>
                <a:cxn ang="0">
                  <a:pos x="T4" y="T5"/>
                </a:cxn>
                <a:cxn ang="0">
                  <a:pos x="T6" y="T7"/>
                </a:cxn>
                <a:cxn ang="0">
                  <a:pos x="T8" y="T9"/>
                </a:cxn>
              </a:cxnLst>
              <a:rect l="0" t="0" r="r" b="b"/>
              <a:pathLst>
                <a:path w="338" h="164">
                  <a:moveTo>
                    <a:pt x="87" y="0"/>
                  </a:moveTo>
                  <a:lnTo>
                    <a:pt x="338" y="0"/>
                  </a:lnTo>
                  <a:lnTo>
                    <a:pt x="248" y="164"/>
                  </a:lnTo>
                  <a:lnTo>
                    <a:pt x="0" y="164"/>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9" name="Rectangle 391"/>
            <p:cNvSpPr>
              <a:spLocks noChangeArrowheads="1"/>
            </p:cNvSpPr>
            <p:nvPr/>
          </p:nvSpPr>
          <p:spPr bwMode="auto">
            <a:xfrm>
              <a:off x="7212013" y="2349500"/>
              <a:ext cx="119063" cy="52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0" name="Freeform 392"/>
            <p:cNvSpPr>
              <a:spLocks/>
            </p:cNvSpPr>
            <p:nvPr/>
          </p:nvSpPr>
          <p:spPr bwMode="auto">
            <a:xfrm>
              <a:off x="6853238" y="1673225"/>
              <a:ext cx="136525" cy="225425"/>
            </a:xfrm>
            <a:custGeom>
              <a:avLst/>
              <a:gdLst>
                <a:gd name="T0" fmla="*/ 43 w 86"/>
                <a:gd name="T1" fmla="*/ 142 h 142"/>
                <a:gd name="T2" fmla="*/ 86 w 86"/>
                <a:gd name="T3" fmla="*/ 99 h 142"/>
                <a:gd name="T4" fmla="*/ 86 w 86"/>
                <a:gd name="T5" fmla="*/ 0 h 142"/>
                <a:gd name="T6" fmla="*/ 0 w 86"/>
                <a:gd name="T7" fmla="*/ 0 h 142"/>
                <a:gd name="T8" fmla="*/ 0 w 86"/>
                <a:gd name="T9" fmla="*/ 99 h 142"/>
                <a:gd name="T10" fmla="*/ 43 w 86"/>
                <a:gd name="T11" fmla="*/ 142 h 142"/>
              </a:gdLst>
              <a:ahLst/>
              <a:cxnLst>
                <a:cxn ang="0">
                  <a:pos x="T0" y="T1"/>
                </a:cxn>
                <a:cxn ang="0">
                  <a:pos x="T2" y="T3"/>
                </a:cxn>
                <a:cxn ang="0">
                  <a:pos x="T4" y="T5"/>
                </a:cxn>
                <a:cxn ang="0">
                  <a:pos x="T6" y="T7"/>
                </a:cxn>
                <a:cxn ang="0">
                  <a:pos x="T8" y="T9"/>
                </a:cxn>
                <a:cxn ang="0">
                  <a:pos x="T10" y="T11"/>
                </a:cxn>
              </a:cxnLst>
              <a:rect l="0" t="0" r="r" b="b"/>
              <a:pathLst>
                <a:path w="86" h="142">
                  <a:moveTo>
                    <a:pt x="43" y="142"/>
                  </a:moveTo>
                  <a:lnTo>
                    <a:pt x="86" y="99"/>
                  </a:lnTo>
                  <a:lnTo>
                    <a:pt x="86" y="0"/>
                  </a:lnTo>
                  <a:lnTo>
                    <a:pt x="0" y="0"/>
                  </a:lnTo>
                  <a:lnTo>
                    <a:pt x="0" y="99"/>
                  </a:lnTo>
                  <a:lnTo>
                    <a:pt x="43" y="142"/>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1" name="Freeform 393"/>
            <p:cNvSpPr>
              <a:spLocks/>
            </p:cNvSpPr>
            <p:nvPr/>
          </p:nvSpPr>
          <p:spPr bwMode="auto">
            <a:xfrm>
              <a:off x="6853238" y="1673225"/>
              <a:ext cx="136525" cy="117475"/>
            </a:xfrm>
            <a:custGeom>
              <a:avLst/>
              <a:gdLst>
                <a:gd name="T0" fmla="*/ 60 w 60"/>
                <a:gd name="T1" fmla="*/ 48 h 52"/>
                <a:gd name="T2" fmla="*/ 31 w 60"/>
                <a:gd name="T3" fmla="*/ 52 h 52"/>
                <a:gd name="T4" fmla="*/ 0 w 60"/>
                <a:gd name="T5" fmla="*/ 48 h 52"/>
                <a:gd name="T6" fmla="*/ 0 w 60"/>
                <a:gd name="T7" fmla="*/ 0 h 52"/>
                <a:gd name="T8" fmla="*/ 60 w 60"/>
                <a:gd name="T9" fmla="*/ 0 h 52"/>
                <a:gd name="T10" fmla="*/ 6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60" y="48"/>
                  </a:moveTo>
                  <a:cubicBezTo>
                    <a:pt x="51" y="51"/>
                    <a:pt x="41" y="52"/>
                    <a:pt x="31" y="52"/>
                  </a:cubicBezTo>
                  <a:cubicBezTo>
                    <a:pt x="20" y="52"/>
                    <a:pt x="10" y="51"/>
                    <a:pt x="0" y="48"/>
                  </a:cubicBezTo>
                  <a:cubicBezTo>
                    <a:pt x="0" y="0"/>
                    <a:pt x="0" y="0"/>
                    <a:pt x="0" y="0"/>
                  </a:cubicBezTo>
                  <a:cubicBezTo>
                    <a:pt x="60" y="0"/>
                    <a:pt x="60" y="0"/>
                    <a:pt x="60" y="0"/>
                  </a:cubicBezTo>
                  <a:lnTo>
                    <a:pt x="6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2" name="Freeform 394"/>
            <p:cNvSpPr>
              <a:spLocks/>
            </p:cNvSpPr>
            <p:nvPr/>
          </p:nvSpPr>
          <p:spPr bwMode="auto">
            <a:xfrm>
              <a:off x="6761163" y="1460500"/>
              <a:ext cx="322263" cy="306388"/>
            </a:xfrm>
            <a:custGeom>
              <a:avLst/>
              <a:gdLst>
                <a:gd name="T0" fmla="*/ 141 w 141"/>
                <a:gd name="T1" fmla="*/ 0 h 134"/>
                <a:gd name="T2" fmla="*/ 141 w 141"/>
                <a:gd name="T3" fmla="*/ 110 h 134"/>
                <a:gd name="T4" fmla="*/ 140 w 141"/>
                <a:gd name="T5" fmla="*/ 110 h 134"/>
                <a:gd name="T6" fmla="*/ 71 w 141"/>
                <a:gd name="T7" fmla="*/ 134 h 134"/>
                <a:gd name="T8" fmla="*/ 0 w 141"/>
                <a:gd name="T9" fmla="*/ 110 h 134"/>
                <a:gd name="T10" fmla="*/ 0 w 141"/>
                <a:gd name="T11" fmla="*/ 0 h 134"/>
                <a:gd name="T12" fmla="*/ 141 w 141"/>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41" h="134">
                  <a:moveTo>
                    <a:pt x="141" y="0"/>
                  </a:moveTo>
                  <a:cubicBezTo>
                    <a:pt x="141" y="110"/>
                    <a:pt x="141" y="110"/>
                    <a:pt x="141" y="110"/>
                  </a:cubicBezTo>
                  <a:cubicBezTo>
                    <a:pt x="140" y="110"/>
                    <a:pt x="140" y="110"/>
                    <a:pt x="140" y="110"/>
                  </a:cubicBezTo>
                  <a:cubicBezTo>
                    <a:pt x="121" y="125"/>
                    <a:pt x="97" y="134"/>
                    <a:pt x="71" y="134"/>
                  </a:cubicBezTo>
                  <a:cubicBezTo>
                    <a:pt x="45" y="134"/>
                    <a:pt x="19" y="125"/>
                    <a:pt x="0" y="110"/>
                  </a:cubicBezTo>
                  <a:cubicBezTo>
                    <a:pt x="0" y="0"/>
                    <a:pt x="0" y="0"/>
                    <a:pt x="0" y="0"/>
                  </a:cubicBezTo>
                  <a:lnTo>
                    <a:pt x="141"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3" name="Rectangle 395"/>
            <p:cNvSpPr>
              <a:spLocks noChangeArrowheads="1"/>
            </p:cNvSpPr>
            <p:nvPr/>
          </p:nvSpPr>
          <p:spPr bwMode="auto">
            <a:xfrm>
              <a:off x="6569075" y="2120900"/>
              <a:ext cx="117475" cy="3492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4" name="Rectangle 396"/>
            <p:cNvSpPr>
              <a:spLocks noChangeArrowheads="1"/>
            </p:cNvSpPr>
            <p:nvPr/>
          </p:nvSpPr>
          <p:spPr bwMode="auto">
            <a:xfrm>
              <a:off x="7159625" y="2120900"/>
              <a:ext cx="115888" cy="3492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5" name="Rectangle 397"/>
            <p:cNvSpPr>
              <a:spLocks noChangeArrowheads="1"/>
            </p:cNvSpPr>
            <p:nvPr/>
          </p:nvSpPr>
          <p:spPr bwMode="auto">
            <a:xfrm>
              <a:off x="7058025" y="1439863"/>
              <a:ext cx="25400" cy="169863"/>
            </a:xfrm>
            <a:prstGeom prst="rect">
              <a:avLst/>
            </a:pr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6" name="Rectangle 398"/>
            <p:cNvSpPr>
              <a:spLocks noChangeArrowheads="1"/>
            </p:cNvSpPr>
            <p:nvPr/>
          </p:nvSpPr>
          <p:spPr bwMode="auto">
            <a:xfrm>
              <a:off x="6761163" y="1439863"/>
              <a:ext cx="25400" cy="169863"/>
            </a:xfrm>
            <a:prstGeom prst="rect">
              <a:avLst/>
            </a:pr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7" name="Oval 399"/>
            <p:cNvSpPr>
              <a:spLocks noChangeArrowheads="1"/>
            </p:cNvSpPr>
            <p:nvPr/>
          </p:nvSpPr>
          <p:spPr bwMode="auto">
            <a:xfrm>
              <a:off x="6823075" y="1554163"/>
              <a:ext cx="25400" cy="254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8" name="Oval 400"/>
            <p:cNvSpPr>
              <a:spLocks noChangeArrowheads="1"/>
            </p:cNvSpPr>
            <p:nvPr/>
          </p:nvSpPr>
          <p:spPr bwMode="auto">
            <a:xfrm>
              <a:off x="6997700" y="1554163"/>
              <a:ext cx="23813" cy="254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9" name="Freeform 401"/>
            <p:cNvSpPr>
              <a:spLocks/>
            </p:cNvSpPr>
            <p:nvPr/>
          </p:nvSpPr>
          <p:spPr bwMode="auto">
            <a:xfrm>
              <a:off x="6900863" y="1627188"/>
              <a:ext cx="42863" cy="20638"/>
            </a:xfrm>
            <a:custGeom>
              <a:avLst/>
              <a:gdLst>
                <a:gd name="T0" fmla="*/ 9 w 19"/>
                <a:gd name="T1" fmla="*/ 9 h 9"/>
                <a:gd name="T2" fmla="*/ 19 w 19"/>
                <a:gd name="T3" fmla="*/ 0 h 9"/>
                <a:gd name="T4" fmla="*/ 0 w 19"/>
                <a:gd name="T5" fmla="*/ 0 h 9"/>
                <a:gd name="T6" fmla="*/ 9 w 19"/>
                <a:gd name="T7" fmla="*/ 9 h 9"/>
              </a:gdLst>
              <a:ahLst/>
              <a:cxnLst>
                <a:cxn ang="0">
                  <a:pos x="T0" y="T1"/>
                </a:cxn>
                <a:cxn ang="0">
                  <a:pos x="T2" y="T3"/>
                </a:cxn>
                <a:cxn ang="0">
                  <a:pos x="T4" y="T5"/>
                </a:cxn>
                <a:cxn ang="0">
                  <a:pos x="T6" y="T7"/>
                </a:cxn>
              </a:cxnLst>
              <a:rect l="0" t="0" r="r" b="b"/>
              <a:pathLst>
                <a:path w="19" h="9">
                  <a:moveTo>
                    <a:pt x="9" y="9"/>
                  </a:moveTo>
                  <a:cubicBezTo>
                    <a:pt x="15" y="9"/>
                    <a:pt x="19" y="5"/>
                    <a:pt x="19" y="0"/>
                  </a:cubicBezTo>
                  <a:cubicBezTo>
                    <a:pt x="0" y="0"/>
                    <a:pt x="0" y="0"/>
                    <a:pt x="0" y="0"/>
                  </a:cubicBezTo>
                  <a:cubicBezTo>
                    <a:pt x="0" y="5"/>
                    <a:pt x="4" y="9"/>
                    <a:pt x="9" y="9"/>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0" name="Freeform 402"/>
            <p:cNvSpPr>
              <a:spLocks/>
            </p:cNvSpPr>
            <p:nvPr/>
          </p:nvSpPr>
          <p:spPr bwMode="auto">
            <a:xfrm>
              <a:off x="6875463" y="1700213"/>
              <a:ext cx="93663" cy="26988"/>
            </a:xfrm>
            <a:custGeom>
              <a:avLst/>
              <a:gdLst>
                <a:gd name="T0" fmla="*/ 41 w 41"/>
                <a:gd name="T1" fmla="*/ 6 h 12"/>
                <a:gd name="T2" fmla="*/ 36 w 41"/>
                <a:gd name="T3" fmla="*/ 12 h 12"/>
                <a:gd name="T4" fmla="*/ 5 w 41"/>
                <a:gd name="T5" fmla="*/ 12 h 12"/>
                <a:gd name="T6" fmla="*/ 0 w 41"/>
                <a:gd name="T7" fmla="*/ 6 h 12"/>
                <a:gd name="T8" fmla="*/ 0 w 41"/>
                <a:gd name="T9" fmla="*/ 6 h 12"/>
                <a:gd name="T10" fmla="*/ 5 w 41"/>
                <a:gd name="T11" fmla="*/ 0 h 12"/>
                <a:gd name="T12" fmla="*/ 36 w 41"/>
                <a:gd name="T13" fmla="*/ 0 h 12"/>
                <a:gd name="T14" fmla="*/ 41 w 4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41" y="6"/>
                  </a:moveTo>
                  <a:cubicBezTo>
                    <a:pt x="41" y="9"/>
                    <a:pt x="39" y="12"/>
                    <a:pt x="36" y="12"/>
                  </a:cubicBezTo>
                  <a:cubicBezTo>
                    <a:pt x="5" y="12"/>
                    <a:pt x="5" y="12"/>
                    <a:pt x="5" y="12"/>
                  </a:cubicBezTo>
                  <a:cubicBezTo>
                    <a:pt x="2" y="12"/>
                    <a:pt x="0" y="9"/>
                    <a:pt x="0" y="6"/>
                  </a:cubicBezTo>
                  <a:cubicBezTo>
                    <a:pt x="0" y="6"/>
                    <a:pt x="0" y="6"/>
                    <a:pt x="0" y="6"/>
                  </a:cubicBezTo>
                  <a:cubicBezTo>
                    <a:pt x="0" y="3"/>
                    <a:pt x="2" y="0"/>
                    <a:pt x="5" y="0"/>
                  </a:cubicBezTo>
                  <a:cubicBezTo>
                    <a:pt x="36" y="0"/>
                    <a:pt x="36" y="0"/>
                    <a:pt x="36" y="0"/>
                  </a:cubicBezTo>
                  <a:cubicBezTo>
                    <a:pt x="39" y="0"/>
                    <a:pt x="41" y="3"/>
                    <a:pt x="41" y="6"/>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1" name="Freeform 403"/>
            <p:cNvSpPr>
              <a:spLocks noEditPoints="1"/>
            </p:cNvSpPr>
            <p:nvPr/>
          </p:nvSpPr>
          <p:spPr bwMode="auto">
            <a:xfrm>
              <a:off x="6834188" y="1647825"/>
              <a:ext cx="176213" cy="157163"/>
            </a:xfrm>
            <a:custGeom>
              <a:avLst/>
              <a:gdLst>
                <a:gd name="T0" fmla="*/ 38 w 77"/>
                <a:gd name="T1" fmla="*/ 0 h 69"/>
                <a:gd name="T2" fmla="*/ 0 w 77"/>
                <a:gd name="T3" fmla="*/ 39 h 69"/>
                <a:gd name="T4" fmla="*/ 0 w 77"/>
                <a:gd name="T5" fmla="*/ 60 h 69"/>
                <a:gd name="T6" fmla="*/ 0 w 77"/>
                <a:gd name="T7" fmla="*/ 63 h 69"/>
                <a:gd name="T8" fmla="*/ 39 w 77"/>
                <a:gd name="T9" fmla="*/ 69 h 69"/>
                <a:gd name="T10" fmla="*/ 77 w 77"/>
                <a:gd name="T11" fmla="*/ 63 h 69"/>
                <a:gd name="T12" fmla="*/ 77 w 77"/>
                <a:gd name="T13" fmla="*/ 60 h 69"/>
                <a:gd name="T14" fmla="*/ 77 w 77"/>
                <a:gd name="T15" fmla="*/ 39 h 69"/>
                <a:gd name="T16" fmla="*/ 38 w 77"/>
                <a:gd name="T17" fmla="*/ 0 h 69"/>
                <a:gd name="T18" fmla="*/ 61 w 77"/>
                <a:gd name="T19" fmla="*/ 45 h 69"/>
                <a:gd name="T20" fmla="*/ 45 w 77"/>
                <a:gd name="T21" fmla="*/ 48 h 69"/>
                <a:gd name="T22" fmla="*/ 45 w 77"/>
                <a:gd name="T23" fmla="*/ 35 h 69"/>
                <a:gd name="T24" fmla="*/ 32 w 77"/>
                <a:gd name="T25" fmla="*/ 35 h 69"/>
                <a:gd name="T26" fmla="*/ 32 w 77"/>
                <a:gd name="T27" fmla="*/ 48 h 69"/>
                <a:gd name="T28" fmla="*/ 15 w 77"/>
                <a:gd name="T29" fmla="*/ 45 h 69"/>
                <a:gd name="T30" fmla="*/ 15 w 77"/>
                <a:gd name="T31" fmla="*/ 37 h 69"/>
                <a:gd name="T32" fmla="*/ 38 w 77"/>
                <a:gd name="T33" fmla="*/ 24 h 69"/>
                <a:gd name="T34" fmla="*/ 62 w 77"/>
                <a:gd name="T35" fmla="*/ 37 h 69"/>
                <a:gd name="T36" fmla="*/ 61 w 77"/>
                <a:gd name="T37"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69">
                  <a:moveTo>
                    <a:pt x="38" y="0"/>
                  </a:moveTo>
                  <a:cubicBezTo>
                    <a:pt x="17" y="0"/>
                    <a:pt x="0" y="18"/>
                    <a:pt x="0" y="39"/>
                  </a:cubicBezTo>
                  <a:cubicBezTo>
                    <a:pt x="0" y="60"/>
                    <a:pt x="0" y="60"/>
                    <a:pt x="0" y="60"/>
                  </a:cubicBezTo>
                  <a:cubicBezTo>
                    <a:pt x="0" y="61"/>
                    <a:pt x="0" y="62"/>
                    <a:pt x="0" y="63"/>
                  </a:cubicBezTo>
                  <a:cubicBezTo>
                    <a:pt x="13" y="67"/>
                    <a:pt x="25" y="69"/>
                    <a:pt x="39" y="69"/>
                  </a:cubicBezTo>
                  <a:cubicBezTo>
                    <a:pt x="52" y="69"/>
                    <a:pt x="65" y="67"/>
                    <a:pt x="77" y="63"/>
                  </a:cubicBezTo>
                  <a:cubicBezTo>
                    <a:pt x="77" y="62"/>
                    <a:pt x="77" y="61"/>
                    <a:pt x="77" y="60"/>
                  </a:cubicBezTo>
                  <a:cubicBezTo>
                    <a:pt x="77" y="39"/>
                    <a:pt x="77" y="39"/>
                    <a:pt x="77" y="39"/>
                  </a:cubicBezTo>
                  <a:cubicBezTo>
                    <a:pt x="77" y="18"/>
                    <a:pt x="60" y="0"/>
                    <a:pt x="38" y="0"/>
                  </a:cubicBezTo>
                  <a:close/>
                  <a:moveTo>
                    <a:pt x="61" y="45"/>
                  </a:moveTo>
                  <a:cubicBezTo>
                    <a:pt x="56" y="46"/>
                    <a:pt x="50" y="47"/>
                    <a:pt x="45" y="48"/>
                  </a:cubicBezTo>
                  <a:cubicBezTo>
                    <a:pt x="45" y="35"/>
                    <a:pt x="45" y="35"/>
                    <a:pt x="45" y="35"/>
                  </a:cubicBezTo>
                  <a:cubicBezTo>
                    <a:pt x="32" y="35"/>
                    <a:pt x="32" y="35"/>
                    <a:pt x="32" y="35"/>
                  </a:cubicBezTo>
                  <a:cubicBezTo>
                    <a:pt x="32" y="48"/>
                    <a:pt x="32" y="48"/>
                    <a:pt x="32" y="48"/>
                  </a:cubicBezTo>
                  <a:cubicBezTo>
                    <a:pt x="27" y="47"/>
                    <a:pt x="21" y="46"/>
                    <a:pt x="15" y="45"/>
                  </a:cubicBezTo>
                  <a:cubicBezTo>
                    <a:pt x="15" y="44"/>
                    <a:pt x="15" y="37"/>
                    <a:pt x="15" y="37"/>
                  </a:cubicBezTo>
                  <a:cubicBezTo>
                    <a:pt x="15" y="24"/>
                    <a:pt x="26" y="24"/>
                    <a:pt x="38" y="24"/>
                  </a:cubicBezTo>
                  <a:cubicBezTo>
                    <a:pt x="51" y="24"/>
                    <a:pt x="62" y="24"/>
                    <a:pt x="62" y="37"/>
                  </a:cubicBezTo>
                  <a:cubicBezTo>
                    <a:pt x="62" y="37"/>
                    <a:pt x="61" y="44"/>
                    <a:pt x="61" y="45"/>
                  </a:cubicBezTo>
                  <a:close/>
                </a:path>
              </a:pathLst>
            </a:cu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928" name="Group 927"/>
          <p:cNvGrpSpPr/>
          <p:nvPr/>
        </p:nvGrpSpPr>
        <p:grpSpPr>
          <a:xfrm>
            <a:off x="9744538" y="611808"/>
            <a:ext cx="1828541" cy="1828540"/>
            <a:chOff x="517688" y="1521297"/>
            <a:chExt cx="1828800" cy="1828800"/>
          </a:xfrm>
        </p:grpSpPr>
        <p:sp>
          <p:nvSpPr>
            <p:cNvPr id="923" name="Oval 922"/>
            <p:cNvSpPr/>
            <p:nvPr/>
          </p:nvSpPr>
          <p:spPr bwMode="auto">
            <a:xfrm>
              <a:off x="517688" y="1521297"/>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25" name="Rectangle 924"/>
            <p:cNvSpPr/>
            <p:nvPr/>
          </p:nvSpPr>
          <p:spPr>
            <a:xfrm>
              <a:off x="610167" y="1773208"/>
              <a:ext cx="1643845" cy="1156971"/>
            </a:xfrm>
            <a:prstGeom prst="rect">
              <a:avLst/>
            </a:prstGeom>
          </p:spPr>
          <p:txBody>
            <a:bodyPr wrap="square" lIns="0" rIns="0">
              <a:spAutoFit/>
            </a:bodyPr>
            <a:lstStyle/>
            <a:p>
              <a:pPr algn="ctr" defTabSz="895880">
                <a:lnSpc>
                  <a:spcPct val="90000"/>
                </a:lnSpc>
                <a:spcAft>
                  <a:spcPts val="588"/>
                </a:spcAft>
                <a:defRPr/>
              </a:pPr>
              <a:r>
                <a:rPr lang="en-US" sz="1400" kern="0" dirty="0">
                  <a:solidFill>
                    <a:sysClr val="windowText" lastClr="000000"/>
                  </a:solidFill>
                </a:rPr>
                <a:t>Over </a:t>
              </a:r>
              <a:br>
                <a:rPr lang="en-US" sz="1400" kern="0" dirty="0">
                  <a:solidFill>
                    <a:sysClr val="windowText" lastClr="000000"/>
                  </a:solidFill>
                </a:rPr>
              </a:br>
              <a:r>
                <a:rPr lang="en-US" sz="3500" kern="0" dirty="0">
                  <a:solidFill>
                    <a:sysClr val="windowText" lastClr="000000"/>
                  </a:solidFill>
                </a:rPr>
                <a:t>4 trillion </a:t>
              </a:r>
              <a:r>
                <a:rPr lang="en-US" sz="1400" kern="0" dirty="0">
                  <a:solidFill>
                    <a:sysClr val="windowText" lastClr="000000"/>
                  </a:solidFill>
                </a:rPr>
                <a:t/>
              </a:r>
              <a:br>
                <a:rPr lang="en-US" sz="1400" kern="0" dirty="0">
                  <a:solidFill>
                    <a:sysClr val="windowText" lastClr="000000"/>
                  </a:solidFill>
                </a:rPr>
              </a:br>
              <a:r>
                <a:rPr lang="en-US" sz="1400" kern="0" dirty="0">
                  <a:solidFill>
                    <a:sysClr val="windowText" lastClr="000000"/>
                  </a:solidFill>
                </a:rPr>
                <a:t>emails sent </a:t>
              </a:r>
              <a:br>
                <a:rPr lang="en-US" sz="1400" kern="0" dirty="0">
                  <a:solidFill>
                    <a:sysClr val="windowText" lastClr="000000"/>
                  </a:solidFill>
                </a:rPr>
              </a:br>
              <a:r>
                <a:rPr lang="en-US" sz="1400" kern="0" dirty="0">
                  <a:solidFill>
                    <a:sysClr val="windowText" lastClr="000000"/>
                  </a:solidFill>
                </a:rPr>
                <a:t>with O365</a:t>
              </a:r>
            </a:p>
          </p:txBody>
        </p:sp>
      </p:grpSp>
      <p:grpSp>
        <p:nvGrpSpPr>
          <p:cNvPr id="929" name="Group 928"/>
          <p:cNvGrpSpPr/>
          <p:nvPr/>
        </p:nvGrpSpPr>
        <p:grpSpPr>
          <a:xfrm>
            <a:off x="2254752" y="1119895"/>
            <a:ext cx="1828541" cy="1828541"/>
            <a:chOff x="2589564" y="1137485"/>
            <a:chExt cx="1828800" cy="1828800"/>
          </a:xfrm>
        </p:grpSpPr>
        <p:sp>
          <p:nvSpPr>
            <p:cNvPr id="965" name="Oval 964"/>
            <p:cNvSpPr/>
            <p:nvPr/>
          </p:nvSpPr>
          <p:spPr bwMode="auto">
            <a:xfrm>
              <a:off x="2589564" y="1137485"/>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66" name="Rectangle 965"/>
            <p:cNvSpPr/>
            <p:nvPr/>
          </p:nvSpPr>
          <p:spPr>
            <a:xfrm>
              <a:off x="2682043" y="1271672"/>
              <a:ext cx="1643845" cy="1503313"/>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100+ million </a:t>
              </a:r>
              <a:r>
                <a:rPr lang="en-US" sz="1600" kern="0" dirty="0">
                  <a:solidFill>
                    <a:sysClr val="windowText" lastClr="000000"/>
                  </a:solidFill>
                </a:rPr>
                <a:t>downloads of mobile apps</a:t>
              </a:r>
            </a:p>
          </p:txBody>
        </p:sp>
      </p:grpSp>
      <p:grpSp>
        <p:nvGrpSpPr>
          <p:cNvPr id="930" name="Group 929"/>
          <p:cNvGrpSpPr/>
          <p:nvPr/>
        </p:nvGrpSpPr>
        <p:grpSpPr>
          <a:xfrm>
            <a:off x="6878883" y="599667"/>
            <a:ext cx="1828541" cy="1828541"/>
            <a:chOff x="4714913" y="1251483"/>
            <a:chExt cx="1828800" cy="1828800"/>
          </a:xfrm>
        </p:grpSpPr>
        <p:sp>
          <p:nvSpPr>
            <p:cNvPr id="967" name="Oval 966"/>
            <p:cNvSpPr/>
            <p:nvPr/>
          </p:nvSpPr>
          <p:spPr bwMode="auto">
            <a:xfrm>
              <a:off x="4714913" y="1251483"/>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68" name="Rectangle 967"/>
            <p:cNvSpPr/>
            <p:nvPr/>
          </p:nvSpPr>
          <p:spPr>
            <a:xfrm>
              <a:off x="4807392" y="1385670"/>
              <a:ext cx="1643845" cy="1447863"/>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850 million </a:t>
              </a:r>
              <a:r>
                <a:rPr lang="en-US" sz="1400" kern="0" dirty="0">
                  <a:solidFill>
                    <a:sysClr val="windowText" lastClr="000000"/>
                  </a:solidFill>
                </a:rPr>
                <a:t>meetings are created a month</a:t>
              </a:r>
            </a:p>
          </p:txBody>
        </p:sp>
      </p:grpSp>
      <p:grpSp>
        <p:nvGrpSpPr>
          <p:cNvPr id="931" name="Group 930"/>
          <p:cNvGrpSpPr/>
          <p:nvPr/>
        </p:nvGrpSpPr>
        <p:grpSpPr>
          <a:xfrm>
            <a:off x="4682805" y="1300227"/>
            <a:ext cx="1643612" cy="1592455"/>
            <a:chOff x="6898416" y="1884536"/>
            <a:chExt cx="1643845" cy="1592681"/>
          </a:xfrm>
        </p:grpSpPr>
        <p:sp>
          <p:nvSpPr>
            <p:cNvPr id="969" name="Oval 968"/>
            <p:cNvSpPr/>
            <p:nvPr/>
          </p:nvSpPr>
          <p:spPr bwMode="auto">
            <a:xfrm>
              <a:off x="6923998" y="1884536"/>
              <a:ext cx="1592681" cy="1592681"/>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70" name="Rectangle 969"/>
            <p:cNvSpPr/>
            <p:nvPr/>
          </p:nvSpPr>
          <p:spPr>
            <a:xfrm>
              <a:off x="6898416" y="2025312"/>
              <a:ext cx="1643845" cy="1309427"/>
            </a:xfrm>
            <a:prstGeom prst="rect">
              <a:avLst/>
            </a:prstGeom>
          </p:spPr>
          <p:txBody>
            <a:bodyPr wrap="square" lIns="0" rIns="0">
              <a:spAutoFit/>
            </a:bodyPr>
            <a:lstStyle/>
            <a:p>
              <a:pPr algn="ctr" defTabSz="895880">
                <a:lnSpc>
                  <a:spcPct val="90000"/>
                </a:lnSpc>
                <a:defRPr/>
              </a:pPr>
              <a:r>
                <a:rPr lang="en-US" sz="2800" kern="0" dirty="0">
                  <a:solidFill>
                    <a:sysClr val="windowText" lastClr="000000"/>
                  </a:solidFill>
                </a:rPr>
                <a:t>2–3 </a:t>
              </a:r>
              <a:r>
                <a:rPr lang="en-US" sz="2400" kern="0" dirty="0">
                  <a:solidFill>
                    <a:sysClr val="windowText" lastClr="000000"/>
                  </a:solidFill>
                </a:rPr>
                <a:t>hours/day</a:t>
              </a:r>
              <a:r>
                <a:rPr lang="en-US" sz="2800" kern="0" dirty="0">
                  <a:solidFill>
                    <a:sysClr val="windowText" lastClr="000000"/>
                  </a:solidFill>
                </a:rPr>
                <a:t> </a:t>
              </a:r>
              <a:r>
                <a:rPr lang="en-US" sz="1600" kern="0" dirty="0">
                  <a:solidFill>
                    <a:sysClr val="windowText" lastClr="000000"/>
                  </a:solidFill>
                </a:rPr>
                <a:t>spent in </a:t>
              </a:r>
              <a:br>
                <a:rPr lang="en-US" sz="1600" kern="0" dirty="0">
                  <a:solidFill>
                    <a:sysClr val="windowText" lastClr="000000"/>
                  </a:solidFill>
                </a:rPr>
              </a:br>
              <a:r>
                <a:rPr lang="en-US" sz="1600" kern="0" dirty="0">
                  <a:solidFill>
                    <a:sysClr val="windowText" lastClr="000000"/>
                  </a:solidFill>
                </a:rPr>
                <a:t>Office apps</a:t>
              </a:r>
            </a:p>
          </p:txBody>
        </p:sp>
      </p:grpSp>
      <p:grpSp>
        <p:nvGrpSpPr>
          <p:cNvPr id="927" name="Group 926"/>
          <p:cNvGrpSpPr/>
          <p:nvPr/>
        </p:nvGrpSpPr>
        <p:grpSpPr>
          <a:xfrm>
            <a:off x="570136" y="2000969"/>
            <a:ext cx="1643612" cy="1511521"/>
            <a:chOff x="9479153" y="1630030"/>
            <a:chExt cx="1643845" cy="1511735"/>
          </a:xfrm>
        </p:grpSpPr>
        <p:sp>
          <p:nvSpPr>
            <p:cNvPr id="972" name="Oval 971"/>
            <p:cNvSpPr/>
            <p:nvPr/>
          </p:nvSpPr>
          <p:spPr bwMode="auto">
            <a:xfrm>
              <a:off x="9545208" y="1630030"/>
              <a:ext cx="1511735" cy="1511735"/>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73" name="Rectangle 972"/>
            <p:cNvSpPr/>
            <p:nvPr/>
          </p:nvSpPr>
          <p:spPr>
            <a:xfrm>
              <a:off x="9479153" y="1744183"/>
              <a:ext cx="1643845" cy="1281701"/>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1.2 </a:t>
              </a:r>
              <a:r>
                <a:rPr lang="en-US" sz="3000" kern="0" dirty="0">
                  <a:solidFill>
                    <a:sysClr val="windowText" lastClr="000000"/>
                  </a:solidFill>
                </a:rPr>
                <a:t>billion+</a:t>
              </a:r>
              <a:r>
                <a:rPr lang="en-US" sz="3500" kern="0" dirty="0">
                  <a:solidFill>
                    <a:sysClr val="windowText" lastClr="000000"/>
                  </a:solidFill>
                </a:rPr>
                <a:t> </a:t>
              </a:r>
              <a:r>
                <a:rPr lang="en-US" sz="1600" kern="0" dirty="0">
                  <a:solidFill>
                    <a:sysClr val="windowText" lastClr="000000"/>
                  </a:solidFill>
                </a:rPr>
                <a:t>users</a:t>
              </a:r>
            </a:p>
          </p:txBody>
        </p:sp>
      </p:grpSp>
      <p:grpSp>
        <p:nvGrpSpPr>
          <p:cNvPr id="979" name="Group 978"/>
          <p:cNvGrpSpPr/>
          <p:nvPr/>
        </p:nvGrpSpPr>
        <p:grpSpPr>
          <a:xfrm>
            <a:off x="8945110" y="2393147"/>
            <a:ext cx="1436577" cy="1436576"/>
            <a:chOff x="517688" y="1521297"/>
            <a:chExt cx="1828800" cy="1828800"/>
          </a:xfrm>
        </p:grpSpPr>
        <p:sp>
          <p:nvSpPr>
            <p:cNvPr id="980" name="Oval 979"/>
            <p:cNvSpPr/>
            <p:nvPr/>
          </p:nvSpPr>
          <p:spPr bwMode="auto">
            <a:xfrm>
              <a:off x="517688" y="1521297"/>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81" name="Rectangle 980"/>
            <p:cNvSpPr/>
            <p:nvPr/>
          </p:nvSpPr>
          <p:spPr>
            <a:xfrm>
              <a:off x="610165" y="1773209"/>
              <a:ext cx="1643845" cy="1384622"/>
            </a:xfrm>
            <a:prstGeom prst="rect">
              <a:avLst/>
            </a:prstGeom>
          </p:spPr>
          <p:txBody>
            <a:bodyPr wrap="square" lIns="0" rIns="0">
              <a:spAutoFit/>
            </a:bodyPr>
            <a:lstStyle/>
            <a:p>
              <a:pPr algn="ctr" defTabSz="895880">
                <a:lnSpc>
                  <a:spcPct val="90000"/>
                </a:lnSpc>
                <a:spcAft>
                  <a:spcPts val="588"/>
                </a:spcAft>
                <a:defRPr/>
              </a:pPr>
              <a:r>
                <a:rPr lang="en-US" sz="2800" kern="0" dirty="0">
                  <a:solidFill>
                    <a:sysClr val="windowText" lastClr="000000"/>
                  </a:solidFill>
                </a:rPr>
                <a:t>470+ PB </a:t>
              </a:r>
              <a:r>
                <a:rPr lang="en-US" sz="1400" kern="0" dirty="0">
                  <a:solidFill>
                    <a:sysClr val="windowText" lastClr="000000"/>
                  </a:solidFill>
                </a:rPr>
                <a:t/>
              </a:r>
              <a:br>
                <a:rPr lang="en-US" sz="1400" kern="0" dirty="0">
                  <a:solidFill>
                    <a:sysClr val="windowText" lastClr="000000"/>
                  </a:solidFill>
                </a:rPr>
              </a:br>
              <a:r>
                <a:rPr lang="en-US" sz="1600" kern="0" dirty="0">
                  <a:solidFill>
                    <a:sysClr val="windowText" lastClr="000000"/>
                  </a:solidFill>
                </a:rPr>
                <a:t>of storage</a:t>
              </a:r>
            </a:p>
          </p:txBody>
        </p:sp>
      </p:grpSp>
      <p:grpSp>
        <p:nvGrpSpPr>
          <p:cNvPr id="448" name="Group 447"/>
          <p:cNvGrpSpPr/>
          <p:nvPr/>
        </p:nvGrpSpPr>
        <p:grpSpPr>
          <a:xfrm>
            <a:off x="3650802" y="4587592"/>
            <a:ext cx="554100" cy="1507533"/>
            <a:chOff x="2200275" y="3536950"/>
            <a:chExt cx="920750" cy="2505076"/>
          </a:xfrm>
        </p:grpSpPr>
        <p:sp>
          <p:nvSpPr>
            <p:cNvPr id="408" name="AutoShape 332"/>
            <p:cNvSpPr>
              <a:spLocks noChangeAspect="1" noChangeArrowheads="1" noTextEdit="1"/>
            </p:cNvSpPr>
            <p:nvPr/>
          </p:nvSpPr>
          <p:spPr bwMode="auto">
            <a:xfrm>
              <a:off x="2200275" y="3536950"/>
              <a:ext cx="920750"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09" name="Rectangle 334"/>
            <p:cNvSpPr>
              <a:spLocks noChangeArrowheads="1"/>
            </p:cNvSpPr>
            <p:nvPr/>
          </p:nvSpPr>
          <p:spPr bwMode="auto">
            <a:xfrm>
              <a:off x="2489200" y="3968750"/>
              <a:ext cx="346075" cy="20637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1" name="Freeform 336"/>
            <p:cNvSpPr>
              <a:spLocks/>
            </p:cNvSpPr>
            <p:nvPr/>
          </p:nvSpPr>
          <p:spPr bwMode="auto">
            <a:xfrm>
              <a:off x="2451100" y="3770313"/>
              <a:ext cx="420688" cy="87313"/>
            </a:xfrm>
            <a:custGeom>
              <a:avLst/>
              <a:gdLst>
                <a:gd name="T0" fmla="*/ 196 w 196"/>
                <a:gd name="T1" fmla="*/ 31 h 41"/>
                <a:gd name="T2" fmla="*/ 186 w 196"/>
                <a:gd name="T3" fmla="*/ 41 h 41"/>
                <a:gd name="T4" fmla="*/ 10 w 196"/>
                <a:gd name="T5" fmla="*/ 41 h 41"/>
                <a:gd name="T6" fmla="*/ 0 w 196"/>
                <a:gd name="T7" fmla="*/ 31 h 41"/>
                <a:gd name="T8" fmla="*/ 0 w 196"/>
                <a:gd name="T9" fmla="*/ 10 h 41"/>
                <a:gd name="T10" fmla="*/ 10 w 196"/>
                <a:gd name="T11" fmla="*/ 0 h 41"/>
                <a:gd name="T12" fmla="*/ 186 w 196"/>
                <a:gd name="T13" fmla="*/ 0 h 41"/>
                <a:gd name="T14" fmla="*/ 196 w 196"/>
                <a:gd name="T15" fmla="*/ 10 h 41"/>
                <a:gd name="T16" fmla="*/ 196 w 196"/>
                <a:gd name="T1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1">
                  <a:moveTo>
                    <a:pt x="196" y="31"/>
                  </a:moveTo>
                  <a:cubicBezTo>
                    <a:pt x="196" y="37"/>
                    <a:pt x="192" y="41"/>
                    <a:pt x="186" y="41"/>
                  </a:cubicBezTo>
                  <a:cubicBezTo>
                    <a:pt x="10" y="41"/>
                    <a:pt x="10" y="41"/>
                    <a:pt x="10" y="41"/>
                  </a:cubicBezTo>
                  <a:cubicBezTo>
                    <a:pt x="5" y="41"/>
                    <a:pt x="0" y="37"/>
                    <a:pt x="0" y="31"/>
                  </a:cubicBezTo>
                  <a:cubicBezTo>
                    <a:pt x="0" y="10"/>
                    <a:pt x="0" y="10"/>
                    <a:pt x="0" y="10"/>
                  </a:cubicBezTo>
                  <a:cubicBezTo>
                    <a:pt x="0" y="4"/>
                    <a:pt x="5" y="0"/>
                    <a:pt x="10" y="0"/>
                  </a:cubicBezTo>
                  <a:cubicBezTo>
                    <a:pt x="186" y="0"/>
                    <a:pt x="186" y="0"/>
                    <a:pt x="186" y="0"/>
                  </a:cubicBezTo>
                  <a:cubicBezTo>
                    <a:pt x="192" y="0"/>
                    <a:pt x="196" y="4"/>
                    <a:pt x="196" y="10"/>
                  </a:cubicBezTo>
                  <a:lnTo>
                    <a:pt x="196" y="3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2" name="Rectangle 337"/>
            <p:cNvSpPr>
              <a:spLocks noChangeArrowheads="1"/>
            </p:cNvSpPr>
            <p:nvPr/>
          </p:nvSpPr>
          <p:spPr bwMode="auto">
            <a:xfrm>
              <a:off x="2446338" y="4095750"/>
              <a:ext cx="425450" cy="33813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3" name="Freeform 338"/>
            <p:cNvSpPr>
              <a:spLocks/>
            </p:cNvSpPr>
            <p:nvPr/>
          </p:nvSpPr>
          <p:spPr bwMode="auto">
            <a:xfrm>
              <a:off x="2297113" y="4918075"/>
              <a:ext cx="252413" cy="982663"/>
            </a:xfrm>
            <a:custGeom>
              <a:avLst/>
              <a:gdLst>
                <a:gd name="T0" fmla="*/ 159 w 159"/>
                <a:gd name="T1" fmla="*/ 619 h 619"/>
                <a:gd name="T2" fmla="*/ 0 w 159"/>
                <a:gd name="T3" fmla="*/ 619 h 619"/>
                <a:gd name="T4" fmla="*/ 84 w 159"/>
                <a:gd name="T5" fmla="*/ 0 h 619"/>
                <a:gd name="T6" fmla="*/ 159 w 159"/>
                <a:gd name="T7" fmla="*/ 0 h 619"/>
                <a:gd name="T8" fmla="*/ 159 w 159"/>
                <a:gd name="T9" fmla="*/ 619 h 619"/>
              </a:gdLst>
              <a:ahLst/>
              <a:cxnLst>
                <a:cxn ang="0">
                  <a:pos x="T0" y="T1"/>
                </a:cxn>
                <a:cxn ang="0">
                  <a:pos x="T2" y="T3"/>
                </a:cxn>
                <a:cxn ang="0">
                  <a:pos x="T4" y="T5"/>
                </a:cxn>
                <a:cxn ang="0">
                  <a:pos x="T6" y="T7"/>
                </a:cxn>
                <a:cxn ang="0">
                  <a:pos x="T8" y="T9"/>
                </a:cxn>
              </a:cxnLst>
              <a:rect l="0" t="0" r="r" b="b"/>
              <a:pathLst>
                <a:path w="159" h="619">
                  <a:moveTo>
                    <a:pt x="159" y="619"/>
                  </a:moveTo>
                  <a:lnTo>
                    <a:pt x="0" y="619"/>
                  </a:lnTo>
                  <a:lnTo>
                    <a:pt x="84" y="0"/>
                  </a:lnTo>
                  <a:lnTo>
                    <a:pt x="159" y="0"/>
                  </a:lnTo>
                  <a:lnTo>
                    <a:pt x="159" y="61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4" name="Freeform 339"/>
            <p:cNvSpPr>
              <a:spLocks/>
            </p:cNvSpPr>
            <p:nvPr/>
          </p:nvSpPr>
          <p:spPr bwMode="auto">
            <a:xfrm>
              <a:off x="2638425" y="4918075"/>
              <a:ext cx="250825" cy="982663"/>
            </a:xfrm>
            <a:custGeom>
              <a:avLst/>
              <a:gdLst>
                <a:gd name="T0" fmla="*/ 158 w 158"/>
                <a:gd name="T1" fmla="*/ 619 h 619"/>
                <a:gd name="T2" fmla="*/ 0 w 158"/>
                <a:gd name="T3" fmla="*/ 619 h 619"/>
                <a:gd name="T4" fmla="*/ 84 w 158"/>
                <a:gd name="T5" fmla="*/ 0 h 619"/>
                <a:gd name="T6" fmla="*/ 158 w 158"/>
                <a:gd name="T7" fmla="*/ 0 h 619"/>
                <a:gd name="T8" fmla="*/ 158 w 158"/>
                <a:gd name="T9" fmla="*/ 619 h 619"/>
              </a:gdLst>
              <a:ahLst/>
              <a:cxnLst>
                <a:cxn ang="0">
                  <a:pos x="T0" y="T1"/>
                </a:cxn>
                <a:cxn ang="0">
                  <a:pos x="T2" y="T3"/>
                </a:cxn>
                <a:cxn ang="0">
                  <a:pos x="T4" y="T5"/>
                </a:cxn>
                <a:cxn ang="0">
                  <a:pos x="T6" y="T7"/>
                </a:cxn>
                <a:cxn ang="0">
                  <a:pos x="T8" y="T9"/>
                </a:cxn>
              </a:cxnLst>
              <a:rect l="0" t="0" r="r" b="b"/>
              <a:pathLst>
                <a:path w="158" h="619">
                  <a:moveTo>
                    <a:pt x="158" y="619"/>
                  </a:moveTo>
                  <a:lnTo>
                    <a:pt x="0" y="619"/>
                  </a:lnTo>
                  <a:lnTo>
                    <a:pt x="84" y="0"/>
                  </a:lnTo>
                  <a:lnTo>
                    <a:pt x="158" y="0"/>
                  </a:lnTo>
                  <a:lnTo>
                    <a:pt x="158" y="61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5" name="Freeform 340"/>
            <p:cNvSpPr>
              <a:spLocks/>
            </p:cNvSpPr>
            <p:nvPr/>
          </p:nvSpPr>
          <p:spPr bwMode="auto">
            <a:xfrm>
              <a:off x="2273300" y="5900738"/>
              <a:ext cx="276225" cy="14128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4"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514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6" name="Rectangle 341"/>
            <p:cNvSpPr>
              <a:spLocks noChangeArrowheads="1"/>
            </p:cNvSpPr>
            <p:nvPr/>
          </p:nvSpPr>
          <p:spPr bwMode="auto">
            <a:xfrm>
              <a:off x="2913063" y="4405313"/>
              <a:ext cx="123825" cy="735013"/>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7" name="Freeform 342"/>
            <p:cNvSpPr>
              <a:spLocks/>
            </p:cNvSpPr>
            <p:nvPr/>
          </p:nvSpPr>
          <p:spPr bwMode="auto">
            <a:xfrm>
              <a:off x="2913063" y="5016500"/>
              <a:ext cx="127000" cy="250825"/>
            </a:xfrm>
            <a:custGeom>
              <a:avLst/>
              <a:gdLst>
                <a:gd name="T0" fmla="*/ 0 w 59"/>
                <a:gd name="T1" fmla="*/ 0 h 117"/>
                <a:gd name="T2" fmla="*/ 0 w 59"/>
                <a:gd name="T3" fmla="*/ 117 h 117"/>
                <a:gd name="T4" fmla="*/ 59 w 59"/>
                <a:gd name="T5" fmla="*/ 58 h 117"/>
                <a:gd name="T6" fmla="*/ 0 w 59"/>
                <a:gd name="T7" fmla="*/ 0 h 117"/>
              </a:gdLst>
              <a:ahLst/>
              <a:cxnLst>
                <a:cxn ang="0">
                  <a:pos x="T0" y="T1"/>
                </a:cxn>
                <a:cxn ang="0">
                  <a:pos x="T2" y="T3"/>
                </a:cxn>
                <a:cxn ang="0">
                  <a:pos x="T4" y="T5"/>
                </a:cxn>
                <a:cxn ang="0">
                  <a:pos x="T6" y="T7"/>
                </a:cxn>
              </a:cxnLst>
              <a:rect l="0" t="0" r="r" b="b"/>
              <a:pathLst>
                <a:path w="59" h="117">
                  <a:moveTo>
                    <a:pt x="0" y="0"/>
                  </a:moveTo>
                  <a:cubicBezTo>
                    <a:pt x="0" y="117"/>
                    <a:pt x="0" y="117"/>
                    <a:pt x="0" y="117"/>
                  </a:cubicBezTo>
                  <a:cubicBezTo>
                    <a:pt x="32" y="117"/>
                    <a:pt x="59" y="91"/>
                    <a:pt x="59" y="58"/>
                  </a:cubicBezTo>
                  <a:cubicBezTo>
                    <a:pt x="59" y="26"/>
                    <a:pt x="32"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8" name="Rectangle 343"/>
            <p:cNvSpPr>
              <a:spLocks noChangeArrowheads="1"/>
            </p:cNvSpPr>
            <p:nvPr/>
          </p:nvSpPr>
          <p:spPr bwMode="auto">
            <a:xfrm>
              <a:off x="2284413" y="4405313"/>
              <a:ext cx="122238" cy="735013"/>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9" name="Freeform 344"/>
            <p:cNvSpPr>
              <a:spLocks/>
            </p:cNvSpPr>
            <p:nvPr/>
          </p:nvSpPr>
          <p:spPr bwMode="auto">
            <a:xfrm>
              <a:off x="2281238" y="5016500"/>
              <a:ext cx="125413" cy="250825"/>
            </a:xfrm>
            <a:custGeom>
              <a:avLst/>
              <a:gdLst>
                <a:gd name="T0" fmla="*/ 58 w 58"/>
                <a:gd name="T1" fmla="*/ 0 h 117"/>
                <a:gd name="T2" fmla="*/ 58 w 58"/>
                <a:gd name="T3" fmla="*/ 117 h 117"/>
                <a:gd name="T4" fmla="*/ 0 w 58"/>
                <a:gd name="T5" fmla="*/ 58 h 117"/>
                <a:gd name="T6" fmla="*/ 58 w 58"/>
                <a:gd name="T7" fmla="*/ 0 h 117"/>
              </a:gdLst>
              <a:ahLst/>
              <a:cxnLst>
                <a:cxn ang="0">
                  <a:pos x="T0" y="T1"/>
                </a:cxn>
                <a:cxn ang="0">
                  <a:pos x="T2" y="T3"/>
                </a:cxn>
                <a:cxn ang="0">
                  <a:pos x="T4" y="T5"/>
                </a:cxn>
                <a:cxn ang="0">
                  <a:pos x="T6" y="T7"/>
                </a:cxn>
              </a:cxnLst>
              <a:rect l="0" t="0" r="r" b="b"/>
              <a:pathLst>
                <a:path w="58" h="117">
                  <a:moveTo>
                    <a:pt x="58" y="0"/>
                  </a:moveTo>
                  <a:cubicBezTo>
                    <a:pt x="58" y="117"/>
                    <a:pt x="58" y="117"/>
                    <a:pt x="58" y="117"/>
                  </a:cubicBezTo>
                  <a:cubicBezTo>
                    <a:pt x="26" y="117"/>
                    <a:pt x="0" y="91"/>
                    <a:pt x="0" y="58"/>
                  </a:cubicBezTo>
                  <a:cubicBezTo>
                    <a:pt x="0" y="26"/>
                    <a:pt x="26" y="0"/>
                    <a:pt x="58"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0" name="Freeform 345"/>
            <p:cNvSpPr>
              <a:spLocks/>
            </p:cNvSpPr>
            <p:nvPr/>
          </p:nvSpPr>
          <p:spPr bwMode="auto">
            <a:xfrm>
              <a:off x="2589213" y="3925888"/>
              <a:ext cx="146050" cy="241300"/>
            </a:xfrm>
            <a:custGeom>
              <a:avLst/>
              <a:gdLst>
                <a:gd name="T0" fmla="*/ 46 w 92"/>
                <a:gd name="T1" fmla="*/ 152 h 152"/>
                <a:gd name="T2" fmla="*/ 0 w 92"/>
                <a:gd name="T3" fmla="*/ 148 h 152"/>
                <a:gd name="T4" fmla="*/ 0 w 92"/>
                <a:gd name="T5" fmla="*/ 0 h 152"/>
                <a:gd name="T6" fmla="*/ 92 w 92"/>
                <a:gd name="T7" fmla="*/ 0 h 152"/>
                <a:gd name="T8" fmla="*/ 92 w 92"/>
                <a:gd name="T9" fmla="*/ 152 h 152"/>
                <a:gd name="T10" fmla="*/ 46 w 92"/>
                <a:gd name="T11" fmla="*/ 152 h 152"/>
              </a:gdLst>
              <a:ahLst/>
              <a:cxnLst>
                <a:cxn ang="0">
                  <a:pos x="T0" y="T1"/>
                </a:cxn>
                <a:cxn ang="0">
                  <a:pos x="T2" y="T3"/>
                </a:cxn>
                <a:cxn ang="0">
                  <a:pos x="T4" y="T5"/>
                </a:cxn>
                <a:cxn ang="0">
                  <a:pos x="T6" y="T7"/>
                </a:cxn>
                <a:cxn ang="0">
                  <a:pos x="T8" y="T9"/>
                </a:cxn>
                <a:cxn ang="0">
                  <a:pos x="T10" y="T11"/>
                </a:cxn>
              </a:cxnLst>
              <a:rect l="0" t="0" r="r" b="b"/>
              <a:pathLst>
                <a:path w="92" h="152">
                  <a:moveTo>
                    <a:pt x="46" y="152"/>
                  </a:moveTo>
                  <a:lnTo>
                    <a:pt x="0" y="148"/>
                  </a:lnTo>
                  <a:lnTo>
                    <a:pt x="0" y="0"/>
                  </a:lnTo>
                  <a:lnTo>
                    <a:pt x="92" y="0"/>
                  </a:lnTo>
                  <a:lnTo>
                    <a:pt x="92" y="152"/>
                  </a:lnTo>
                  <a:lnTo>
                    <a:pt x="46" y="152"/>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1" name="Freeform 346"/>
            <p:cNvSpPr>
              <a:spLocks/>
            </p:cNvSpPr>
            <p:nvPr/>
          </p:nvSpPr>
          <p:spPr bwMode="auto">
            <a:xfrm>
              <a:off x="2589213" y="3925888"/>
              <a:ext cx="146050" cy="128588"/>
            </a:xfrm>
            <a:custGeom>
              <a:avLst/>
              <a:gdLst>
                <a:gd name="T0" fmla="*/ 0 w 68"/>
                <a:gd name="T1" fmla="*/ 55 h 60"/>
                <a:gd name="T2" fmla="*/ 34 w 68"/>
                <a:gd name="T3" fmla="*/ 60 h 60"/>
                <a:gd name="T4" fmla="*/ 68 w 68"/>
                <a:gd name="T5" fmla="*/ 55 h 60"/>
                <a:gd name="T6" fmla="*/ 68 w 68"/>
                <a:gd name="T7" fmla="*/ 0 h 60"/>
                <a:gd name="T8" fmla="*/ 0 w 68"/>
                <a:gd name="T9" fmla="*/ 0 h 60"/>
                <a:gd name="T10" fmla="*/ 0 w 68"/>
                <a:gd name="T11" fmla="*/ 55 h 60"/>
              </a:gdLst>
              <a:ahLst/>
              <a:cxnLst>
                <a:cxn ang="0">
                  <a:pos x="T0" y="T1"/>
                </a:cxn>
                <a:cxn ang="0">
                  <a:pos x="T2" y="T3"/>
                </a:cxn>
                <a:cxn ang="0">
                  <a:pos x="T4" y="T5"/>
                </a:cxn>
                <a:cxn ang="0">
                  <a:pos x="T6" y="T7"/>
                </a:cxn>
                <a:cxn ang="0">
                  <a:pos x="T8" y="T9"/>
                </a:cxn>
                <a:cxn ang="0">
                  <a:pos x="T10" y="T11"/>
                </a:cxn>
              </a:cxnLst>
              <a:rect l="0" t="0" r="r" b="b"/>
              <a:pathLst>
                <a:path w="68" h="60">
                  <a:moveTo>
                    <a:pt x="0" y="55"/>
                  </a:moveTo>
                  <a:cubicBezTo>
                    <a:pt x="11" y="58"/>
                    <a:pt x="22" y="60"/>
                    <a:pt x="34" y="60"/>
                  </a:cubicBezTo>
                  <a:cubicBezTo>
                    <a:pt x="46" y="60"/>
                    <a:pt x="57" y="58"/>
                    <a:pt x="68" y="55"/>
                  </a:cubicBezTo>
                  <a:cubicBezTo>
                    <a:pt x="68" y="0"/>
                    <a:pt x="68" y="0"/>
                    <a:pt x="68" y="0"/>
                  </a:cubicBezTo>
                  <a:cubicBezTo>
                    <a:pt x="0" y="0"/>
                    <a:pt x="0" y="0"/>
                    <a:pt x="0" y="0"/>
                  </a:cubicBezTo>
                  <a:lnTo>
                    <a:pt x="0" y="55"/>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2" name="Freeform 347"/>
            <p:cNvSpPr>
              <a:spLocks/>
            </p:cNvSpPr>
            <p:nvPr/>
          </p:nvSpPr>
          <p:spPr bwMode="auto">
            <a:xfrm>
              <a:off x="2489200" y="3702050"/>
              <a:ext cx="346075" cy="322263"/>
            </a:xfrm>
            <a:custGeom>
              <a:avLst/>
              <a:gdLst>
                <a:gd name="T0" fmla="*/ 0 w 161"/>
                <a:gd name="T1" fmla="*/ 0 h 151"/>
                <a:gd name="T2" fmla="*/ 0 w 161"/>
                <a:gd name="T3" fmla="*/ 125 h 151"/>
                <a:gd name="T4" fmla="*/ 0 w 161"/>
                <a:gd name="T5" fmla="*/ 125 h 151"/>
                <a:gd name="T6" fmla="*/ 80 w 161"/>
                <a:gd name="T7" fmla="*/ 151 h 151"/>
                <a:gd name="T8" fmla="*/ 161 w 161"/>
                <a:gd name="T9" fmla="*/ 125 h 151"/>
                <a:gd name="T10" fmla="*/ 161 w 161"/>
                <a:gd name="T11" fmla="*/ 0 h 151"/>
                <a:gd name="T12" fmla="*/ 0 w 161"/>
                <a:gd name="T13" fmla="*/ 0 h 151"/>
              </a:gdLst>
              <a:ahLst/>
              <a:cxnLst>
                <a:cxn ang="0">
                  <a:pos x="T0" y="T1"/>
                </a:cxn>
                <a:cxn ang="0">
                  <a:pos x="T2" y="T3"/>
                </a:cxn>
                <a:cxn ang="0">
                  <a:pos x="T4" y="T5"/>
                </a:cxn>
                <a:cxn ang="0">
                  <a:pos x="T6" y="T7"/>
                </a:cxn>
                <a:cxn ang="0">
                  <a:pos x="T8" y="T9"/>
                </a:cxn>
                <a:cxn ang="0">
                  <a:pos x="T10" y="T11"/>
                </a:cxn>
                <a:cxn ang="0">
                  <a:pos x="T12" y="T13"/>
                </a:cxn>
              </a:cxnLst>
              <a:rect l="0" t="0" r="r" b="b"/>
              <a:pathLst>
                <a:path w="161" h="151">
                  <a:moveTo>
                    <a:pt x="0" y="0"/>
                  </a:moveTo>
                  <a:cubicBezTo>
                    <a:pt x="0" y="125"/>
                    <a:pt x="0" y="125"/>
                    <a:pt x="0" y="125"/>
                  </a:cubicBezTo>
                  <a:cubicBezTo>
                    <a:pt x="0" y="125"/>
                    <a:pt x="0" y="125"/>
                    <a:pt x="0" y="125"/>
                  </a:cubicBezTo>
                  <a:cubicBezTo>
                    <a:pt x="22" y="142"/>
                    <a:pt x="50" y="151"/>
                    <a:pt x="80" y="151"/>
                  </a:cubicBezTo>
                  <a:cubicBezTo>
                    <a:pt x="110" y="151"/>
                    <a:pt x="139" y="142"/>
                    <a:pt x="161" y="125"/>
                  </a:cubicBezTo>
                  <a:cubicBezTo>
                    <a:pt x="161" y="0"/>
                    <a:pt x="161" y="0"/>
                    <a:pt x="161"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3" name="Freeform 348"/>
            <p:cNvSpPr>
              <a:spLocks/>
            </p:cNvSpPr>
            <p:nvPr/>
          </p:nvSpPr>
          <p:spPr bwMode="auto">
            <a:xfrm>
              <a:off x="2489200" y="3536950"/>
              <a:ext cx="246063" cy="258763"/>
            </a:xfrm>
            <a:custGeom>
              <a:avLst/>
              <a:gdLst>
                <a:gd name="T0" fmla="*/ 114 w 114"/>
                <a:gd name="T1" fmla="*/ 7 h 121"/>
                <a:gd name="T2" fmla="*/ 81 w 114"/>
                <a:gd name="T3" fmla="*/ 0 h 121"/>
                <a:gd name="T4" fmla="*/ 0 w 114"/>
                <a:gd name="T5" fmla="*/ 81 h 121"/>
                <a:gd name="T6" fmla="*/ 0 w 114"/>
                <a:gd name="T7" fmla="*/ 121 h 121"/>
                <a:gd name="T8" fmla="*/ 114 w 114"/>
                <a:gd name="T9" fmla="*/ 7 h 121"/>
              </a:gdLst>
              <a:ahLst/>
              <a:cxnLst>
                <a:cxn ang="0">
                  <a:pos x="T0" y="T1"/>
                </a:cxn>
                <a:cxn ang="0">
                  <a:pos x="T2" y="T3"/>
                </a:cxn>
                <a:cxn ang="0">
                  <a:pos x="T4" y="T5"/>
                </a:cxn>
                <a:cxn ang="0">
                  <a:pos x="T6" y="T7"/>
                </a:cxn>
                <a:cxn ang="0">
                  <a:pos x="T8" y="T9"/>
                </a:cxn>
              </a:cxnLst>
              <a:rect l="0" t="0" r="r" b="b"/>
              <a:pathLst>
                <a:path w="114" h="121">
                  <a:moveTo>
                    <a:pt x="114" y="7"/>
                  </a:moveTo>
                  <a:cubicBezTo>
                    <a:pt x="104" y="3"/>
                    <a:pt x="92" y="0"/>
                    <a:pt x="81" y="0"/>
                  </a:cubicBezTo>
                  <a:cubicBezTo>
                    <a:pt x="36" y="0"/>
                    <a:pt x="0" y="36"/>
                    <a:pt x="0" y="81"/>
                  </a:cubicBezTo>
                  <a:cubicBezTo>
                    <a:pt x="0" y="121"/>
                    <a:pt x="0" y="121"/>
                    <a:pt x="0" y="121"/>
                  </a:cubicBezTo>
                  <a:cubicBezTo>
                    <a:pt x="59" y="114"/>
                    <a:pt x="107" y="67"/>
                    <a:pt x="114" y="7"/>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4" name="Freeform 349"/>
            <p:cNvSpPr>
              <a:spLocks/>
            </p:cNvSpPr>
            <p:nvPr/>
          </p:nvSpPr>
          <p:spPr bwMode="auto">
            <a:xfrm>
              <a:off x="2590800" y="3536950"/>
              <a:ext cx="244475" cy="258763"/>
            </a:xfrm>
            <a:custGeom>
              <a:avLst/>
              <a:gdLst>
                <a:gd name="T0" fmla="*/ 0 w 114"/>
                <a:gd name="T1" fmla="*/ 7 h 121"/>
                <a:gd name="T2" fmla="*/ 33 w 114"/>
                <a:gd name="T3" fmla="*/ 0 h 121"/>
                <a:gd name="T4" fmla="*/ 114 w 114"/>
                <a:gd name="T5" fmla="*/ 81 h 121"/>
                <a:gd name="T6" fmla="*/ 114 w 114"/>
                <a:gd name="T7" fmla="*/ 121 h 121"/>
                <a:gd name="T8" fmla="*/ 0 w 114"/>
                <a:gd name="T9" fmla="*/ 7 h 121"/>
              </a:gdLst>
              <a:ahLst/>
              <a:cxnLst>
                <a:cxn ang="0">
                  <a:pos x="T0" y="T1"/>
                </a:cxn>
                <a:cxn ang="0">
                  <a:pos x="T2" y="T3"/>
                </a:cxn>
                <a:cxn ang="0">
                  <a:pos x="T4" y="T5"/>
                </a:cxn>
                <a:cxn ang="0">
                  <a:pos x="T6" y="T7"/>
                </a:cxn>
                <a:cxn ang="0">
                  <a:pos x="T8" y="T9"/>
                </a:cxn>
              </a:cxnLst>
              <a:rect l="0" t="0" r="r" b="b"/>
              <a:pathLst>
                <a:path w="114" h="121">
                  <a:moveTo>
                    <a:pt x="0" y="7"/>
                  </a:moveTo>
                  <a:cubicBezTo>
                    <a:pt x="10" y="3"/>
                    <a:pt x="21" y="0"/>
                    <a:pt x="33" y="0"/>
                  </a:cubicBezTo>
                  <a:cubicBezTo>
                    <a:pt x="78" y="0"/>
                    <a:pt x="114" y="36"/>
                    <a:pt x="114" y="81"/>
                  </a:cubicBezTo>
                  <a:cubicBezTo>
                    <a:pt x="114" y="121"/>
                    <a:pt x="114" y="121"/>
                    <a:pt x="114" y="121"/>
                  </a:cubicBezTo>
                  <a:cubicBezTo>
                    <a:pt x="54" y="114"/>
                    <a:pt x="7" y="67"/>
                    <a:pt x="0" y="7"/>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5" name="Freeform 350"/>
            <p:cNvSpPr>
              <a:spLocks/>
            </p:cNvSpPr>
            <p:nvPr/>
          </p:nvSpPr>
          <p:spPr bwMode="auto">
            <a:xfrm>
              <a:off x="2257425" y="4095750"/>
              <a:ext cx="803275" cy="987425"/>
            </a:xfrm>
            <a:custGeom>
              <a:avLst/>
              <a:gdLst>
                <a:gd name="T0" fmla="*/ 295 w 374"/>
                <a:gd name="T1" fmla="*/ 0 h 462"/>
                <a:gd name="T2" fmla="*/ 250 w 374"/>
                <a:gd name="T3" fmla="*/ 0 h 462"/>
                <a:gd name="T4" fmla="*/ 188 w 374"/>
                <a:gd name="T5" fmla="*/ 140 h 462"/>
                <a:gd name="T6" fmla="*/ 126 w 374"/>
                <a:gd name="T7" fmla="*/ 0 h 462"/>
                <a:gd name="T8" fmla="*/ 79 w 374"/>
                <a:gd name="T9" fmla="*/ 0 h 462"/>
                <a:gd name="T10" fmla="*/ 0 w 374"/>
                <a:gd name="T11" fmla="*/ 79 h 462"/>
                <a:gd name="T12" fmla="*/ 0 w 374"/>
                <a:gd name="T13" fmla="*/ 295 h 462"/>
                <a:gd name="T14" fmla="*/ 69 w 374"/>
                <a:gd name="T15" fmla="*/ 295 h 462"/>
                <a:gd name="T16" fmla="*/ 69 w 374"/>
                <a:gd name="T17" fmla="*/ 146 h 462"/>
                <a:gd name="T18" fmla="*/ 79 w 374"/>
                <a:gd name="T19" fmla="*/ 146 h 462"/>
                <a:gd name="T20" fmla="*/ 80 w 374"/>
                <a:gd name="T21" fmla="*/ 462 h 462"/>
                <a:gd name="T22" fmla="*/ 294 w 374"/>
                <a:gd name="T23" fmla="*/ 462 h 462"/>
                <a:gd name="T24" fmla="*/ 295 w 374"/>
                <a:gd name="T25" fmla="*/ 146 h 462"/>
                <a:gd name="T26" fmla="*/ 305 w 374"/>
                <a:gd name="T27" fmla="*/ 146 h 462"/>
                <a:gd name="T28" fmla="*/ 305 w 374"/>
                <a:gd name="T29" fmla="*/ 288 h 462"/>
                <a:gd name="T30" fmla="*/ 374 w 374"/>
                <a:gd name="T31" fmla="*/ 288 h 462"/>
                <a:gd name="T32" fmla="*/ 374 w 374"/>
                <a:gd name="T33" fmla="*/ 79 h 462"/>
                <a:gd name="T34" fmla="*/ 295 w 374"/>
                <a:gd name="T35"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462">
                  <a:moveTo>
                    <a:pt x="295" y="0"/>
                  </a:moveTo>
                  <a:cubicBezTo>
                    <a:pt x="250" y="0"/>
                    <a:pt x="250" y="0"/>
                    <a:pt x="250" y="0"/>
                  </a:cubicBezTo>
                  <a:cubicBezTo>
                    <a:pt x="188" y="140"/>
                    <a:pt x="188" y="140"/>
                    <a:pt x="188" y="140"/>
                  </a:cubicBezTo>
                  <a:cubicBezTo>
                    <a:pt x="188" y="140"/>
                    <a:pt x="142" y="40"/>
                    <a:pt x="126" y="0"/>
                  </a:cubicBezTo>
                  <a:cubicBezTo>
                    <a:pt x="79" y="0"/>
                    <a:pt x="79" y="0"/>
                    <a:pt x="79" y="0"/>
                  </a:cubicBezTo>
                  <a:cubicBezTo>
                    <a:pt x="36" y="0"/>
                    <a:pt x="0" y="36"/>
                    <a:pt x="0" y="79"/>
                  </a:cubicBezTo>
                  <a:cubicBezTo>
                    <a:pt x="0" y="295"/>
                    <a:pt x="0" y="295"/>
                    <a:pt x="0" y="295"/>
                  </a:cubicBezTo>
                  <a:cubicBezTo>
                    <a:pt x="69" y="295"/>
                    <a:pt x="69" y="295"/>
                    <a:pt x="69" y="295"/>
                  </a:cubicBezTo>
                  <a:cubicBezTo>
                    <a:pt x="69" y="146"/>
                    <a:pt x="69" y="146"/>
                    <a:pt x="69" y="146"/>
                  </a:cubicBezTo>
                  <a:cubicBezTo>
                    <a:pt x="79" y="146"/>
                    <a:pt x="79" y="146"/>
                    <a:pt x="79" y="146"/>
                  </a:cubicBezTo>
                  <a:cubicBezTo>
                    <a:pt x="80" y="462"/>
                    <a:pt x="80" y="462"/>
                    <a:pt x="80" y="462"/>
                  </a:cubicBezTo>
                  <a:cubicBezTo>
                    <a:pt x="294" y="462"/>
                    <a:pt x="294" y="462"/>
                    <a:pt x="294" y="462"/>
                  </a:cubicBezTo>
                  <a:cubicBezTo>
                    <a:pt x="295" y="146"/>
                    <a:pt x="295" y="146"/>
                    <a:pt x="295" y="146"/>
                  </a:cubicBezTo>
                  <a:cubicBezTo>
                    <a:pt x="305" y="146"/>
                    <a:pt x="305" y="146"/>
                    <a:pt x="305" y="146"/>
                  </a:cubicBezTo>
                  <a:cubicBezTo>
                    <a:pt x="305" y="288"/>
                    <a:pt x="305" y="288"/>
                    <a:pt x="305" y="288"/>
                  </a:cubicBezTo>
                  <a:cubicBezTo>
                    <a:pt x="374" y="288"/>
                    <a:pt x="374" y="288"/>
                    <a:pt x="374" y="288"/>
                  </a:cubicBezTo>
                  <a:cubicBezTo>
                    <a:pt x="374" y="79"/>
                    <a:pt x="374" y="79"/>
                    <a:pt x="374" y="79"/>
                  </a:cubicBezTo>
                  <a:cubicBezTo>
                    <a:pt x="374" y="36"/>
                    <a:pt x="338" y="0"/>
                    <a:pt x="295" y="0"/>
                  </a:cubicBezTo>
                  <a:close/>
                </a:path>
              </a:pathLst>
            </a:custGeom>
            <a:solidFill>
              <a:schemeClr val="accent6"/>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6" name="Freeform 351"/>
            <p:cNvSpPr>
              <a:spLocks/>
            </p:cNvSpPr>
            <p:nvPr/>
          </p:nvSpPr>
          <p:spPr bwMode="auto">
            <a:xfrm>
              <a:off x="2298700" y="5900738"/>
              <a:ext cx="250825" cy="71438"/>
            </a:xfrm>
            <a:custGeom>
              <a:avLst/>
              <a:gdLst>
                <a:gd name="T0" fmla="*/ 61 w 117"/>
                <a:gd name="T1" fmla="*/ 0 h 33"/>
                <a:gd name="T2" fmla="*/ 0 w 117"/>
                <a:gd name="T3" fmla="*/ 33 h 33"/>
                <a:gd name="T4" fmla="*/ 79 w 117"/>
                <a:gd name="T5" fmla="*/ 33 h 33"/>
                <a:gd name="T6" fmla="*/ 117 w 117"/>
                <a:gd name="T7" fmla="*/ 0 h 33"/>
                <a:gd name="T8" fmla="*/ 61 w 117"/>
                <a:gd name="T9" fmla="*/ 0 h 33"/>
              </a:gdLst>
              <a:ahLst/>
              <a:cxnLst>
                <a:cxn ang="0">
                  <a:pos x="T0" y="T1"/>
                </a:cxn>
                <a:cxn ang="0">
                  <a:pos x="T2" y="T3"/>
                </a:cxn>
                <a:cxn ang="0">
                  <a:pos x="T4" y="T5"/>
                </a:cxn>
                <a:cxn ang="0">
                  <a:pos x="T6" y="T7"/>
                </a:cxn>
                <a:cxn ang="0">
                  <a:pos x="T8" y="T9"/>
                </a:cxn>
              </a:cxnLst>
              <a:rect l="0" t="0" r="r" b="b"/>
              <a:pathLst>
                <a:path w="117" h="33">
                  <a:moveTo>
                    <a:pt x="61" y="0"/>
                  </a:moveTo>
                  <a:cubicBezTo>
                    <a:pt x="36" y="0"/>
                    <a:pt x="13" y="13"/>
                    <a:pt x="0" y="33"/>
                  </a:cubicBezTo>
                  <a:cubicBezTo>
                    <a:pt x="79" y="33"/>
                    <a:pt x="79" y="33"/>
                    <a:pt x="79" y="33"/>
                  </a:cubicBezTo>
                  <a:cubicBezTo>
                    <a:pt x="99" y="33"/>
                    <a:pt x="114" y="18"/>
                    <a:pt x="117" y="0"/>
                  </a:cubicBezTo>
                  <a:lnTo>
                    <a:pt x="61"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7" name="Freeform 352"/>
            <p:cNvSpPr>
              <a:spLocks/>
            </p:cNvSpPr>
            <p:nvPr/>
          </p:nvSpPr>
          <p:spPr bwMode="auto">
            <a:xfrm>
              <a:off x="2619375" y="5900738"/>
              <a:ext cx="276225" cy="14128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3"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514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8" name="Freeform 353"/>
            <p:cNvSpPr>
              <a:spLocks/>
            </p:cNvSpPr>
            <p:nvPr/>
          </p:nvSpPr>
          <p:spPr bwMode="auto">
            <a:xfrm>
              <a:off x="2641600" y="5900738"/>
              <a:ext cx="252413" cy="71438"/>
            </a:xfrm>
            <a:custGeom>
              <a:avLst/>
              <a:gdLst>
                <a:gd name="T0" fmla="*/ 62 w 117"/>
                <a:gd name="T1" fmla="*/ 0 h 33"/>
                <a:gd name="T2" fmla="*/ 0 w 117"/>
                <a:gd name="T3" fmla="*/ 33 h 33"/>
                <a:gd name="T4" fmla="*/ 80 w 117"/>
                <a:gd name="T5" fmla="*/ 33 h 33"/>
                <a:gd name="T6" fmla="*/ 117 w 117"/>
                <a:gd name="T7" fmla="*/ 0 h 33"/>
                <a:gd name="T8" fmla="*/ 62 w 117"/>
                <a:gd name="T9" fmla="*/ 0 h 33"/>
              </a:gdLst>
              <a:ahLst/>
              <a:cxnLst>
                <a:cxn ang="0">
                  <a:pos x="T0" y="T1"/>
                </a:cxn>
                <a:cxn ang="0">
                  <a:pos x="T2" y="T3"/>
                </a:cxn>
                <a:cxn ang="0">
                  <a:pos x="T4" y="T5"/>
                </a:cxn>
                <a:cxn ang="0">
                  <a:pos x="T6" y="T7"/>
                </a:cxn>
                <a:cxn ang="0">
                  <a:pos x="T8" y="T9"/>
                </a:cxn>
              </a:cxnLst>
              <a:rect l="0" t="0" r="r" b="b"/>
              <a:pathLst>
                <a:path w="117" h="33">
                  <a:moveTo>
                    <a:pt x="62" y="0"/>
                  </a:moveTo>
                  <a:cubicBezTo>
                    <a:pt x="36" y="0"/>
                    <a:pt x="14" y="13"/>
                    <a:pt x="0" y="33"/>
                  </a:cubicBezTo>
                  <a:cubicBezTo>
                    <a:pt x="80" y="33"/>
                    <a:pt x="80" y="33"/>
                    <a:pt x="80" y="33"/>
                  </a:cubicBezTo>
                  <a:cubicBezTo>
                    <a:pt x="99" y="33"/>
                    <a:pt x="115" y="18"/>
                    <a:pt x="117" y="0"/>
                  </a:cubicBezTo>
                  <a:lnTo>
                    <a:pt x="62"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9" name="Oval 354"/>
            <p:cNvSpPr>
              <a:spLocks noChangeArrowheads="1"/>
            </p:cNvSpPr>
            <p:nvPr/>
          </p:nvSpPr>
          <p:spPr bwMode="auto">
            <a:xfrm>
              <a:off x="2894013" y="5038725"/>
              <a:ext cx="46038"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0" name="Oval 355"/>
            <p:cNvSpPr>
              <a:spLocks noChangeArrowheads="1"/>
            </p:cNvSpPr>
            <p:nvPr/>
          </p:nvSpPr>
          <p:spPr bwMode="auto">
            <a:xfrm>
              <a:off x="2949575" y="5038725"/>
              <a:ext cx="44450"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1" name="Oval 356"/>
            <p:cNvSpPr>
              <a:spLocks noChangeArrowheads="1"/>
            </p:cNvSpPr>
            <p:nvPr/>
          </p:nvSpPr>
          <p:spPr bwMode="auto">
            <a:xfrm>
              <a:off x="3005138" y="5038725"/>
              <a:ext cx="44450"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4" name="Oval 359"/>
            <p:cNvSpPr>
              <a:spLocks noChangeArrowheads="1"/>
            </p:cNvSpPr>
            <p:nvPr/>
          </p:nvSpPr>
          <p:spPr bwMode="auto">
            <a:xfrm>
              <a:off x="2457450" y="3895725"/>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5" name="Oval 360"/>
            <p:cNvSpPr>
              <a:spLocks noChangeArrowheads="1"/>
            </p:cNvSpPr>
            <p:nvPr/>
          </p:nvSpPr>
          <p:spPr bwMode="auto">
            <a:xfrm>
              <a:off x="2841625" y="3895725"/>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8" name="Oval 363"/>
            <p:cNvSpPr>
              <a:spLocks noChangeArrowheads="1"/>
            </p:cNvSpPr>
            <p:nvPr/>
          </p:nvSpPr>
          <p:spPr bwMode="auto">
            <a:xfrm>
              <a:off x="2735263" y="3857625"/>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9" name="Oval 364"/>
            <p:cNvSpPr>
              <a:spLocks noChangeArrowheads="1"/>
            </p:cNvSpPr>
            <p:nvPr/>
          </p:nvSpPr>
          <p:spPr bwMode="auto">
            <a:xfrm>
              <a:off x="2771775" y="3857625"/>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0" name="Oval 365"/>
            <p:cNvSpPr>
              <a:spLocks noChangeArrowheads="1"/>
            </p:cNvSpPr>
            <p:nvPr/>
          </p:nvSpPr>
          <p:spPr bwMode="auto">
            <a:xfrm>
              <a:off x="2754313" y="3894138"/>
              <a:ext cx="12700"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1" name="Oval 366"/>
            <p:cNvSpPr>
              <a:spLocks noChangeArrowheads="1"/>
            </p:cNvSpPr>
            <p:nvPr/>
          </p:nvSpPr>
          <p:spPr bwMode="auto">
            <a:xfrm>
              <a:off x="2532063" y="3857625"/>
              <a:ext cx="15875"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2" name="Oval 367"/>
            <p:cNvSpPr>
              <a:spLocks noChangeArrowheads="1"/>
            </p:cNvSpPr>
            <p:nvPr/>
          </p:nvSpPr>
          <p:spPr bwMode="auto">
            <a:xfrm>
              <a:off x="2568575" y="3857625"/>
              <a:ext cx="15875"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3" name="Oval 368"/>
            <p:cNvSpPr>
              <a:spLocks noChangeArrowheads="1"/>
            </p:cNvSpPr>
            <p:nvPr/>
          </p:nvSpPr>
          <p:spPr bwMode="auto">
            <a:xfrm>
              <a:off x="2552700" y="3894138"/>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4" name="Oval 369"/>
            <p:cNvSpPr>
              <a:spLocks noChangeArrowheads="1"/>
            </p:cNvSpPr>
            <p:nvPr/>
          </p:nvSpPr>
          <p:spPr bwMode="auto">
            <a:xfrm>
              <a:off x="2547938" y="3816350"/>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5" name="Oval 370"/>
            <p:cNvSpPr>
              <a:spLocks noChangeArrowheads="1"/>
            </p:cNvSpPr>
            <p:nvPr/>
          </p:nvSpPr>
          <p:spPr bwMode="auto">
            <a:xfrm>
              <a:off x="2749550" y="3816350"/>
              <a:ext cx="22225"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6" name="Freeform 371"/>
            <p:cNvSpPr>
              <a:spLocks/>
            </p:cNvSpPr>
            <p:nvPr/>
          </p:nvSpPr>
          <p:spPr bwMode="auto">
            <a:xfrm>
              <a:off x="2628900" y="3883025"/>
              <a:ext cx="60325" cy="25400"/>
            </a:xfrm>
            <a:custGeom>
              <a:avLst/>
              <a:gdLst>
                <a:gd name="T0" fmla="*/ 0 w 28"/>
                <a:gd name="T1" fmla="*/ 0 h 12"/>
                <a:gd name="T2" fmla="*/ 14 w 28"/>
                <a:gd name="T3" fmla="*/ 12 h 12"/>
                <a:gd name="T4" fmla="*/ 28 w 28"/>
                <a:gd name="T5" fmla="*/ 0 h 12"/>
                <a:gd name="T6" fmla="*/ 0 w 28"/>
                <a:gd name="T7" fmla="*/ 0 h 12"/>
              </a:gdLst>
              <a:ahLst/>
              <a:cxnLst>
                <a:cxn ang="0">
                  <a:pos x="T0" y="T1"/>
                </a:cxn>
                <a:cxn ang="0">
                  <a:pos x="T2" y="T3"/>
                </a:cxn>
                <a:cxn ang="0">
                  <a:pos x="T4" y="T5"/>
                </a:cxn>
                <a:cxn ang="0">
                  <a:pos x="T6" y="T7"/>
                </a:cxn>
              </a:cxnLst>
              <a:rect l="0" t="0" r="r" b="b"/>
              <a:pathLst>
                <a:path w="28" h="12">
                  <a:moveTo>
                    <a:pt x="0" y="0"/>
                  </a:moveTo>
                  <a:cubicBezTo>
                    <a:pt x="1" y="7"/>
                    <a:pt x="7" y="12"/>
                    <a:pt x="14" y="12"/>
                  </a:cubicBezTo>
                  <a:cubicBezTo>
                    <a:pt x="21" y="12"/>
                    <a:pt x="27" y="7"/>
                    <a:pt x="28"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7" name="Line 372"/>
            <p:cNvSpPr>
              <a:spLocks noChangeShapeType="1"/>
            </p:cNvSpPr>
            <p:nvPr/>
          </p:nvSpPr>
          <p:spPr bwMode="auto">
            <a:xfrm>
              <a:off x="2620963" y="3951288"/>
              <a:ext cx="85725"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449" name="Group 448"/>
          <p:cNvGrpSpPr/>
          <p:nvPr/>
        </p:nvGrpSpPr>
        <p:grpSpPr>
          <a:xfrm>
            <a:off x="4009013" y="4377562"/>
            <a:ext cx="1134825" cy="2121859"/>
            <a:chOff x="1917763" y="3294063"/>
            <a:chExt cx="921204" cy="1722437"/>
          </a:xfrm>
        </p:grpSpPr>
        <p:sp>
          <p:nvSpPr>
            <p:cNvPr id="68" name="Freeform 5"/>
            <p:cNvSpPr>
              <a:spLocks/>
            </p:cNvSpPr>
            <p:nvPr/>
          </p:nvSpPr>
          <p:spPr bwMode="auto">
            <a:xfrm>
              <a:off x="2439421" y="3523293"/>
              <a:ext cx="275290" cy="57843"/>
            </a:xfrm>
            <a:custGeom>
              <a:avLst/>
              <a:gdLst>
                <a:gd name="T0" fmla="*/ 181 w 181"/>
                <a:gd name="T1" fmla="*/ 29 h 38"/>
                <a:gd name="T2" fmla="*/ 172 w 181"/>
                <a:gd name="T3" fmla="*/ 38 h 38"/>
                <a:gd name="T4" fmla="*/ 9 w 181"/>
                <a:gd name="T5" fmla="*/ 38 h 38"/>
                <a:gd name="T6" fmla="*/ 0 w 181"/>
                <a:gd name="T7" fmla="*/ 29 h 38"/>
                <a:gd name="T8" fmla="*/ 0 w 181"/>
                <a:gd name="T9" fmla="*/ 9 h 38"/>
                <a:gd name="T10" fmla="*/ 9 w 181"/>
                <a:gd name="T11" fmla="*/ 0 h 38"/>
                <a:gd name="T12" fmla="*/ 172 w 181"/>
                <a:gd name="T13" fmla="*/ 0 h 38"/>
                <a:gd name="T14" fmla="*/ 181 w 181"/>
                <a:gd name="T15" fmla="*/ 9 h 38"/>
                <a:gd name="T16" fmla="*/ 181 w 181"/>
                <a:gd name="T1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38">
                  <a:moveTo>
                    <a:pt x="181" y="29"/>
                  </a:moveTo>
                  <a:cubicBezTo>
                    <a:pt x="181" y="34"/>
                    <a:pt x="177" y="38"/>
                    <a:pt x="172" y="38"/>
                  </a:cubicBezTo>
                  <a:cubicBezTo>
                    <a:pt x="9" y="38"/>
                    <a:pt x="9" y="38"/>
                    <a:pt x="9" y="38"/>
                  </a:cubicBezTo>
                  <a:cubicBezTo>
                    <a:pt x="4" y="38"/>
                    <a:pt x="0" y="34"/>
                    <a:pt x="0" y="29"/>
                  </a:cubicBezTo>
                  <a:cubicBezTo>
                    <a:pt x="0" y="9"/>
                    <a:pt x="0" y="9"/>
                    <a:pt x="0" y="9"/>
                  </a:cubicBezTo>
                  <a:cubicBezTo>
                    <a:pt x="0" y="4"/>
                    <a:pt x="4" y="0"/>
                    <a:pt x="9" y="0"/>
                  </a:cubicBezTo>
                  <a:cubicBezTo>
                    <a:pt x="172" y="0"/>
                    <a:pt x="172" y="0"/>
                    <a:pt x="172" y="0"/>
                  </a:cubicBezTo>
                  <a:cubicBezTo>
                    <a:pt x="177" y="0"/>
                    <a:pt x="181" y="4"/>
                    <a:pt x="181" y="9"/>
                  </a:cubicBezTo>
                  <a:lnTo>
                    <a:pt x="181" y="29"/>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 name="Rectangle 6"/>
            <p:cNvSpPr>
              <a:spLocks noChangeArrowheads="1"/>
            </p:cNvSpPr>
            <p:nvPr/>
          </p:nvSpPr>
          <p:spPr bwMode="auto">
            <a:xfrm>
              <a:off x="2425496" y="4279537"/>
              <a:ext cx="302069" cy="9854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 name="Rectangle 7"/>
            <p:cNvSpPr>
              <a:spLocks noChangeArrowheads="1"/>
            </p:cNvSpPr>
            <p:nvPr/>
          </p:nvSpPr>
          <p:spPr bwMode="auto">
            <a:xfrm>
              <a:off x="2425496" y="4279537"/>
              <a:ext cx="78196" cy="6534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 name="Freeform 8"/>
            <p:cNvSpPr>
              <a:spLocks/>
            </p:cNvSpPr>
            <p:nvPr/>
          </p:nvSpPr>
          <p:spPr bwMode="auto">
            <a:xfrm>
              <a:off x="2322664" y="4922237"/>
              <a:ext cx="182098" cy="94263"/>
            </a:xfrm>
            <a:custGeom>
              <a:avLst/>
              <a:gdLst>
                <a:gd name="T0" fmla="*/ 68 w 120"/>
                <a:gd name="T1" fmla="*/ 0 h 62"/>
                <a:gd name="T2" fmla="*/ 0 w 120"/>
                <a:gd name="T3" fmla="*/ 62 h 62"/>
                <a:gd name="T4" fmla="*/ 68 w 120"/>
                <a:gd name="T5" fmla="*/ 62 h 62"/>
                <a:gd name="T6" fmla="*/ 120 w 120"/>
                <a:gd name="T7" fmla="*/ 62 h 62"/>
                <a:gd name="T8" fmla="*/ 120 w 120"/>
                <a:gd name="T9" fmla="*/ 0 h 62"/>
                <a:gd name="T10" fmla="*/ 68 w 120"/>
                <a:gd name="T11" fmla="*/ 0 h 62"/>
              </a:gdLst>
              <a:ahLst/>
              <a:cxnLst>
                <a:cxn ang="0">
                  <a:pos x="T0" y="T1"/>
                </a:cxn>
                <a:cxn ang="0">
                  <a:pos x="T2" y="T3"/>
                </a:cxn>
                <a:cxn ang="0">
                  <a:pos x="T4" y="T5"/>
                </a:cxn>
                <a:cxn ang="0">
                  <a:pos x="T6" y="T7"/>
                </a:cxn>
                <a:cxn ang="0">
                  <a:pos x="T8" y="T9"/>
                </a:cxn>
                <a:cxn ang="0">
                  <a:pos x="T10" y="T11"/>
                </a:cxn>
              </a:cxnLst>
              <a:rect l="0" t="0" r="r" b="b"/>
              <a:pathLst>
                <a:path w="120" h="62">
                  <a:moveTo>
                    <a:pt x="68" y="0"/>
                  </a:moveTo>
                  <a:cubicBezTo>
                    <a:pt x="33" y="0"/>
                    <a:pt x="4" y="27"/>
                    <a:pt x="0" y="62"/>
                  </a:cubicBezTo>
                  <a:cubicBezTo>
                    <a:pt x="68" y="62"/>
                    <a:pt x="68" y="62"/>
                    <a:pt x="68" y="62"/>
                  </a:cubicBezTo>
                  <a:cubicBezTo>
                    <a:pt x="120" y="62"/>
                    <a:pt x="120" y="62"/>
                    <a:pt x="120" y="62"/>
                  </a:cubicBezTo>
                  <a:cubicBezTo>
                    <a:pt x="120" y="0"/>
                    <a:pt x="120" y="0"/>
                    <a:pt x="120" y="0"/>
                  </a:cubicBezTo>
                  <a:lnTo>
                    <a:pt x="6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2" name="Rectangle 9"/>
            <p:cNvSpPr>
              <a:spLocks noChangeArrowheads="1"/>
            </p:cNvSpPr>
            <p:nvPr/>
          </p:nvSpPr>
          <p:spPr bwMode="auto">
            <a:xfrm>
              <a:off x="2649370" y="4279537"/>
              <a:ext cx="78196" cy="6534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3" name="Freeform 10"/>
            <p:cNvSpPr>
              <a:spLocks/>
            </p:cNvSpPr>
            <p:nvPr/>
          </p:nvSpPr>
          <p:spPr bwMode="auto">
            <a:xfrm>
              <a:off x="2547609" y="4922237"/>
              <a:ext cx="179956" cy="94263"/>
            </a:xfrm>
            <a:custGeom>
              <a:avLst/>
              <a:gdLst>
                <a:gd name="T0" fmla="*/ 68 w 119"/>
                <a:gd name="T1" fmla="*/ 0 h 62"/>
                <a:gd name="T2" fmla="*/ 0 w 119"/>
                <a:gd name="T3" fmla="*/ 62 h 62"/>
                <a:gd name="T4" fmla="*/ 68 w 119"/>
                <a:gd name="T5" fmla="*/ 62 h 62"/>
                <a:gd name="T6" fmla="*/ 119 w 119"/>
                <a:gd name="T7" fmla="*/ 62 h 62"/>
                <a:gd name="T8" fmla="*/ 119 w 119"/>
                <a:gd name="T9" fmla="*/ 0 h 62"/>
                <a:gd name="T10" fmla="*/ 68 w 119"/>
                <a:gd name="T11" fmla="*/ 0 h 62"/>
              </a:gdLst>
              <a:ahLst/>
              <a:cxnLst>
                <a:cxn ang="0">
                  <a:pos x="T0" y="T1"/>
                </a:cxn>
                <a:cxn ang="0">
                  <a:pos x="T2" y="T3"/>
                </a:cxn>
                <a:cxn ang="0">
                  <a:pos x="T4" y="T5"/>
                </a:cxn>
                <a:cxn ang="0">
                  <a:pos x="T6" y="T7"/>
                </a:cxn>
                <a:cxn ang="0">
                  <a:pos x="T8" y="T9"/>
                </a:cxn>
                <a:cxn ang="0">
                  <a:pos x="T10" y="T11"/>
                </a:cxn>
              </a:cxnLst>
              <a:rect l="0" t="0" r="r" b="b"/>
              <a:pathLst>
                <a:path w="119" h="62">
                  <a:moveTo>
                    <a:pt x="68" y="0"/>
                  </a:moveTo>
                  <a:cubicBezTo>
                    <a:pt x="32" y="0"/>
                    <a:pt x="3" y="27"/>
                    <a:pt x="0" y="62"/>
                  </a:cubicBezTo>
                  <a:cubicBezTo>
                    <a:pt x="68" y="62"/>
                    <a:pt x="68" y="62"/>
                    <a:pt x="68" y="62"/>
                  </a:cubicBezTo>
                  <a:cubicBezTo>
                    <a:pt x="119" y="62"/>
                    <a:pt x="119" y="62"/>
                    <a:pt x="119" y="62"/>
                  </a:cubicBezTo>
                  <a:cubicBezTo>
                    <a:pt x="119" y="0"/>
                    <a:pt x="119" y="0"/>
                    <a:pt x="119" y="0"/>
                  </a:cubicBezTo>
                  <a:lnTo>
                    <a:pt x="6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4" name="Freeform 11"/>
            <p:cNvSpPr>
              <a:spLocks/>
            </p:cNvSpPr>
            <p:nvPr/>
          </p:nvSpPr>
          <p:spPr bwMode="auto">
            <a:xfrm>
              <a:off x="2315166" y="3737526"/>
              <a:ext cx="523801" cy="542011"/>
            </a:xfrm>
            <a:custGeom>
              <a:avLst/>
              <a:gdLst>
                <a:gd name="T0" fmla="*/ 272 w 345"/>
                <a:gd name="T1" fmla="*/ 0 h 357"/>
                <a:gd name="T2" fmla="*/ 73 w 345"/>
                <a:gd name="T3" fmla="*/ 0 h 357"/>
                <a:gd name="T4" fmla="*/ 0 w 345"/>
                <a:gd name="T5" fmla="*/ 73 h 357"/>
                <a:gd name="T6" fmla="*/ 0 w 345"/>
                <a:gd name="T7" fmla="*/ 134 h 357"/>
                <a:gd name="T8" fmla="*/ 73 w 345"/>
                <a:gd name="T9" fmla="*/ 134 h 357"/>
                <a:gd name="T10" fmla="*/ 73 w 345"/>
                <a:gd name="T11" fmla="*/ 357 h 357"/>
                <a:gd name="T12" fmla="*/ 272 w 345"/>
                <a:gd name="T13" fmla="*/ 357 h 357"/>
                <a:gd name="T14" fmla="*/ 272 w 345"/>
                <a:gd name="T15" fmla="*/ 134 h 357"/>
                <a:gd name="T16" fmla="*/ 345 w 345"/>
                <a:gd name="T17" fmla="*/ 134 h 357"/>
                <a:gd name="T18" fmla="*/ 345 w 345"/>
                <a:gd name="T19" fmla="*/ 73 h 357"/>
                <a:gd name="T20" fmla="*/ 272 w 345"/>
                <a:gd name="T21"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357">
                  <a:moveTo>
                    <a:pt x="272" y="0"/>
                  </a:moveTo>
                  <a:cubicBezTo>
                    <a:pt x="73" y="0"/>
                    <a:pt x="73" y="0"/>
                    <a:pt x="73" y="0"/>
                  </a:cubicBezTo>
                  <a:cubicBezTo>
                    <a:pt x="33" y="0"/>
                    <a:pt x="0" y="32"/>
                    <a:pt x="0" y="73"/>
                  </a:cubicBezTo>
                  <a:cubicBezTo>
                    <a:pt x="0" y="134"/>
                    <a:pt x="0" y="134"/>
                    <a:pt x="0" y="134"/>
                  </a:cubicBezTo>
                  <a:cubicBezTo>
                    <a:pt x="73" y="134"/>
                    <a:pt x="73" y="134"/>
                    <a:pt x="73" y="134"/>
                  </a:cubicBezTo>
                  <a:cubicBezTo>
                    <a:pt x="73" y="357"/>
                    <a:pt x="73" y="357"/>
                    <a:pt x="73" y="357"/>
                  </a:cubicBezTo>
                  <a:cubicBezTo>
                    <a:pt x="272" y="357"/>
                    <a:pt x="272" y="357"/>
                    <a:pt x="272" y="357"/>
                  </a:cubicBezTo>
                  <a:cubicBezTo>
                    <a:pt x="272" y="134"/>
                    <a:pt x="272" y="134"/>
                    <a:pt x="272" y="134"/>
                  </a:cubicBezTo>
                  <a:cubicBezTo>
                    <a:pt x="345" y="134"/>
                    <a:pt x="345" y="134"/>
                    <a:pt x="345" y="134"/>
                  </a:cubicBezTo>
                  <a:cubicBezTo>
                    <a:pt x="345" y="73"/>
                    <a:pt x="345" y="73"/>
                    <a:pt x="345" y="73"/>
                  </a:cubicBezTo>
                  <a:cubicBezTo>
                    <a:pt x="345" y="32"/>
                    <a:pt x="312" y="0"/>
                    <a:pt x="272" y="0"/>
                  </a:cubicBezTo>
                  <a:close/>
                </a:path>
              </a:pathLst>
            </a:custGeom>
            <a:solidFill>
              <a:srgbClr val="FF6600"/>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 name="Freeform 12"/>
            <p:cNvSpPr>
              <a:spLocks/>
            </p:cNvSpPr>
            <p:nvPr/>
          </p:nvSpPr>
          <p:spPr bwMode="auto">
            <a:xfrm>
              <a:off x="2225188" y="3941048"/>
              <a:ext cx="185312" cy="278503"/>
            </a:xfrm>
            <a:custGeom>
              <a:avLst/>
              <a:gdLst>
                <a:gd name="T0" fmla="*/ 76 w 122"/>
                <a:gd name="T1" fmla="*/ 184 h 184"/>
                <a:gd name="T2" fmla="*/ 0 w 122"/>
                <a:gd name="T3" fmla="*/ 184 h 184"/>
                <a:gd name="T4" fmla="*/ 0 w 122"/>
                <a:gd name="T5" fmla="*/ 130 h 184"/>
                <a:gd name="T6" fmla="*/ 69 w 122"/>
                <a:gd name="T7" fmla="*/ 130 h 184"/>
                <a:gd name="T8" fmla="*/ 69 w 122"/>
                <a:gd name="T9" fmla="*/ 0 h 184"/>
                <a:gd name="T10" fmla="*/ 122 w 122"/>
                <a:gd name="T11" fmla="*/ 0 h 184"/>
                <a:gd name="T12" fmla="*/ 122 w 122"/>
                <a:gd name="T13" fmla="*/ 138 h 184"/>
                <a:gd name="T14" fmla="*/ 76 w 122"/>
                <a:gd name="T15" fmla="*/ 184 h 1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84">
                  <a:moveTo>
                    <a:pt x="76" y="184"/>
                  </a:moveTo>
                  <a:cubicBezTo>
                    <a:pt x="0" y="184"/>
                    <a:pt x="0" y="184"/>
                    <a:pt x="0" y="184"/>
                  </a:cubicBezTo>
                  <a:cubicBezTo>
                    <a:pt x="0" y="130"/>
                    <a:pt x="0" y="130"/>
                    <a:pt x="0" y="130"/>
                  </a:cubicBezTo>
                  <a:cubicBezTo>
                    <a:pt x="69" y="130"/>
                    <a:pt x="69" y="130"/>
                    <a:pt x="69" y="130"/>
                  </a:cubicBezTo>
                  <a:cubicBezTo>
                    <a:pt x="69" y="0"/>
                    <a:pt x="69" y="0"/>
                    <a:pt x="69" y="0"/>
                  </a:cubicBezTo>
                  <a:cubicBezTo>
                    <a:pt x="122" y="0"/>
                    <a:pt x="122" y="0"/>
                    <a:pt x="122" y="0"/>
                  </a:cubicBezTo>
                  <a:cubicBezTo>
                    <a:pt x="122" y="138"/>
                    <a:pt x="122" y="138"/>
                    <a:pt x="122" y="138"/>
                  </a:cubicBezTo>
                  <a:cubicBezTo>
                    <a:pt x="122" y="163"/>
                    <a:pt x="102" y="184"/>
                    <a:pt x="76" y="18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 name="Rectangle 13"/>
            <p:cNvSpPr>
              <a:spLocks noChangeArrowheads="1"/>
            </p:cNvSpPr>
            <p:nvPr/>
          </p:nvSpPr>
          <p:spPr bwMode="auto">
            <a:xfrm>
              <a:off x="2743633" y="3941048"/>
              <a:ext cx="80338" cy="48416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 name="Freeform 14"/>
            <p:cNvSpPr>
              <a:spLocks/>
            </p:cNvSpPr>
            <p:nvPr/>
          </p:nvSpPr>
          <p:spPr bwMode="auto">
            <a:xfrm>
              <a:off x="2743633" y="4341665"/>
              <a:ext cx="80338" cy="163889"/>
            </a:xfrm>
            <a:custGeom>
              <a:avLst/>
              <a:gdLst>
                <a:gd name="T0" fmla="*/ 0 w 53"/>
                <a:gd name="T1" fmla="*/ 0 h 108"/>
                <a:gd name="T2" fmla="*/ 0 w 53"/>
                <a:gd name="T3" fmla="*/ 108 h 108"/>
                <a:gd name="T4" fmla="*/ 53 w 53"/>
                <a:gd name="T5" fmla="*/ 54 h 108"/>
                <a:gd name="T6" fmla="*/ 0 w 53"/>
                <a:gd name="T7" fmla="*/ 0 h 108"/>
              </a:gdLst>
              <a:ahLst/>
              <a:cxnLst>
                <a:cxn ang="0">
                  <a:pos x="T0" y="T1"/>
                </a:cxn>
                <a:cxn ang="0">
                  <a:pos x="T2" y="T3"/>
                </a:cxn>
                <a:cxn ang="0">
                  <a:pos x="T4" y="T5"/>
                </a:cxn>
                <a:cxn ang="0">
                  <a:pos x="T6" y="T7"/>
                </a:cxn>
              </a:cxnLst>
              <a:rect l="0" t="0" r="r" b="b"/>
              <a:pathLst>
                <a:path w="53" h="108">
                  <a:moveTo>
                    <a:pt x="0" y="0"/>
                  </a:moveTo>
                  <a:cubicBezTo>
                    <a:pt x="0" y="108"/>
                    <a:pt x="0" y="108"/>
                    <a:pt x="0" y="108"/>
                  </a:cubicBezTo>
                  <a:cubicBezTo>
                    <a:pt x="29" y="108"/>
                    <a:pt x="53" y="84"/>
                    <a:pt x="53" y="54"/>
                  </a:cubicBezTo>
                  <a:cubicBezTo>
                    <a:pt x="53" y="24"/>
                    <a:pt x="29"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 name="Freeform 15"/>
            <p:cNvSpPr>
              <a:spLocks/>
            </p:cNvSpPr>
            <p:nvPr/>
          </p:nvSpPr>
          <p:spPr bwMode="auto">
            <a:xfrm>
              <a:off x="2143779" y="4137071"/>
              <a:ext cx="163889" cy="82480"/>
            </a:xfrm>
            <a:custGeom>
              <a:avLst/>
              <a:gdLst>
                <a:gd name="T0" fmla="*/ 108 w 108"/>
                <a:gd name="T1" fmla="*/ 0 h 55"/>
                <a:gd name="T2" fmla="*/ 0 w 108"/>
                <a:gd name="T3" fmla="*/ 0 h 55"/>
                <a:gd name="T4" fmla="*/ 54 w 108"/>
                <a:gd name="T5" fmla="*/ 55 h 55"/>
                <a:gd name="T6" fmla="*/ 108 w 108"/>
                <a:gd name="T7" fmla="*/ 0 h 55"/>
              </a:gdLst>
              <a:ahLst/>
              <a:cxnLst>
                <a:cxn ang="0">
                  <a:pos x="T0" y="T1"/>
                </a:cxn>
                <a:cxn ang="0">
                  <a:pos x="T2" y="T3"/>
                </a:cxn>
                <a:cxn ang="0">
                  <a:pos x="T4" y="T5"/>
                </a:cxn>
                <a:cxn ang="0">
                  <a:pos x="T6" y="T7"/>
                </a:cxn>
              </a:cxnLst>
              <a:rect l="0" t="0" r="r" b="b"/>
              <a:pathLst>
                <a:path w="108" h="55">
                  <a:moveTo>
                    <a:pt x="108" y="0"/>
                  </a:moveTo>
                  <a:cubicBezTo>
                    <a:pt x="0" y="0"/>
                    <a:pt x="0" y="0"/>
                    <a:pt x="0" y="0"/>
                  </a:cubicBezTo>
                  <a:cubicBezTo>
                    <a:pt x="0" y="30"/>
                    <a:pt x="24" y="55"/>
                    <a:pt x="54" y="55"/>
                  </a:cubicBezTo>
                  <a:cubicBezTo>
                    <a:pt x="84" y="55"/>
                    <a:pt x="108" y="30"/>
                    <a:pt x="108"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 name="Rectangle 16"/>
            <p:cNvSpPr>
              <a:spLocks noChangeArrowheads="1"/>
            </p:cNvSpPr>
            <p:nvPr/>
          </p:nvSpPr>
          <p:spPr bwMode="auto">
            <a:xfrm>
              <a:off x="2743633" y="4321312"/>
              <a:ext cx="81409" cy="4391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 name="Rectangle 17"/>
            <p:cNvSpPr>
              <a:spLocks noChangeArrowheads="1"/>
            </p:cNvSpPr>
            <p:nvPr/>
          </p:nvSpPr>
          <p:spPr bwMode="auto">
            <a:xfrm>
              <a:off x="2014168" y="4100652"/>
              <a:ext cx="359912" cy="3642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 name="Freeform 18"/>
            <p:cNvSpPr>
              <a:spLocks/>
            </p:cNvSpPr>
            <p:nvPr/>
          </p:nvSpPr>
          <p:spPr bwMode="auto">
            <a:xfrm>
              <a:off x="1917763" y="3918553"/>
              <a:ext cx="374909" cy="182098"/>
            </a:xfrm>
            <a:custGeom>
              <a:avLst/>
              <a:gdLst>
                <a:gd name="T0" fmla="*/ 259 w 350"/>
                <a:gd name="T1" fmla="*/ 0 h 170"/>
                <a:gd name="T2" fmla="*/ 0 w 350"/>
                <a:gd name="T3" fmla="*/ 0 h 170"/>
                <a:gd name="T4" fmla="*/ 90 w 350"/>
                <a:gd name="T5" fmla="*/ 170 h 170"/>
                <a:gd name="T6" fmla="*/ 350 w 350"/>
                <a:gd name="T7" fmla="*/ 170 h 170"/>
                <a:gd name="T8" fmla="*/ 259 w 350"/>
                <a:gd name="T9" fmla="*/ 0 h 170"/>
              </a:gdLst>
              <a:ahLst/>
              <a:cxnLst>
                <a:cxn ang="0">
                  <a:pos x="T0" y="T1"/>
                </a:cxn>
                <a:cxn ang="0">
                  <a:pos x="T2" y="T3"/>
                </a:cxn>
                <a:cxn ang="0">
                  <a:pos x="T4" y="T5"/>
                </a:cxn>
                <a:cxn ang="0">
                  <a:pos x="T6" y="T7"/>
                </a:cxn>
                <a:cxn ang="0">
                  <a:pos x="T8" y="T9"/>
                </a:cxn>
              </a:cxnLst>
              <a:rect l="0" t="0" r="r" b="b"/>
              <a:pathLst>
                <a:path w="350" h="170">
                  <a:moveTo>
                    <a:pt x="259" y="0"/>
                  </a:moveTo>
                  <a:lnTo>
                    <a:pt x="0" y="0"/>
                  </a:lnTo>
                  <a:lnTo>
                    <a:pt x="90" y="170"/>
                  </a:lnTo>
                  <a:lnTo>
                    <a:pt x="350" y="170"/>
                  </a:lnTo>
                  <a:lnTo>
                    <a:pt x="2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 name="Rectangle 19"/>
            <p:cNvSpPr>
              <a:spLocks noChangeArrowheads="1"/>
            </p:cNvSpPr>
            <p:nvPr/>
          </p:nvSpPr>
          <p:spPr bwMode="auto">
            <a:xfrm>
              <a:off x="2292672" y="4100652"/>
              <a:ext cx="81409" cy="3749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 name="Freeform 20"/>
            <p:cNvSpPr>
              <a:spLocks/>
            </p:cNvSpPr>
            <p:nvPr/>
          </p:nvSpPr>
          <p:spPr bwMode="auto">
            <a:xfrm>
              <a:off x="2529399" y="3625053"/>
              <a:ext cx="95334" cy="159604"/>
            </a:xfrm>
            <a:custGeom>
              <a:avLst/>
              <a:gdLst>
                <a:gd name="T0" fmla="*/ 45 w 89"/>
                <a:gd name="T1" fmla="*/ 149 h 149"/>
                <a:gd name="T2" fmla="*/ 0 w 89"/>
                <a:gd name="T3" fmla="*/ 105 h 149"/>
                <a:gd name="T4" fmla="*/ 0 w 89"/>
                <a:gd name="T5" fmla="*/ 0 h 149"/>
                <a:gd name="T6" fmla="*/ 89 w 89"/>
                <a:gd name="T7" fmla="*/ 0 h 149"/>
                <a:gd name="T8" fmla="*/ 89 w 89"/>
                <a:gd name="T9" fmla="*/ 105 h 149"/>
                <a:gd name="T10" fmla="*/ 45 w 89"/>
                <a:gd name="T11" fmla="*/ 149 h 149"/>
              </a:gdLst>
              <a:ahLst/>
              <a:cxnLst>
                <a:cxn ang="0">
                  <a:pos x="T0" y="T1"/>
                </a:cxn>
                <a:cxn ang="0">
                  <a:pos x="T2" y="T3"/>
                </a:cxn>
                <a:cxn ang="0">
                  <a:pos x="T4" y="T5"/>
                </a:cxn>
                <a:cxn ang="0">
                  <a:pos x="T6" y="T7"/>
                </a:cxn>
                <a:cxn ang="0">
                  <a:pos x="T8" y="T9"/>
                </a:cxn>
                <a:cxn ang="0">
                  <a:pos x="T10" y="T11"/>
                </a:cxn>
              </a:cxnLst>
              <a:rect l="0" t="0" r="r" b="b"/>
              <a:pathLst>
                <a:path w="89" h="149">
                  <a:moveTo>
                    <a:pt x="45" y="149"/>
                  </a:moveTo>
                  <a:lnTo>
                    <a:pt x="0" y="105"/>
                  </a:lnTo>
                  <a:lnTo>
                    <a:pt x="0" y="0"/>
                  </a:lnTo>
                  <a:lnTo>
                    <a:pt x="89" y="0"/>
                  </a:lnTo>
                  <a:lnTo>
                    <a:pt x="89" y="105"/>
                  </a:lnTo>
                  <a:lnTo>
                    <a:pt x="45" y="149"/>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 name="Freeform 21"/>
            <p:cNvSpPr>
              <a:spLocks/>
            </p:cNvSpPr>
            <p:nvPr/>
          </p:nvSpPr>
          <p:spPr bwMode="auto">
            <a:xfrm>
              <a:off x="2529399" y="3625053"/>
              <a:ext cx="95334" cy="85693"/>
            </a:xfrm>
            <a:custGeom>
              <a:avLst/>
              <a:gdLst>
                <a:gd name="T0" fmla="*/ 0 w 63"/>
                <a:gd name="T1" fmla="*/ 51 h 56"/>
                <a:gd name="T2" fmla="*/ 31 w 63"/>
                <a:gd name="T3" fmla="*/ 56 h 56"/>
                <a:gd name="T4" fmla="*/ 63 w 63"/>
                <a:gd name="T5" fmla="*/ 51 h 56"/>
                <a:gd name="T6" fmla="*/ 63 w 63"/>
                <a:gd name="T7" fmla="*/ 0 h 56"/>
                <a:gd name="T8" fmla="*/ 0 w 63"/>
                <a:gd name="T9" fmla="*/ 0 h 56"/>
                <a:gd name="T10" fmla="*/ 0 w 63"/>
                <a:gd name="T11" fmla="*/ 51 h 56"/>
              </a:gdLst>
              <a:ahLst/>
              <a:cxnLst>
                <a:cxn ang="0">
                  <a:pos x="T0" y="T1"/>
                </a:cxn>
                <a:cxn ang="0">
                  <a:pos x="T2" y="T3"/>
                </a:cxn>
                <a:cxn ang="0">
                  <a:pos x="T4" y="T5"/>
                </a:cxn>
                <a:cxn ang="0">
                  <a:pos x="T6" y="T7"/>
                </a:cxn>
                <a:cxn ang="0">
                  <a:pos x="T8" y="T9"/>
                </a:cxn>
                <a:cxn ang="0">
                  <a:pos x="T10" y="T11"/>
                </a:cxn>
              </a:cxnLst>
              <a:rect l="0" t="0" r="r" b="b"/>
              <a:pathLst>
                <a:path w="63" h="56">
                  <a:moveTo>
                    <a:pt x="0" y="51"/>
                  </a:moveTo>
                  <a:cubicBezTo>
                    <a:pt x="10" y="54"/>
                    <a:pt x="20" y="56"/>
                    <a:pt x="31" y="56"/>
                  </a:cubicBezTo>
                  <a:cubicBezTo>
                    <a:pt x="42" y="56"/>
                    <a:pt x="53" y="54"/>
                    <a:pt x="63" y="51"/>
                  </a:cubicBezTo>
                  <a:cubicBezTo>
                    <a:pt x="63" y="0"/>
                    <a:pt x="63" y="0"/>
                    <a:pt x="63" y="0"/>
                  </a:cubicBezTo>
                  <a:cubicBezTo>
                    <a:pt x="0" y="0"/>
                    <a:pt x="0" y="0"/>
                    <a:pt x="0" y="0"/>
                  </a:cubicBezTo>
                  <a:lnTo>
                    <a:pt x="0" y="5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 name="Freeform 22"/>
            <p:cNvSpPr>
              <a:spLocks/>
            </p:cNvSpPr>
            <p:nvPr/>
          </p:nvSpPr>
          <p:spPr bwMode="auto">
            <a:xfrm>
              <a:off x="2434066" y="3448311"/>
              <a:ext cx="284931" cy="29993"/>
            </a:xfrm>
            <a:custGeom>
              <a:avLst/>
              <a:gdLst>
                <a:gd name="T0" fmla="*/ 188 w 188"/>
                <a:gd name="T1" fmla="*/ 10 h 20"/>
                <a:gd name="T2" fmla="*/ 179 w 188"/>
                <a:gd name="T3" fmla="*/ 20 h 20"/>
                <a:gd name="T4" fmla="*/ 10 w 188"/>
                <a:gd name="T5" fmla="*/ 20 h 20"/>
                <a:gd name="T6" fmla="*/ 0 w 188"/>
                <a:gd name="T7" fmla="*/ 10 h 20"/>
                <a:gd name="T8" fmla="*/ 0 w 188"/>
                <a:gd name="T9" fmla="*/ 10 h 20"/>
                <a:gd name="T10" fmla="*/ 10 w 188"/>
                <a:gd name="T11" fmla="*/ 0 h 20"/>
                <a:gd name="T12" fmla="*/ 179 w 188"/>
                <a:gd name="T13" fmla="*/ 0 h 20"/>
                <a:gd name="T14" fmla="*/ 188 w 18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0">
                  <a:moveTo>
                    <a:pt x="188" y="10"/>
                  </a:moveTo>
                  <a:cubicBezTo>
                    <a:pt x="188" y="15"/>
                    <a:pt x="184" y="20"/>
                    <a:pt x="179" y="20"/>
                  </a:cubicBezTo>
                  <a:cubicBezTo>
                    <a:pt x="10" y="20"/>
                    <a:pt x="10" y="20"/>
                    <a:pt x="10" y="20"/>
                  </a:cubicBezTo>
                  <a:cubicBezTo>
                    <a:pt x="5" y="20"/>
                    <a:pt x="0" y="15"/>
                    <a:pt x="0" y="10"/>
                  </a:cubicBezTo>
                  <a:cubicBezTo>
                    <a:pt x="0" y="10"/>
                    <a:pt x="0" y="10"/>
                    <a:pt x="0" y="10"/>
                  </a:cubicBezTo>
                  <a:cubicBezTo>
                    <a:pt x="0" y="5"/>
                    <a:pt x="5" y="0"/>
                    <a:pt x="10" y="0"/>
                  </a:cubicBezTo>
                  <a:cubicBezTo>
                    <a:pt x="179" y="0"/>
                    <a:pt x="179" y="0"/>
                    <a:pt x="179" y="0"/>
                  </a:cubicBezTo>
                  <a:cubicBezTo>
                    <a:pt x="184" y="0"/>
                    <a:pt x="188" y="5"/>
                    <a:pt x="18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 name="Freeform 23"/>
            <p:cNvSpPr>
              <a:spLocks/>
            </p:cNvSpPr>
            <p:nvPr/>
          </p:nvSpPr>
          <p:spPr bwMode="auto">
            <a:xfrm>
              <a:off x="2464058" y="3294063"/>
              <a:ext cx="226017" cy="155320"/>
            </a:xfrm>
            <a:custGeom>
              <a:avLst/>
              <a:gdLst>
                <a:gd name="T0" fmla="*/ 75 w 149"/>
                <a:gd name="T1" fmla="*/ 0 h 102"/>
                <a:gd name="T2" fmla="*/ 0 w 149"/>
                <a:gd name="T3" fmla="*/ 75 h 102"/>
                <a:gd name="T4" fmla="*/ 0 w 149"/>
                <a:gd name="T5" fmla="*/ 102 h 102"/>
                <a:gd name="T6" fmla="*/ 149 w 149"/>
                <a:gd name="T7" fmla="*/ 102 h 102"/>
                <a:gd name="T8" fmla="*/ 149 w 149"/>
                <a:gd name="T9" fmla="*/ 75 h 102"/>
                <a:gd name="T10" fmla="*/ 75 w 149"/>
                <a:gd name="T11" fmla="*/ 0 h 102"/>
              </a:gdLst>
              <a:ahLst/>
              <a:cxnLst>
                <a:cxn ang="0">
                  <a:pos x="T0" y="T1"/>
                </a:cxn>
                <a:cxn ang="0">
                  <a:pos x="T2" y="T3"/>
                </a:cxn>
                <a:cxn ang="0">
                  <a:pos x="T4" y="T5"/>
                </a:cxn>
                <a:cxn ang="0">
                  <a:pos x="T6" y="T7"/>
                </a:cxn>
                <a:cxn ang="0">
                  <a:pos x="T8" y="T9"/>
                </a:cxn>
                <a:cxn ang="0">
                  <a:pos x="T10" y="T11"/>
                </a:cxn>
              </a:cxnLst>
              <a:rect l="0" t="0" r="r" b="b"/>
              <a:pathLst>
                <a:path w="149" h="102">
                  <a:moveTo>
                    <a:pt x="75" y="0"/>
                  </a:moveTo>
                  <a:cubicBezTo>
                    <a:pt x="33" y="0"/>
                    <a:pt x="0" y="34"/>
                    <a:pt x="0" y="75"/>
                  </a:cubicBezTo>
                  <a:cubicBezTo>
                    <a:pt x="0" y="102"/>
                    <a:pt x="0" y="102"/>
                    <a:pt x="0" y="102"/>
                  </a:cubicBezTo>
                  <a:cubicBezTo>
                    <a:pt x="149" y="102"/>
                    <a:pt x="149" y="102"/>
                    <a:pt x="149" y="102"/>
                  </a:cubicBezTo>
                  <a:cubicBezTo>
                    <a:pt x="149" y="75"/>
                    <a:pt x="149" y="75"/>
                    <a:pt x="149" y="75"/>
                  </a:cubicBezTo>
                  <a:cubicBezTo>
                    <a:pt x="149" y="34"/>
                    <a:pt x="116"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7" name="Rectangle 24"/>
            <p:cNvSpPr>
              <a:spLocks noChangeArrowheads="1"/>
            </p:cNvSpPr>
            <p:nvPr/>
          </p:nvSpPr>
          <p:spPr bwMode="auto">
            <a:xfrm>
              <a:off x="2464058" y="3408678"/>
              <a:ext cx="226017" cy="39634"/>
            </a:xfrm>
            <a:prstGeom prst="rect">
              <a:avLst/>
            </a:prstGeom>
            <a:solidFill>
              <a:schemeClr val="accent4"/>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8" name="Freeform 25"/>
            <p:cNvSpPr>
              <a:spLocks/>
            </p:cNvSpPr>
            <p:nvPr/>
          </p:nvSpPr>
          <p:spPr bwMode="auto">
            <a:xfrm>
              <a:off x="2464058" y="3478304"/>
              <a:ext cx="226017" cy="212091"/>
            </a:xfrm>
            <a:custGeom>
              <a:avLst/>
              <a:gdLst>
                <a:gd name="T0" fmla="*/ 0 w 149"/>
                <a:gd name="T1" fmla="*/ 0 h 140"/>
                <a:gd name="T2" fmla="*/ 0 w 149"/>
                <a:gd name="T3" fmla="*/ 116 h 140"/>
                <a:gd name="T4" fmla="*/ 1 w 149"/>
                <a:gd name="T5" fmla="*/ 116 h 140"/>
                <a:gd name="T6" fmla="*/ 74 w 149"/>
                <a:gd name="T7" fmla="*/ 140 h 140"/>
                <a:gd name="T8" fmla="*/ 149 w 149"/>
                <a:gd name="T9" fmla="*/ 116 h 140"/>
                <a:gd name="T10" fmla="*/ 149 w 149"/>
                <a:gd name="T11" fmla="*/ 0 h 140"/>
                <a:gd name="T12" fmla="*/ 0 w 149"/>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49" h="140">
                  <a:moveTo>
                    <a:pt x="0" y="0"/>
                  </a:moveTo>
                  <a:cubicBezTo>
                    <a:pt x="0" y="116"/>
                    <a:pt x="0" y="116"/>
                    <a:pt x="0" y="116"/>
                  </a:cubicBezTo>
                  <a:cubicBezTo>
                    <a:pt x="1" y="116"/>
                    <a:pt x="1" y="116"/>
                    <a:pt x="1" y="116"/>
                  </a:cubicBezTo>
                  <a:cubicBezTo>
                    <a:pt x="21" y="131"/>
                    <a:pt x="47" y="140"/>
                    <a:pt x="74" y="140"/>
                  </a:cubicBezTo>
                  <a:cubicBezTo>
                    <a:pt x="117" y="140"/>
                    <a:pt x="149" y="116"/>
                    <a:pt x="149" y="116"/>
                  </a:cubicBezTo>
                  <a:cubicBezTo>
                    <a:pt x="149" y="0"/>
                    <a:pt x="149" y="0"/>
                    <a:pt x="149"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 name="Rectangle 26"/>
            <p:cNvSpPr>
              <a:spLocks noChangeArrowheads="1"/>
            </p:cNvSpPr>
            <p:nvPr/>
          </p:nvSpPr>
          <p:spPr bwMode="auto">
            <a:xfrm>
              <a:off x="2743633" y="3941048"/>
              <a:ext cx="80338" cy="22495"/>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 name="Rectangle 27"/>
            <p:cNvSpPr>
              <a:spLocks noChangeArrowheads="1"/>
            </p:cNvSpPr>
            <p:nvPr/>
          </p:nvSpPr>
          <p:spPr bwMode="auto">
            <a:xfrm>
              <a:off x="2330162" y="3941048"/>
              <a:ext cx="80338" cy="22495"/>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 name="Freeform 28"/>
            <p:cNvSpPr>
              <a:spLocks/>
            </p:cNvSpPr>
            <p:nvPr/>
          </p:nvSpPr>
          <p:spPr bwMode="auto">
            <a:xfrm>
              <a:off x="2498336" y="3585421"/>
              <a:ext cx="156390" cy="35349"/>
            </a:xfrm>
            <a:custGeom>
              <a:avLst/>
              <a:gdLst>
                <a:gd name="T0" fmla="*/ 93 w 103"/>
                <a:gd name="T1" fmla="*/ 0 h 23"/>
                <a:gd name="T2" fmla="*/ 92 w 103"/>
                <a:gd name="T3" fmla="*/ 0 h 23"/>
                <a:gd name="T4" fmla="*/ 99 w 103"/>
                <a:gd name="T5" fmla="*/ 9 h 23"/>
                <a:gd name="T6" fmla="*/ 93 w 103"/>
                <a:gd name="T7" fmla="*/ 17 h 23"/>
                <a:gd name="T8" fmla="*/ 67 w 103"/>
                <a:gd name="T9" fmla="*/ 7 h 23"/>
                <a:gd name="T10" fmla="*/ 52 w 103"/>
                <a:gd name="T11" fmla="*/ 16 h 23"/>
                <a:gd name="T12" fmla="*/ 36 w 103"/>
                <a:gd name="T13" fmla="*/ 7 h 23"/>
                <a:gd name="T14" fmla="*/ 10 w 103"/>
                <a:gd name="T15" fmla="*/ 17 h 23"/>
                <a:gd name="T16" fmla="*/ 4 w 103"/>
                <a:gd name="T17" fmla="*/ 9 h 23"/>
                <a:gd name="T18" fmla="*/ 12 w 103"/>
                <a:gd name="T19" fmla="*/ 0 h 23"/>
                <a:gd name="T20" fmla="*/ 10 w 103"/>
                <a:gd name="T21" fmla="*/ 0 h 23"/>
                <a:gd name="T22" fmla="*/ 0 w 103"/>
                <a:gd name="T23" fmla="*/ 11 h 23"/>
                <a:gd name="T24" fmla="*/ 10 w 103"/>
                <a:gd name="T25" fmla="*/ 23 h 23"/>
                <a:gd name="T26" fmla="*/ 50 w 103"/>
                <a:gd name="T27" fmla="*/ 23 h 23"/>
                <a:gd name="T28" fmla="*/ 54 w 103"/>
                <a:gd name="T29" fmla="*/ 23 h 23"/>
                <a:gd name="T30" fmla="*/ 93 w 103"/>
                <a:gd name="T31" fmla="*/ 23 h 23"/>
                <a:gd name="T32" fmla="*/ 103 w 103"/>
                <a:gd name="T33" fmla="*/ 11 h 23"/>
                <a:gd name="T34" fmla="*/ 93 w 103"/>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3">
                  <a:moveTo>
                    <a:pt x="93" y="0"/>
                  </a:moveTo>
                  <a:cubicBezTo>
                    <a:pt x="92" y="0"/>
                    <a:pt x="92" y="0"/>
                    <a:pt x="92" y="0"/>
                  </a:cubicBezTo>
                  <a:cubicBezTo>
                    <a:pt x="96" y="0"/>
                    <a:pt x="99" y="4"/>
                    <a:pt x="99" y="9"/>
                  </a:cubicBezTo>
                  <a:cubicBezTo>
                    <a:pt x="99" y="13"/>
                    <a:pt x="97" y="17"/>
                    <a:pt x="93" y="17"/>
                  </a:cubicBezTo>
                  <a:cubicBezTo>
                    <a:pt x="80" y="17"/>
                    <a:pt x="78" y="7"/>
                    <a:pt x="67" y="7"/>
                  </a:cubicBezTo>
                  <a:cubicBezTo>
                    <a:pt x="58" y="7"/>
                    <a:pt x="54" y="12"/>
                    <a:pt x="52" y="16"/>
                  </a:cubicBezTo>
                  <a:cubicBezTo>
                    <a:pt x="49" y="12"/>
                    <a:pt x="45" y="7"/>
                    <a:pt x="36" y="7"/>
                  </a:cubicBezTo>
                  <a:cubicBezTo>
                    <a:pt x="25" y="7"/>
                    <a:pt x="23" y="17"/>
                    <a:pt x="10" y="17"/>
                  </a:cubicBezTo>
                  <a:cubicBezTo>
                    <a:pt x="6" y="17"/>
                    <a:pt x="4" y="13"/>
                    <a:pt x="4" y="9"/>
                  </a:cubicBezTo>
                  <a:cubicBezTo>
                    <a:pt x="4" y="4"/>
                    <a:pt x="8" y="0"/>
                    <a:pt x="12" y="0"/>
                  </a:cubicBezTo>
                  <a:cubicBezTo>
                    <a:pt x="11" y="0"/>
                    <a:pt x="11" y="0"/>
                    <a:pt x="10" y="0"/>
                  </a:cubicBezTo>
                  <a:cubicBezTo>
                    <a:pt x="4" y="0"/>
                    <a:pt x="0" y="5"/>
                    <a:pt x="0" y="11"/>
                  </a:cubicBezTo>
                  <a:cubicBezTo>
                    <a:pt x="0" y="18"/>
                    <a:pt x="4" y="23"/>
                    <a:pt x="10" y="23"/>
                  </a:cubicBezTo>
                  <a:cubicBezTo>
                    <a:pt x="16" y="23"/>
                    <a:pt x="40" y="23"/>
                    <a:pt x="50" y="23"/>
                  </a:cubicBezTo>
                  <a:cubicBezTo>
                    <a:pt x="52" y="23"/>
                    <a:pt x="54" y="23"/>
                    <a:pt x="54" y="23"/>
                  </a:cubicBezTo>
                  <a:cubicBezTo>
                    <a:pt x="63" y="23"/>
                    <a:pt x="87" y="23"/>
                    <a:pt x="93" y="23"/>
                  </a:cubicBezTo>
                  <a:cubicBezTo>
                    <a:pt x="99" y="23"/>
                    <a:pt x="103" y="18"/>
                    <a:pt x="103" y="11"/>
                  </a:cubicBezTo>
                  <a:cubicBezTo>
                    <a:pt x="103" y="5"/>
                    <a:pt x="99" y="0"/>
                    <a:pt x="9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2" name="Freeform 29"/>
            <p:cNvSpPr>
              <a:spLocks noEditPoints="1"/>
            </p:cNvSpPr>
            <p:nvPr/>
          </p:nvSpPr>
          <p:spPr bwMode="auto">
            <a:xfrm>
              <a:off x="2489766" y="3510439"/>
              <a:ext cx="174601" cy="62128"/>
            </a:xfrm>
            <a:custGeom>
              <a:avLst/>
              <a:gdLst>
                <a:gd name="T0" fmla="*/ 63 w 115"/>
                <a:gd name="T1" fmla="*/ 4 h 41"/>
                <a:gd name="T2" fmla="*/ 57 w 115"/>
                <a:gd name="T3" fmla="*/ 4 h 41"/>
                <a:gd name="T4" fmla="*/ 51 w 115"/>
                <a:gd name="T5" fmla="*/ 4 h 41"/>
                <a:gd name="T6" fmla="*/ 0 w 115"/>
                <a:gd name="T7" fmla="*/ 5 h 41"/>
                <a:gd name="T8" fmla="*/ 6 w 115"/>
                <a:gd name="T9" fmla="*/ 29 h 41"/>
                <a:gd name="T10" fmla="*/ 10 w 115"/>
                <a:gd name="T11" fmla="*/ 36 h 41"/>
                <a:gd name="T12" fmla="*/ 57 w 115"/>
                <a:gd name="T13" fmla="*/ 13 h 41"/>
                <a:gd name="T14" fmla="*/ 109 w 115"/>
                <a:gd name="T15" fmla="*/ 29 h 41"/>
                <a:gd name="T16" fmla="*/ 115 w 115"/>
                <a:gd name="T17" fmla="*/ 5 h 41"/>
                <a:gd name="T18" fmla="*/ 42 w 115"/>
                <a:gd name="T19" fmla="*/ 5 h 41"/>
                <a:gd name="T20" fmla="*/ 9 w 115"/>
                <a:gd name="T21" fmla="*/ 7 h 41"/>
                <a:gd name="T22" fmla="*/ 7 w 115"/>
                <a:gd name="T23" fmla="*/ 9 h 41"/>
                <a:gd name="T24" fmla="*/ 1 w 115"/>
                <a:gd name="T25" fmla="*/ 7 h 41"/>
                <a:gd name="T26" fmla="*/ 4 w 115"/>
                <a:gd name="T27" fmla="*/ 8 h 41"/>
                <a:gd name="T28" fmla="*/ 36 w 115"/>
                <a:gd name="T29" fmla="*/ 36 h 41"/>
                <a:gd name="T30" fmla="*/ 12 w 115"/>
                <a:gd name="T31" fmla="*/ 34 h 41"/>
                <a:gd name="T32" fmla="*/ 42 w 115"/>
                <a:gd name="T33" fmla="*/ 32 h 41"/>
                <a:gd name="T34" fmla="*/ 9 w 115"/>
                <a:gd name="T35" fmla="*/ 30 h 41"/>
                <a:gd name="T36" fmla="*/ 43 w 115"/>
                <a:gd name="T37" fmla="*/ 30 h 41"/>
                <a:gd name="T38" fmla="*/ 7 w 115"/>
                <a:gd name="T39" fmla="*/ 23 h 41"/>
                <a:gd name="T40" fmla="*/ 48 w 115"/>
                <a:gd name="T41" fmla="*/ 22 h 41"/>
                <a:gd name="T42" fmla="*/ 48 w 115"/>
                <a:gd name="T43" fmla="*/ 19 h 41"/>
                <a:gd name="T44" fmla="*/ 6 w 115"/>
                <a:gd name="T45" fmla="*/ 18 h 41"/>
                <a:gd name="T46" fmla="*/ 49 w 115"/>
                <a:gd name="T47" fmla="*/ 15 h 41"/>
                <a:gd name="T48" fmla="*/ 6 w 115"/>
                <a:gd name="T49" fmla="*/ 13 h 41"/>
                <a:gd name="T50" fmla="*/ 49 w 115"/>
                <a:gd name="T51" fmla="*/ 13 h 41"/>
                <a:gd name="T52" fmla="*/ 104 w 115"/>
                <a:gd name="T53" fmla="*/ 5 h 41"/>
                <a:gd name="T54" fmla="*/ 70 w 115"/>
                <a:gd name="T55" fmla="*/ 7 h 41"/>
                <a:gd name="T56" fmla="*/ 67 w 115"/>
                <a:gd name="T57" fmla="*/ 9 h 41"/>
                <a:gd name="T58" fmla="*/ 66 w 115"/>
                <a:gd name="T59" fmla="*/ 11 h 41"/>
                <a:gd name="T60" fmla="*/ 66 w 115"/>
                <a:gd name="T61" fmla="*/ 13 h 41"/>
                <a:gd name="T62" fmla="*/ 79 w 115"/>
                <a:gd name="T63" fmla="*/ 36 h 41"/>
                <a:gd name="T64" fmla="*/ 105 w 115"/>
                <a:gd name="T65" fmla="*/ 32 h 41"/>
                <a:gd name="T66" fmla="*/ 73 w 115"/>
                <a:gd name="T67" fmla="*/ 32 h 41"/>
                <a:gd name="T68" fmla="*/ 106 w 115"/>
                <a:gd name="T69" fmla="*/ 30 h 41"/>
                <a:gd name="T70" fmla="*/ 107 w 115"/>
                <a:gd name="T71" fmla="*/ 28 h 41"/>
                <a:gd name="T72" fmla="*/ 69 w 115"/>
                <a:gd name="T73" fmla="*/ 26 h 41"/>
                <a:gd name="T74" fmla="*/ 108 w 115"/>
                <a:gd name="T75" fmla="*/ 26 h 41"/>
                <a:gd name="T76" fmla="*/ 67 w 115"/>
                <a:gd name="T77" fmla="*/ 19 h 41"/>
                <a:gd name="T78" fmla="*/ 109 w 115"/>
                <a:gd name="T79" fmla="*/ 18 h 41"/>
                <a:gd name="T80" fmla="*/ 109 w 115"/>
                <a:gd name="T81" fmla="*/ 15 h 41"/>
                <a:gd name="T82" fmla="*/ 111 w 115"/>
                <a:gd name="T83" fmla="*/ 8 h 41"/>
                <a:gd name="T84" fmla="*/ 114 w 115"/>
                <a:gd name="T85"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 h="41">
                  <a:moveTo>
                    <a:pt x="114" y="3"/>
                  </a:moveTo>
                  <a:cubicBezTo>
                    <a:pt x="114" y="3"/>
                    <a:pt x="101" y="0"/>
                    <a:pt x="90" y="0"/>
                  </a:cubicBezTo>
                  <a:cubicBezTo>
                    <a:pt x="79" y="0"/>
                    <a:pt x="63" y="4"/>
                    <a:pt x="63" y="4"/>
                  </a:cubicBezTo>
                  <a:cubicBezTo>
                    <a:pt x="57" y="4"/>
                    <a:pt x="57" y="4"/>
                    <a:pt x="57" y="4"/>
                  </a:cubicBezTo>
                  <a:cubicBezTo>
                    <a:pt x="57" y="4"/>
                    <a:pt x="57" y="4"/>
                    <a:pt x="57" y="4"/>
                  </a:cubicBezTo>
                  <a:cubicBezTo>
                    <a:pt x="57" y="4"/>
                    <a:pt x="57" y="4"/>
                    <a:pt x="57" y="4"/>
                  </a:cubicBezTo>
                  <a:cubicBezTo>
                    <a:pt x="57" y="4"/>
                    <a:pt x="57" y="4"/>
                    <a:pt x="57" y="4"/>
                  </a:cubicBezTo>
                  <a:cubicBezTo>
                    <a:pt x="57" y="4"/>
                    <a:pt x="57" y="4"/>
                    <a:pt x="57" y="4"/>
                  </a:cubicBezTo>
                  <a:cubicBezTo>
                    <a:pt x="51" y="4"/>
                    <a:pt x="51" y="4"/>
                    <a:pt x="51" y="4"/>
                  </a:cubicBezTo>
                  <a:cubicBezTo>
                    <a:pt x="51" y="4"/>
                    <a:pt x="35" y="0"/>
                    <a:pt x="24" y="0"/>
                  </a:cubicBezTo>
                  <a:cubicBezTo>
                    <a:pt x="14" y="0"/>
                    <a:pt x="1" y="3"/>
                    <a:pt x="1" y="3"/>
                  </a:cubicBezTo>
                  <a:cubicBezTo>
                    <a:pt x="1" y="3"/>
                    <a:pt x="0" y="3"/>
                    <a:pt x="0" y="5"/>
                  </a:cubicBezTo>
                  <a:cubicBezTo>
                    <a:pt x="0" y="5"/>
                    <a:pt x="0" y="9"/>
                    <a:pt x="0" y="11"/>
                  </a:cubicBezTo>
                  <a:cubicBezTo>
                    <a:pt x="0" y="12"/>
                    <a:pt x="2" y="12"/>
                    <a:pt x="3" y="13"/>
                  </a:cubicBezTo>
                  <a:cubicBezTo>
                    <a:pt x="4" y="15"/>
                    <a:pt x="5" y="23"/>
                    <a:pt x="6" y="29"/>
                  </a:cubicBezTo>
                  <a:cubicBezTo>
                    <a:pt x="6" y="31"/>
                    <a:pt x="7" y="34"/>
                    <a:pt x="10" y="36"/>
                  </a:cubicBezTo>
                  <a:cubicBezTo>
                    <a:pt x="10" y="36"/>
                    <a:pt x="10" y="36"/>
                    <a:pt x="10" y="36"/>
                  </a:cubicBezTo>
                  <a:cubicBezTo>
                    <a:pt x="10" y="36"/>
                    <a:pt x="10" y="36"/>
                    <a:pt x="10" y="36"/>
                  </a:cubicBezTo>
                  <a:cubicBezTo>
                    <a:pt x="13" y="39"/>
                    <a:pt x="17" y="41"/>
                    <a:pt x="25" y="41"/>
                  </a:cubicBezTo>
                  <a:cubicBezTo>
                    <a:pt x="36" y="41"/>
                    <a:pt x="41" y="38"/>
                    <a:pt x="46" y="30"/>
                  </a:cubicBezTo>
                  <a:cubicBezTo>
                    <a:pt x="51" y="22"/>
                    <a:pt x="52" y="13"/>
                    <a:pt x="57" y="13"/>
                  </a:cubicBezTo>
                  <a:cubicBezTo>
                    <a:pt x="62" y="13"/>
                    <a:pt x="63" y="22"/>
                    <a:pt x="68" y="30"/>
                  </a:cubicBezTo>
                  <a:cubicBezTo>
                    <a:pt x="73" y="38"/>
                    <a:pt x="79" y="41"/>
                    <a:pt x="90" y="41"/>
                  </a:cubicBezTo>
                  <a:cubicBezTo>
                    <a:pt x="103" y="41"/>
                    <a:pt x="108" y="35"/>
                    <a:pt x="109" y="29"/>
                  </a:cubicBezTo>
                  <a:cubicBezTo>
                    <a:pt x="110" y="23"/>
                    <a:pt x="111" y="15"/>
                    <a:pt x="112" y="13"/>
                  </a:cubicBezTo>
                  <a:cubicBezTo>
                    <a:pt x="113" y="12"/>
                    <a:pt x="115" y="12"/>
                    <a:pt x="115" y="11"/>
                  </a:cubicBezTo>
                  <a:cubicBezTo>
                    <a:pt x="115" y="9"/>
                    <a:pt x="115" y="5"/>
                    <a:pt x="115" y="5"/>
                  </a:cubicBezTo>
                  <a:cubicBezTo>
                    <a:pt x="115" y="3"/>
                    <a:pt x="114" y="3"/>
                    <a:pt x="114" y="3"/>
                  </a:cubicBezTo>
                  <a:close/>
                  <a:moveTo>
                    <a:pt x="24" y="2"/>
                  </a:moveTo>
                  <a:cubicBezTo>
                    <a:pt x="30" y="2"/>
                    <a:pt x="37" y="3"/>
                    <a:pt x="42" y="5"/>
                  </a:cubicBezTo>
                  <a:cubicBezTo>
                    <a:pt x="11" y="5"/>
                    <a:pt x="11" y="5"/>
                    <a:pt x="11" y="5"/>
                  </a:cubicBezTo>
                  <a:cubicBezTo>
                    <a:pt x="14" y="3"/>
                    <a:pt x="18" y="2"/>
                    <a:pt x="24" y="2"/>
                  </a:cubicBezTo>
                  <a:close/>
                  <a:moveTo>
                    <a:pt x="9" y="7"/>
                  </a:moveTo>
                  <a:cubicBezTo>
                    <a:pt x="45" y="7"/>
                    <a:pt x="45" y="7"/>
                    <a:pt x="45" y="7"/>
                  </a:cubicBezTo>
                  <a:cubicBezTo>
                    <a:pt x="46" y="7"/>
                    <a:pt x="47" y="8"/>
                    <a:pt x="48" y="9"/>
                  </a:cubicBezTo>
                  <a:cubicBezTo>
                    <a:pt x="7" y="9"/>
                    <a:pt x="7" y="9"/>
                    <a:pt x="7" y="9"/>
                  </a:cubicBezTo>
                  <a:cubicBezTo>
                    <a:pt x="8" y="8"/>
                    <a:pt x="8" y="7"/>
                    <a:pt x="9" y="7"/>
                  </a:cubicBezTo>
                  <a:close/>
                  <a:moveTo>
                    <a:pt x="4" y="8"/>
                  </a:moveTo>
                  <a:cubicBezTo>
                    <a:pt x="3" y="8"/>
                    <a:pt x="2" y="8"/>
                    <a:pt x="1" y="7"/>
                  </a:cubicBezTo>
                  <a:cubicBezTo>
                    <a:pt x="2" y="7"/>
                    <a:pt x="3" y="7"/>
                    <a:pt x="4" y="7"/>
                  </a:cubicBezTo>
                  <a:cubicBezTo>
                    <a:pt x="4" y="7"/>
                    <a:pt x="5" y="7"/>
                    <a:pt x="6" y="7"/>
                  </a:cubicBezTo>
                  <a:cubicBezTo>
                    <a:pt x="5" y="8"/>
                    <a:pt x="4" y="8"/>
                    <a:pt x="4" y="8"/>
                  </a:cubicBezTo>
                  <a:close/>
                  <a:moveTo>
                    <a:pt x="26" y="39"/>
                  </a:moveTo>
                  <a:cubicBezTo>
                    <a:pt x="21" y="39"/>
                    <a:pt x="18" y="38"/>
                    <a:pt x="15" y="36"/>
                  </a:cubicBezTo>
                  <a:cubicBezTo>
                    <a:pt x="36" y="36"/>
                    <a:pt x="36" y="36"/>
                    <a:pt x="36" y="36"/>
                  </a:cubicBezTo>
                  <a:cubicBezTo>
                    <a:pt x="33" y="38"/>
                    <a:pt x="29" y="39"/>
                    <a:pt x="26" y="39"/>
                  </a:cubicBezTo>
                  <a:close/>
                  <a:moveTo>
                    <a:pt x="39" y="34"/>
                  </a:moveTo>
                  <a:cubicBezTo>
                    <a:pt x="12" y="34"/>
                    <a:pt x="12" y="34"/>
                    <a:pt x="12" y="34"/>
                  </a:cubicBezTo>
                  <a:cubicBezTo>
                    <a:pt x="11" y="34"/>
                    <a:pt x="11" y="33"/>
                    <a:pt x="10" y="32"/>
                  </a:cubicBezTo>
                  <a:cubicBezTo>
                    <a:pt x="10" y="32"/>
                    <a:pt x="10" y="32"/>
                    <a:pt x="10" y="32"/>
                  </a:cubicBezTo>
                  <a:cubicBezTo>
                    <a:pt x="42" y="32"/>
                    <a:pt x="42" y="32"/>
                    <a:pt x="42" y="32"/>
                  </a:cubicBezTo>
                  <a:cubicBezTo>
                    <a:pt x="41" y="33"/>
                    <a:pt x="40" y="34"/>
                    <a:pt x="39" y="34"/>
                  </a:cubicBezTo>
                  <a:close/>
                  <a:moveTo>
                    <a:pt x="43" y="30"/>
                  </a:moveTo>
                  <a:cubicBezTo>
                    <a:pt x="9" y="30"/>
                    <a:pt x="9" y="30"/>
                    <a:pt x="9" y="30"/>
                  </a:cubicBezTo>
                  <a:cubicBezTo>
                    <a:pt x="8" y="29"/>
                    <a:pt x="8" y="29"/>
                    <a:pt x="8" y="28"/>
                  </a:cubicBezTo>
                  <a:cubicBezTo>
                    <a:pt x="45" y="28"/>
                    <a:pt x="45" y="28"/>
                    <a:pt x="45" y="28"/>
                  </a:cubicBezTo>
                  <a:cubicBezTo>
                    <a:pt x="45" y="29"/>
                    <a:pt x="44" y="29"/>
                    <a:pt x="43" y="30"/>
                  </a:cubicBezTo>
                  <a:close/>
                  <a:moveTo>
                    <a:pt x="46" y="26"/>
                  </a:moveTo>
                  <a:cubicBezTo>
                    <a:pt x="7" y="26"/>
                    <a:pt x="7" y="26"/>
                    <a:pt x="7" y="26"/>
                  </a:cubicBezTo>
                  <a:cubicBezTo>
                    <a:pt x="7" y="25"/>
                    <a:pt x="7" y="24"/>
                    <a:pt x="7" y="23"/>
                  </a:cubicBezTo>
                  <a:cubicBezTo>
                    <a:pt x="47" y="23"/>
                    <a:pt x="47" y="23"/>
                    <a:pt x="47" y="23"/>
                  </a:cubicBezTo>
                  <a:cubicBezTo>
                    <a:pt x="47" y="24"/>
                    <a:pt x="46" y="25"/>
                    <a:pt x="46" y="26"/>
                  </a:cubicBezTo>
                  <a:close/>
                  <a:moveTo>
                    <a:pt x="48" y="22"/>
                  </a:moveTo>
                  <a:cubicBezTo>
                    <a:pt x="7" y="22"/>
                    <a:pt x="7" y="22"/>
                    <a:pt x="7" y="22"/>
                  </a:cubicBezTo>
                  <a:cubicBezTo>
                    <a:pt x="6" y="21"/>
                    <a:pt x="6" y="20"/>
                    <a:pt x="6" y="19"/>
                  </a:cubicBezTo>
                  <a:cubicBezTo>
                    <a:pt x="48" y="19"/>
                    <a:pt x="48" y="19"/>
                    <a:pt x="48" y="19"/>
                  </a:cubicBezTo>
                  <a:cubicBezTo>
                    <a:pt x="48" y="20"/>
                    <a:pt x="48" y="21"/>
                    <a:pt x="48" y="22"/>
                  </a:cubicBezTo>
                  <a:close/>
                  <a:moveTo>
                    <a:pt x="49" y="18"/>
                  </a:moveTo>
                  <a:cubicBezTo>
                    <a:pt x="6" y="18"/>
                    <a:pt x="6" y="18"/>
                    <a:pt x="6" y="18"/>
                  </a:cubicBezTo>
                  <a:cubicBezTo>
                    <a:pt x="6" y="17"/>
                    <a:pt x="6" y="16"/>
                    <a:pt x="6" y="16"/>
                  </a:cubicBezTo>
                  <a:cubicBezTo>
                    <a:pt x="6" y="16"/>
                    <a:pt x="6" y="15"/>
                    <a:pt x="6" y="15"/>
                  </a:cubicBezTo>
                  <a:cubicBezTo>
                    <a:pt x="49" y="15"/>
                    <a:pt x="49" y="15"/>
                    <a:pt x="49" y="15"/>
                  </a:cubicBezTo>
                  <a:cubicBezTo>
                    <a:pt x="49" y="16"/>
                    <a:pt x="49" y="17"/>
                    <a:pt x="49" y="18"/>
                  </a:cubicBezTo>
                  <a:close/>
                  <a:moveTo>
                    <a:pt x="49" y="13"/>
                  </a:moveTo>
                  <a:cubicBezTo>
                    <a:pt x="6" y="13"/>
                    <a:pt x="6" y="13"/>
                    <a:pt x="6" y="13"/>
                  </a:cubicBezTo>
                  <a:cubicBezTo>
                    <a:pt x="6" y="12"/>
                    <a:pt x="7" y="12"/>
                    <a:pt x="7" y="11"/>
                  </a:cubicBezTo>
                  <a:cubicBezTo>
                    <a:pt x="49" y="11"/>
                    <a:pt x="49" y="11"/>
                    <a:pt x="49" y="11"/>
                  </a:cubicBezTo>
                  <a:cubicBezTo>
                    <a:pt x="49" y="11"/>
                    <a:pt x="49" y="12"/>
                    <a:pt x="49" y="13"/>
                  </a:cubicBezTo>
                  <a:cubicBezTo>
                    <a:pt x="49" y="13"/>
                    <a:pt x="49" y="13"/>
                    <a:pt x="49" y="13"/>
                  </a:cubicBezTo>
                  <a:close/>
                  <a:moveTo>
                    <a:pt x="91" y="2"/>
                  </a:moveTo>
                  <a:cubicBezTo>
                    <a:pt x="97" y="2"/>
                    <a:pt x="101" y="3"/>
                    <a:pt x="104" y="5"/>
                  </a:cubicBezTo>
                  <a:cubicBezTo>
                    <a:pt x="73" y="5"/>
                    <a:pt x="73" y="5"/>
                    <a:pt x="73" y="5"/>
                  </a:cubicBezTo>
                  <a:cubicBezTo>
                    <a:pt x="78" y="3"/>
                    <a:pt x="85" y="2"/>
                    <a:pt x="91" y="2"/>
                  </a:cubicBezTo>
                  <a:close/>
                  <a:moveTo>
                    <a:pt x="70" y="7"/>
                  </a:moveTo>
                  <a:cubicBezTo>
                    <a:pt x="106" y="7"/>
                    <a:pt x="106" y="7"/>
                    <a:pt x="106" y="7"/>
                  </a:cubicBezTo>
                  <a:cubicBezTo>
                    <a:pt x="107" y="7"/>
                    <a:pt x="107" y="8"/>
                    <a:pt x="108" y="9"/>
                  </a:cubicBezTo>
                  <a:cubicBezTo>
                    <a:pt x="67" y="9"/>
                    <a:pt x="67" y="9"/>
                    <a:pt x="67" y="9"/>
                  </a:cubicBezTo>
                  <a:cubicBezTo>
                    <a:pt x="68" y="8"/>
                    <a:pt x="69" y="7"/>
                    <a:pt x="70" y="7"/>
                  </a:cubicBezTo>
                  <a:close/>
                  <a:moveTo>
                    <a:pt x="66" y="13"/>
                  </a:moveTo>
                  <a:cubicBezTo>
                    <a:pt x="66" y="12"/>
                    <a:pt x="66" y="11"/>
                    <a:pt x="66" y="11"/>
                  </a:cubicBezTo>
                  <a:cubicBezTo>
                    <a:pt x="108" y="11"/>
                    <a:pt x="108" y="11"/>
                    <a:pt x="108" y="11"/>
                  </a:cubicBezTo>
                  <a:cubicBezTo>
                    <a:pt x="108" y="12"/>
                    <a:pt x="108" y="12"/>
                    <a:pt x="109" y="13"/>
                  </a:cubicBezTo>
                  <a:cubicBezTo>
                    <a:pt x="66" y="13"/>
                    <a:pt x="66" y="13"/>
                    <a:pt x="66" y="13"/>
                  </a:cubicBezTo>
                  <a:cubicBezTo>
                    <a:pt x="66" y="13"/>
                    <a:pt x="66" y="13"/>
                    <a:pt x="66" y="13"/>
                  </a:cubicBezTo>
                  <a:close/>
                  <a:moveTo>
                    <a:pt x="89" y="39"/>
                  </a:moveTo>
                  <a:cubicBezTo>
                    <a:pt x="86" y="39"/>
                    <a:pt x="82" y="38"/>
                    <a:pt x="79" y="36"/>
                  </a:cubicBezTo>
                  <a:cubicBezTo>
                    <a:pt x="100" y="36"/>
                    <a:pt x="100" y="36"/>
                    <a:pt x="100" y="36"/>
                  </a:cubicBezTo>
                  <a:cubicBezTo>
                    <a:pt x="97" y="38"/>
                    <a:pt x="93" y="39"/>
                    <a:pt x="89" y="39"/>
                  </a:cubicBezTo>
                  <a:close/>
                  <a:moveTo>
                    <a:pt x="105" y="32"/>
                  </a:moveTo>
                  <a:cubicBezTo>
                    <a:pt x="104" y="33"/>
                    <a:pt x="104" y="34"/>
                    <a:pt x="103" y="34"/>
                  </a:cubicBezTo>
                  <a:cubicBezTo>
                    <a:pt x="76" y="34"/>
                    <a:pt x="76" y="34"/>
                    <a:pt x="76" y="34"/>
                  </a:cubicBezTo>
                  <a:cubicBezTo>
                    <a:pt x="75" y="34"/>
                    <a:pt x="74" y="33"/>
                    <a:pt x="73" y="32"/>
                  </a:cubicBezTo>
                  <a:cubicBezTo>
                    <a:pt x="105" y="32"/>
                    <a:pt x="105" y="32"/>
                    <a:pt x="105" y="32"/>
                  </a:cubicBezTo>
                  <a:cubicBezTo>
                    <a:pt x="105" y="32"/>
                    <a:pt x="105" y="32"/>
                    <a:pt x="105" y="32"/>
                  </a:cubicBezTo>
                  <a:close/>
                  <a:moveTo>
                    <a:pt x="106" y="30"/>
                  </a:moveTo>
                  <a:cubicBezTo>
                    <a:pt x="72" y="30"/>
                    <a:pt x="72" y="30"/>
                    <a:pt x="72" y="30"/>
                  </a:cubicBezTo>
                  <a:cubicBezTo>
                    <a:pt x="71" y="29"/>
                    <a:pt x="70" y="29"/>
                    <a:pt x="70" y="28"/>
                  </a:cubicBezTo>
                  <a:cubicBezTo>
                    <a:pt x="107" y="28"/>
                    <a:pt x="107" y="28"/>
                    <a:pt x="107" y="28"/>
                  </a:cubicBezTo>
                  <a:cubicBezTo>
                    <a:pt x="107" y="29"/>
                    <a:pt x="107" y="29"/>
                    <a:pt x="106" y="30"/>
                  </a:cubicBezTo>
                  <a:close/>
                  <a:moveTo>
                    <a:pt x="108" y="26"/>
                  </a:moveTo>
                  <a:cubicBezTo>
                    <a:pt x="69" y="26"/>
                    <a:pt x="69" y="26"/>
                    <a:pt x="69" y="26"/>
                  </a:cubicBezTo>
                  <a:cubicBezTo>
                    <a:pt x="68" y="25"/>
                    <a:pt x="68" y="24"/>
                    <a:pt x="68" y="23"/>
                  </a:cubicBezTo>
                  <a:cubicBezTo>
                    <a:pt x="108" y="23"/>
                    <a:pt x="108" y="23"/>
                    <a:pt x="108" y="23"/>
                  </a:cubicBezTo>
                  <a:cubicBezTo>
                    <a:pt x="108" y="24"/>
                    <a:pt x="108" y="25"/>
                    <a:pt x="108" y="26"/>
                  </a:cubicBezTo>
                  <a:close/>
                  <a:moveTo>
                    <a:pt x="108" y="22"/>
                  </a:moveTo>
                  <a:cubicBezTo>
                    <a:pt x="67" y="22"/>
                    <a:pt x="67" y="22"/>
                    <a:pt x="67" y="22"/>
                  </a:cubicBezTo>
                  <a:cubicBezTo>
                    <a:pt x="67" y="21"/>
                    <a:pt x="67" y="20"/>
                    <a:pt x="67" y="19"/>
                  </a:cubicBezTo>
                  <a:cubicBezTo>
                    <a:pt x="109" y="19"/>
                    <a:pt x="109" y="19"/>
                    <a:pt x="109" y="19"/>
                  </a:cubicBezTo>
                  <a:cubicBezTo>
                    <a:pt x="108" y="20"/>
                    <a:pt x="108" y="21"/>
                    <a:pt x="108" y="22"/>
                  </a:cubicBezTo>
                  <a:close/>
                  <a:moveTo>
                    <a:pt x="109" y="18"/>
                  </a:moveTo>
                  <a:cubicBezTo>
                    <a:pt x="66" y="18"/>
                    <a:pt x="66" y="18"/>
                    <a:pt x="66" y="18"/>
                  </a:cubicBezTo>
                  <a:cubicBezTo>
                    <a:pt x="66" y="17"/>
                    <a:pt x="66" y="16"/>
                    <a:pt x="66" y="15"/>
                  </a:cubicBezTo>
                  <a:cubicBezTo>
                    <a:pt x="109" y="15"/>
                    <a:pt x="109" y="15"/>
                    <a:pt x="109" y="15"/>
                  </a:cubicBezTo>
                  <a:cubicBezTo>
                    <a:pt x="109" y="15"/>
                    <a:pt x="109" y="16"/>
                    <a:pt x="109" y="16"/>
                  </a:cubicBezTo>
                  <a:cubicBezTo>
                    <a:pt x="109" y="16"/>
                    <a:pt x="109" y="17"/>
                    <a:pt x="109" y="18"/>
                  </a:cubicBezTo>
                  <a:close/>
                  <a:moveTo>
                    <a:pt x="111" y="8"/>
                  </a:moveTo>
                  <a:cubicBezTo>
                    <a:pt x="110" y="8"/>
                    <a:pt x="109" y="8"/>
                    <a:pt x="109" y="7"/>
                  </a:cubicBezTo>
                  <a:cubicBezTo>
                    <a:pt x="109" y="7"/>
                    <a:pt x="110" y="7"/>
                    <a:pt x="111" y="7"/>
                  </a:cubicBezTo>
                  <a:cubicBezTo>
                    <a:pt x="112" y="7"/>
                    <a:pt x="113" y="7"/>
                    <a:pt x="114" y="7"/>
                  </a:cubicBezTo>
                  <a:cubicBezTo>
                    <a:pt x="113" y="8"/>
                    <a:pt x="112" y="8"/>
                    <a:pt x="111" y="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3" name="Rectangle 30"/>
            <p:cNvSpPr>
              <a:spLocks noChangeArrowheads="1"/>
            </p:cNvSpPr>
            <p:nvPr/>
          </p:nvSpPr>
          <p:spPr bwMode="auto">
            <a:xfrm>
              <a:off x="2464058" y="3478304"/>
              <a:ext cx="226017" cy="8569"/>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4" name="Freeform 31"/>
            <p:cNvSpPr>
              <a:spLocks/>
            </p:cNvSpPr>
            <p:nvPr/>
          </p:nvSpPr>
          <p:spPr bwMode="auto">
            <a:xfrm>
              <a:off x="2537969" y="3620769"/>
              <a:ext cx="78196" cy="29993"/>
            </a:xfrm>
            <a:custGeom>
              <a:avLst/>
              <a:gdLst>
                <a:gd name="T0" fmla="*/ 0 w 51"/>
                <a:gd name="T1" fmla="*/ 0 h 20"/>
                <a:gd name="T2" fmla="*/ 26 w 51"/>
                <a:gd name="T3" fmla="*/ 20 h 20"/>
                <a:gd name="T4" fmla="*/ 51 w 51"/>
                <a:gd name="T5" fmla="*/ 0 h 20"/>
                <a:gd name="T6" fmla="*/ 0 w 51"/>
                <a:gd name="T7" fmla="*/ 0 h 20"/>
              </a:gdLst>
              <a:ahLst/>
              <a:cxnLst>
                <a:cxn ang="0">
                  <a:pos x="T0" y="T1"/>
                </a:cxn>
                <a:cxn ang="0">
                  <a:pos x="T2" y="T3"/>
                </a:cxn>
                <a:cxn ang="0">
                  <a:pos x="T4" y="T5"/>
                </a:cxn>
                <a:cxn ang="0">
                  <a:pos x="T6" y="T7"/>
                </a:cxn>
              </a:cxnLst>
              <a:rect l="0" t="0" r="r" b="b"/>
              <a:pathLst>
                <a:path w="51" h="20">
                  <a:moveTo>
                    <a:pt x="0" y="0"/>
                  </a:moveTo>
                  <a:cubicBezTo>
                    <a:pt x="3" y="11"/>
                    <a:pt x="14" y="20"/>
                    <a:pt x="26" y="20"/>
                  </a:cubicBezTo>
                  <a:cubicBezTo>
                    <a:pt x="38" y="20"/>
                    <a:pt x="48" y="11"/>
                    <a:pt x="5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5" name="Freeform 32"/>
            <p:cNvSpPr>
              <a:spLocks/>
            </p:cNvSpPr>
            <p:nvPr/>
          </p:nvSpPr>
          <p:spPr bwMode="auto">
            <a:xfrm>
              <a:off x="2464058" y="3478304"/>
              <a:ext cx="43918" cy="201379"/>
            </a:xfrm>
            <a:custGeom>
              <a:avLst/>
              <a:gdLst>
                <a:gd name="T0" fmla="*/ 24 w 41"/>
                <a:gd name="T1" fmla="*/ 150 h 188"/>
                <a:gd name="T2" fmla="*/ 24 w 41"/>
                <a:gd name="T3" fmla="*/ 0 h 188"/>
                <a:gd name="T4" fmla="*/ 0 w 41"/>
                <a:gd name="T5" fmla="*/ 0 h 188"/>
                <a:gd name="T6" fmla="*/ 0 w 41"/>
                <a:gd name="T7" fmla="*/ 167 h 188"/>
                <a:gd name="T8" fmla="*/ 41 w 41"/>
                <a:gd name="T9" fmla="*/ 188 h 188"/>
                <a:gd name="T10" fmla="*/ 41 w 41"/>
                <a:gd name="T11" fmla="*/ 161 h 188"/>
                <a:gd name="T12" fmla="*/ 24 w 41"/>
                <a:gd name="T13" fmla="*/ 150 h 188"/>
              </a:gdLst>
              <a:ahLst/>
              <a:cxnLst>
                <a:cxn ang="0">
                  <a:pos x="T0" y="T1"/>
                </a:cxn>
                <a:cxn ang="0">
                  <a:pos x="T2" y="T3"/>
                </a:cxn>
                <a:cxn ang="0">
                  <a:pos x="T4" y="T5"/>
                </a:cxn>
                <a:cxn ang="0">
                  <a:pos x="T6" y="T7"/>
                </a:cxn>
                <a:cxn ang="0">
                  <a:pos x="T8" y="T9"/>
                </a:cxn>
                <a:cxn ang="0">
                  <a:pos x="T10" y="T11"/>
                </a:cxn>
                <a:cxn ang="0">
                  <a:pos x="T12" y="T13"/>
                </a:cxn>
              </a:cxnLst>
              <a:rect l="0" t="0" r="r" b="b"/>
              <a:pathLst>
                <a:path w="41" h="188">
                  <a:moveTo>
                    <a:pt x="24" y="150"/>
                  </a:moveTo>
                  <a:lnTo>
                    <a:pt x="24" y="0"/>
                  </a:lnTo>
                  <a:lnTo>
                    <a:pt x="0" y="0"/>
                  </a:lnTo>
                  <a:lnTo>
                    <a:pt x="0" y="167"/>
                  </a:lnTo>
                  <a:lnTo>
                    <a:pt x="41" y="188"/>
                  </a:lnTo>
                  <a:lnTo>
                    <a:pt x="41" y="161"/>
                  </a:lnTo>
                  <a:lnTo>
                    <a:pt x="2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6" name="Freeform 33"/>
            <p:cNvSpPr>
              <a:spLocks/>
            </p:cNvSpPr>
            <p:nvPr/>
          </p:nvSpPr>
          <p:spPr bwMode="auto">
            <a:xfrm>
              <a:off x="2646157" y="3478304"/>
              <a:ext cx="43918" cy="201379"/>
            </a:xfrm>
            <a:custGeom>
              <a:avLst/>
              <a:gdLst>
                <a:gd name="T0" fmla="*/ 18 w 41"/>
                <a:gd name="T1" fmla="*/ 150 h 188"/>
                <a:gd name="T2" fmla="*/ 18 w 41"/>
                <a:gd name="T3" fmla="*/ 0 h 188"/>
                <a:gd name="T4" fmla="*/ 41 w 41"/>
                <a:gd name="T5" fmla="*/ 0 h 188"/>
                <a:gd name="T6" fmla="*/ 41 w 41"/>
                <a:gd name="T7" fmla="*/ 167 h 188"/>
                <a:gd name="T8" fmla="*/ 0 w 41"/>
                <a:gd name="T9" fmla="*/ 188 h 188"/>
                <a:gd name="T10" fmla="*/ 0 w 41"/>
                <a:gd name="T11" fmla="*/ 161 h 188"/>
                <a:gd name="T12" fmla="*/ 18 w 41"/>
                <a:gd name="T13" fmla="*/ 150 h 188"/>
              </a:gdLst>
              <a:ahLst/>
              <a:cxnLst>
                <a:cxn ang="0">
                  <a:pos x="T0" y="T1"/>
                </a:cxn>
                <a:cxn ang="0">
                  <a:pos x="T2" y="T3"/>
                </a:cxn>
                <a:cxn ang="0">
                  <a:pos x="T4" y="T5"/>
                </a:cxn>
                <a:cxn ang="0">
                  <a:pos x="T6" y="T7"/>
                </a:cxn>
                <a:cxn ang="0">
                  <a:pos x="T8" y="T9"/>
                </a:cxn>
                <a:cxn ang="0">
                  <a:pos x="T10" y="T11"/>
                </a:cxn>
                <a:cxn ang="0">
                  <a:pos x="T12" y="T13"/>
                </a:cxn>
              </a:cxnLst>
              <a:rect l="0" t="0" r="r" b="b"/>
              <a:pathLst>
                <a:path w="41" h="188">
                  <a:moveTo>
                    <a:pt x="18" y="150"/>
                  </a:moveTo>
                  <a:lnTo>
                    <a:pt x="18" y="0"/>
                  </a:lnTo>
                  <a:lnTo>
                    <a:pt x="41" y="0"/>
                  </a:lnTo>
                  <a:lnTo>
                    <a:pt x="41" y="167"/>
                  </a:lnTo>
                  <a:lnTo>
                    <a:pt x="0" y="188"/>
                  </a:lnTo>
                  <a:lnTo>
                    <a:pt x="0" y="161"/>
                  </a:lnTo>
                  <a:lnTo>
                    <a:pt x="18"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618" name="Group 617"/>
          <p:cNvGrpSpPr/>
          <p:nvPr/>
        </p:nvGrpSpPr>
        <p:grpSpPr>
          <a:xfrm>
            <a:off x="5336584" y="4473328"/>
            <a:ext cx="1961687" cy="2309969"/>
            <a:chOff x="6597651" y="4965700"/>
            <a:chExt cx="2092324" cy="2463801"/>
          </a:xfrm>
        </p:grpSpPr>
        <p:sp>
          <p:nvSpPr>
            <p:cNvPr id="574" name="Freeform 490"/>
            <p:cNvSpPr>
              <a:spLocks/>
            </p:cNvSpPr>
            <p:nvPr/>
          </p:nvSpPr>
          <p:spPr bwMode="auto">
            <a:xfrm>
              <a:off x="7232650" y="5686425"/>
              <a:ext cx="457200" cy="317500"/>
            </a:xfrm>
            <a:custGeom>
              <a:avLst/>
              <a:gdLst>
                <a:gd name="T0" fmla="*/ 175 w 200"/>
                <a:gd name="T1" fmla="*/ 139 h 139"/>
                <a:gd name="T2" fmla="*/ 193 w 200"/>
                <a:gd name="T3" fmla="*/ 123 h 139"/>
                <a:gd name="T4" fmla="*/ 193 w 200"/>
                <a:gd name="T5" fmla="*/ 123 h 139"/>
                <a:gd name="T6" fmla="*/ 183 w 200"/>
                <a:gd name="T7" fmla="*/ 87 h 139"/>
                <a:gd name="T8" fmla="*/ 43 w 200"/>
                <a:gd name="T9" fmla="*/ 7 h 139"/>
                <a:gd name="T10" fmla="*/ 7 w 200"/>
                <a:gd name="T11" fmla="*/ 16 h 139"/>
                <a:gd name="T12" fmla="*/ 7 w 200"/>
                <a:gd name="T13" fmla="*/ 16 h 139"/>
                <a:gd name="T14" fmla="*/ 17 w 200"/>
                <a:gd name="T15" fmla="*/ 52 h 139"/>
                <a:gd name="T16" fmla="*/ 175 w 200"/>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39">
                  <a:moveTo>
                    <a:pt x="175" y="139"/>
                  </a:moveTo>
                  <a:cubicBezTo>
                    <a:pt x="175" y="139"/>
                    <a:pt x="186" y="135"/>
                    <a:pt x="193" y="123"/>
                  </a:cubicBezTo>
                  <a:cubicBezTo>
                    <a:pt x="193" y="123"/>
                    <a:pt x="193" y="123"/>
                    <a:pt x="193" y="123"/>
                  </a:cubicBezTo>
                  <a:cubicBezTo>
                    <a:pt x="200" y="110"/>
                    <a:pt x="196" y="94"/>
                    <a:pt x="183" y="87"/>
                  </a:cubicBezTo>
                  <a:cubicBezTo>
                    <a:pt x="43" y="7"/>
                    <a:pt x="43" y="7"/>
                    <a:pt x="43" y="7"/>
                  </a:cubicBezTo>
                  <a:cubicBezTo>
                    <a:pt x="30" y="0"/>
                    <a:pt x="14" y="4"/>
                    <a:pt x="7" y="16"/>
                  </a:cubicBezTo>
                  <a:cubicBezTo>
                    <a:pt x="7" y="16"/>
                    <a:pt x="7" y="16"/>
                    <a:pt x="7" y="16"/>
                  </a:cubicBezTo>
                  <a:cubicBezTo>
                    <a:pt x="0" y="29"/>
                    <a:pt x="4" y="44"/>
                    <a:pt x="17" y="52"/>
                  </a:cubicBezTo>
                  <a:lnTo>
                    <a:pt x="175" y="13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5" name="Freeform 491"/>
            <p:cNvSpPr>
              <a:spLocks/>
            </p:cNvSpPr>
            <p:nvPr/>
          </p:nvSpPr>
          <p:spPr bwMode="auto">
            <a:xfrm>
              <a:off x="7586663" y="5665788"/>
              <a:ext cx="381000" cy="347663"/>
            </a:xfrm>
            <a:custGeom>
              <a:avLst/>
              <a:gdLst>
                <a:gd name="T0" fmla="*/ 46 w 167"/>
                <a:gd name="T1" fmla="*/ 143 h 152"/>
                <a:gd name="T2" fmla="*/ 9 w 167"/>
                <a:gd name="T3" fmla="*/ 140 h 152"/>
                <a:gd name="T4" fmla="*/ 9 w 167"/>
                <a:gd name="T5" fmla="*/ 140 h 152"/>
                <a:gd name="T6" fmla="*/ 12 w 167"/>
                <a:gd name="T7" fmla="*/ 104 h 152"/>
                <a:gd name="T8" fmla="*/ 121 w 167"/>
                <a:gd name="T9" fmla="*/ 9 h 152"/>
                <a:gd name="T10" fmla="*/ 157 w 167"/>
                <a:gd name="T11" fmla="*/ 12 h 152"/>
                <a:gd name="T12" fmla="*/ 157 w 167"/>
                <a:gd name="T13" fmla="*/ 12 h 152"/>
                <a:gd name="T14" fmla="*/ 155 w 167"/>
                <a:gd name="T15" fmla="*/ 48 h 152"/>
                <a:gd name="T16" fmla="*/ 46 w 167"/>
                <a:gd name="T1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52">
                  <a:moveTo>
                    <a:pt x="46" y="143"/>
                  </a:moveTo>
                  <a:cubicBezTo>
                    <a:pt x="35" y="152"/>
                    <a:pt x="19" y="151"/>
                    <a:pt x="9" y="140"/>
                  </a:cubicBezTo>
                  <a:cubicBezTo>
                    <a:pt x="9" y="140"/>
                    <a:pt x="9" y="140"/>
                    <a:pt x="9" y="140"/>
                  </a:cubicBezTo>
                  <a:cubicBezTo>
                    <a:pt x="0" y="130"/>
                    <a:pt x="1" y="113"/>
                    <a:pt x="12" y="104"/>
                  </a:cubicBezTo>
                  <a:cubicBezTo>
                    <a:pt x="121" y="9"/>
                    <a:pt x="121" y="9"/>
                    <a:pt x="121" y="9"/>
                  </a:cubicBezTo>
                  <a:cubicBezTo>
                    <a:pt x="131" y="0"/>
                    <a:pt x="148" y="1"/>
                    <a:pt x="157" y="12"/>
                  </a:cubicBezTo>
                  <a:cubicBezTo>
                    <a:pt x="157" y="12"/>
                    <a:pt x="157" y="12"/>
                    <a:pt x="157" y="12"/>
                  </a:cubicBezTo>
                  <a:cubicBezTo>
                    <a:pt x="167" y="23"/>
                    <a:pt x="165" y="39"/>
                    <a:pt x="155" y="48"/>
                  </a:cubicBezTo>
                  <a:lnTo>
                    <a:pt x="46" y="143"/>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6" name="Freeform 492"/>
            <p:cNvSpPr>
              <a:spLocks/>
            </p:cNvSpPr>
            <p:nvPr/>
          </p:nvSpPr>
          <p:spPr bwMode="auto">
            <a:xfrm>
              <a:off x="7362825" y="5732463"/>
              <a:ext cx="146050" cy="171450"/>
            </a:xfrm>
            <a:custGeom>
              <a:avLst/>
              <a:gdLst>
                <a:gd name="T0" fmla="*/ 56 w 92"/>
                <a:gd name="T1" fmla="*/ 108 h 108"/>
                <a:gd name="T2" fmla="*/ 92 w 92"/>
                <a:gd name="T3" fmla="*/ 44 h 108"/>
                <a:gd name="T4" fmla="*/ 13 w 92"/>
                <a:gd name="T5" fmla="*/ 0 h 108"/>
                <a:gd name="T6" fmla="*/ 0 w 92"/>
                <a:gd name="T7" fmla="*/ 82 h 108"/>
                <a:gd name="T8" fmla="*/ 56 w 92"/>
                <a:gd name="T9" fmla="*/ 108 h 108"/>
              </a:gdLst>
              <a:ahLst/>
              <a:cxnLst>
                <a:cxn ang="0">
                  <a:pos x="T0" y="T1"/>
                </a:cxn>
                <a:cxn ang="0">
                  <a:pos x="T2" y="T3"/>
                </a:cxn>
                <a:cxn ang="0">
                  <a:pos x="T4" y="T5"/>
                </a:cxn>
                <a:cxn ang="0">
                  <a:pos x="T6" y="T7"/>
                </a:cxn>
                <a:cxn ang="0">
                  <a:pos x="T8" y="T9"/>
                </a:cxn>
              </a:cxnLst>
              <a:rect l="0" t="0" r="r" b="b"/>
              <a:pathLst>
                <a:path w="92" h="108">
                  <a:moveTo>
                    <a:pt x="56" y="108"/>
                  </a:moveTo>
                  <a:lnTo>
                    <a:pt x="92" y="44"/>
                  </a:lnTo>
                  <a:lnTo>
                    <a:pt x="13" y="0"/>
                  </a:lnTo>
                  <a:lnTo>
                    <a:pt x="0" y="82"/>
                  </a:lnTo>
                  <a:lnTo>
                    <a:pt x="56"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7" name="Freeform 493"/>
            <p:cNvSpPr>
              <a:spLocks/>
            </p:cNvSpPr>
            <p:nvPr/>
          </p:nvSpPr>
          <p:spPr bwMode="auto">
            <a:xfrm>
              <a:off x="7540625" y="6904038"/>
              <a:ext cx="130175" cy="246063"/>
            </a:xfrm>
            <a:custGeom>
              <a:avLst/>
              <a:gdLst>
                <a:gd name="T0" fmla="*/ 11 w 57"/>
                <a:gd name="T1" fmla="*/ 107 h 108"/>
                <a:gd name="T2" fmla="*/ 21 w 57"/>
                <a:gd name="T3" fmla="*/ 101 h 108"/>
                <a:gd name="T4" fmla="*/ 55 w 57"/>
                <a:gd name="T5" fmla="*/ 16 h 108"/>
                <a:gd name="T6" fmla="*/ 49 w 57"/>
                <a:gd name="T7" fmla="*/ 3 h 108"/>
                <a:gd name="T8" fmla="*/ 36 w 57"/>
                <a:gd name="T9" fmla="*/ 8 h 108"/>
                <a:gd name="T10" fmla="*/ 2 w 57"/>
                <a:gd name="T11" fmla="*/ 93 h 108"/>
                <a:gd name="T12" fmla="*/ 8 w 57"/>
                <a:gd name="T13" fmla="*/ 107 h 108"/>
                <a:gd name="T14" fmla="*/ 11 w 57"/>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08">
                  <a:moveTo>
                    <a:pt x="11" y="107"/>
                  </a:moveTo>
                  <a:cubicBezTo>
                    <a:pt x="15" y="108"/>
                    <a:pt x="19" y="105"/>
                    <a:pt x="21" y="101"/>
                  </a:cubicBezTo>
                  <a:cubicBezTo>
                    <a:pt x="55" y="16"/>
                    <a:pt x="55" y="16"/>
                    <a:pt x="55" y="16"/>
                  </a:cubicBezTo>
                  <a:cubicBezTo>
                    <a:pt x="57" y="11"/>
                    <a:pt x="54" y="5"/>
                    <a:pt x="49" y="3"/>
                  </a:cubicBezTo>
                  <a:cubicBezTo>
                    <a:pt x="44" y="0"/>
                    <a:pt x="38" y="3"/>
                    <a:pt x="36" y="8"/>
                  </a:cubicBezTo>
                  <a:cubicBezTo>
                    <a:pt x="2" y="93"/>
                    <a:pt x="2" y="93"/>
                    <a:pt x="2" y="93"/>
                  </a:cubicBezTo>
                  <a:cubicBezTo>
                    <a:pt x="0" y="99"/>
                    <a:pt x="3" y="104"/>
                    <a:pt x="8" y="107"/>
                  </a:cubicBezTo>
                  <a:cubicBezTo>
                    <a:pt x="9" y="107"/>
                    <a:pt x="10" y="107"/>
                    <a:pt x="11" y="107"/>
                  </a:cubicBezTo>
                  <a:close/>
                </a:path>
              </a:pathLst>
            </a:custGeom>
            <a:solidFill>
              <a:srgbClr val="6D6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8" name="Freeform 494"/>
            <p:cNvSpPr>
              <a:spLocks/>
            </p:cNvSpPr>
            <p:nvPr/>
          </p:nvSpPr>
          <p:spPr bwMode="auto">
            <a:xfrm>
              <a:off x="7559675" y="6899275"/>
              <a:ext cx="157162" cy="47625"/>
            </a:xfrm>
            <a:custGeom>
              <a:avLst/>
              <a:gdLst>
                <a:gd name="T0" fmla="*/ 10 w 69"/>
                <a:gd name="T1" fmla="*/ 21 h 21"/>
                <a:gd name="T2" fmla="*/ 59 w 69"/>
                <a:gd name="T3" fmla="*/ 21 h 21"/>
                <a:gd name="T4" fmla="*/ 69 w 69"/>
                <a:gd name="T5" fmla="*/ 10 h 21"/>
                <a:gd name="T6" fmla="*/ 59 w 69"/>
                <a:gd name="T7" fmla="*/ 0 h 21"/>
                <a:gd name="T8" fmla="*/ 10 w 69"/>
                <a:gd name="T9" fmla="*/ 0 h 21"/>
                <a:gd name="T10" fmla="*/ 0 w 69"/>
                <a:gd name="T11" fmla="*/ 10 h 21"/>
                <a:gd name="T12" fmla="*/ 10 w 69"/>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9" h="21">
                  <a:moveTo>
                    <a:pt x="10" y="21"/>
                  </a:moveTo>
                  <a:cubicBezTo>
                    <a:pt x="59" y="21"/>
                    <a:pt x="59" y="21"/>
                    <a:pt x="59" y="21"/>
                  </a:cubicBezTo>
                  <a:cubicBezTo>
                    <a:pt x="65" y="21"/>
                    <a:pt x="69" y="16"/>
                    <a:pt x="69" y="10"/>
                  </a:cubicBezTo>
                  <a:cubicBezTo>
                    <a:pt x="69" y="5"/>
                    <a:pt x="65" y="0"/>
                    <a:pt x="59" y="0"/>
                  </a:cubicBezTo>
                  <a:cubicBezTo>
                    <a:pt x="10" y="0"/>
                    <a:pt x="10" y="0"/>
                    <a:pt x="10" y="0"/>
                  </a:cubicBezTo>
                  <a:cubicBezTo>
                    <a:pt x="5" y="0"/>
                    <a:pt x="0" y="5"/>
                    <a:pt x="0" y="10"/>
                  </a:cubicBezTo>
                  <a:cubicBezTo>
                    <a:pt x="0" y="16"/>
                    <a:pt x="5" y="21"/>
                    <a:pt x="10" y="21"/>
                  </a:cubicBezTo>
                  <a:close/>
                </a:path>
              </a:pathLst>
            </a:custGeom>
            <a:solidFill>
              <a:srgbClr val="6D6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9" name="Freeform 495"/>
            <p:cNvSpPr>
              <a:spLocks/>
            </p:cNvSpPr>
            <p:nvPr/>
          </p:nvSpPr>
          <p:spPr bwMode="auto">
            <a:xfrm>
              <a:off x="7237413" y="6223000"/>
              <a:ext cx="390525" cy="176213"/>
            </a:xfrm>
            <a:custGeom>
              <a:avLst/>
              <a:gdLst>
                <a:gd name="T0" fmla="*/ 0 w 171"/>
                <a:gd name="T1" fmla="*/ 0 h 77"/>
                <a:gd name="T2" fmla="*/ 0 w 171"/>
                <a:gd name="T3" fmla="*/ 38 h 77"/>
                <a:gd name="T4" fmla="*/ 38 w 171"/>
                <a:gd name="T5" fmla="*/ 77 h 77"/>
                <a:gd name="T6" fmla="*/ 171 w 171"/>
                <a:gd name="T7" fmla="*/ 77 h 77"/>
                <a:gd name="T8" fmla="*/ 171 w 171"/>
                <a:gd name="T9" fmla="*/ 0 h 77"/>
                <a:gd name="T10" fmla="*/ 0 w 171"/>
                <a:gd name="T11" fmla="*/ 0 h 77"/>
              </a:gdLst>
              <a:ahLst/>
              <a:cxnLst>
                <a:cxn ang="0">
                  <a:pos x="T0" y="T1"/>
                </a:cxn>
                <a:cxn ang="0">
                  <a:pos x="T2" y="T3"/>
                </a:cxn>
                <a:cxn ang="0">
                  <a:pos x="T4" y="T5"/>
                </a:cxn>
                <a:cxn ang="0">
                  <a:pos x="T6" y="T7"/>
                </a:cxn>
                <a:cxn ang="0">
                  <a:pos x="T8" y="T9"/>
                </a:cxn>
                <a:cxn ang="0">
                  <a:pos x="T10" y="T11"/>
                </a:cxn>
              </a:cxnLst>
              <a:rect l="0" t="0" r="r" b="b"/>
              <a:pathLst>
                <a:path w="171" h="77">
                  <a:moveTo>
                    <a:pt x="0" y="0"/>
                  </a:moveTo>
                  <a:cubicBezTo>
                    <a:pt x="0" y="38"/>
                    <a:pt x="0" y="38"/>
                    <a:pt x="0" y="38"/>
                  </a:cubicBezTo>
                  <a:cubicBezTo>
                    <a:pt x="0" y="59"/>
                    <a:pt x="17" y="77"/>
                    <a:pt x="38" y="77"/>
                  </a:cubicBezTo>
                  <a:cubicBezTo>
                    <a:pt x="171" y="77"/>
                    <a:pt x="171" y="77"/>
                    <a:pt x="171" y="77"/>
                  </a:cubicBezTo>
                  <a:cubicBezTo>
                    <a:pt x="171" y="0"/>
                    <a:pt x="171" y="0"/>
                    <a:pt x="171" y="0"/>
                  </a:cubicBezTo>
                  <a:lnTo>
                    <a:pt x="0" y="0"/>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0" name="Freeform 496"/>
            <p:cNvSpPr>
              <a:spLocks/>
            </p:cNvSpPr>
            <p:nvPr/>
          </p:nvSpPr>
          <p:spPr bwMode="auto">
            <a:xfrm>
              <a:off x="7627938" y="6223000"/>
              <a:ext cx="233362" cy="176213"/>
            </a:xfrm>
            <a:custGeom>
              <a:avLst/>
              <a:gdLst>
                <a:gd name="T0" fmla="*/ 102 w 102"/>
                <a:gd name="T1" fmla="*/ 38 h 77"/>
                <a:gd name="T2" fmla="*/ 64 w 102"/>
                <a:gd name="T3" fmla="*/ 0 h 77"/>
                <a:gd name="T4" fmla="*/ 0 w 102"/>
                <a:gd name="T5" fmla="*/ 0 h 77"/>
                <a:gd name="T6" fmla="*/ 0 w 102"/>
                <a:gd name="T7" fmla="*/ 77 h 77"/>
                <a:gd name="T8" fmla="*/ 64 w 102"/>
                <a:gd name="T9" fmla="*/ 77 h 77"/>
                <a:gd name="T10" fmla="*/ 102 w 102"/>
                <a:gd name="T11" fmla="*/ 38 h 77"/>
              </a:gdLst>
              <a:ahLst/>
              <a:cxnLst>
                <a:cxn ang="0">
                  <a:pos x="T0" y="T1"/>
                </a:cxn>
                <a:cxn ang="0">
                  <a:pos x="T2" y="T3"/>
                </a:cxn>
                <a:cxn ang="0">
                  <a:pos x="T4" y="T5"/>
                </a:cxn>
                <a:cxn ang="0">
                  <a:pos x="T6" y="T7"/>
                </a:cxn>
                <a:cxn ang="0">
                  <a:pos x="T8" y="T9"/>
                </a:cxn>
                <a:cxn ang="0">
                  <a:pos x="T10" y="T11"/>
                </a:cxn>
              </a:cxnLst>
              <a:rect l="0" t="0" r="r" b="b"/>
              <a:pathLst>
                <a:path w="102" h="77">
                  <a:moveTo>
                    <a:pt x="102" y="38"/>
                  </a:moveTo>
                  <a:cubicBezTo>
                    <a:pt x="102" y="17"/>
                    <a:pt x="85" y="0"/>
                    <a:pt x="64" y="0"/>
                  </a:cubicBezTo>
                  <a:cubicBezTo>
                    <a:pt x="0" y="0"/>
                    <a:pt x="0" y="0"/>
                    <a:pt x="0" y="0"/>
                  </a:cubicBezTo>
                  <a:cubicBezTo>
                    <a:pt x="0" y="77"/>
                    <a:pt x="0" y="77"/>
                    <a:pt x="0" y="77"/>
                  </a:cubicBezTo>
                  <a:cubicBezTo>
                    <a:pt x="64" y="77"/>
                    <a:pt x="64" y="77"/>
                    <a:pt x="64" y="77"/>
                  </a:cubicBezTo>
                  <a:cubicBezTo>
                    <a:pt x="85" y="77"/>
                    <a:pt x="102" y="59"/>
                    <a:pt x="102" y="38"/>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1" name="Freeform 497"/>
            <p:cNvSpPr>
              <a:spLocks/>
            </p:cNvSpPr>
            <p:nvPr/>
          </p:nvSpPr>
          <p:spPr bwMode="auto">
            <a:xfrm>
              <a:off x="7526338" y="6353175"/>
              <a:ext cx="322262" cy="425450"/>
            </a:xfrm>
            <a:custGeom>
              <a:avLst/>
              <a:gdLst>
                <a:gd name="T0" fmla="*/ 203 w 203"/>
                <a:gd name="T1" fmla="*/ 0 h 268"/>
                <a:gd name="T2" fmla="*/ 88 w 203"/>
                <a:gd name="T3" fmla="*/ 268 h 268"/>
                <a:gd name="T4" fmla="*/ 0 w 203"/>
                <a:gd name="T5" fmla="*/ 266 h 268"/>
                <a:gd name="T6" fmla="*/ 38 w 203"/>
                <a:gd name="T7" fmla="*/ 171 h 268"/>
                <a:gd name="T8" fmla="*/ 82 w 203"/>
                <a:gd name="T9" fmla="*/ 4 h 268"/>
                <a:gd name="T10" fmla="*/ 203 w 203"/>
                <a:gd name="T11" fmla="*/ 0 h 268"/>
              </a:gdLst>
              <a:ahLst/>
              <a:cxnLst>
                <a:cxn ang="0">
                  <a:pos x="T0" y="T1"/>
                </a:cxn>
                <a:cxn ang="0">
                  <a:pos x="T2" y="T3"/>
                </a:cxn>
                <a:cxn ang="0">
                  <a:pos x="T4" y="T5"/>
                </a:cxn>
                <a:cxn ang="0">
                  <a:pos x="T6" y="T7"/>
                </a:cxn>
                <a:cxn ang="0">
                  <a:pos x="T8" y="T9"/>
                </a:cxn>
                <a:cxn ang="0">
                  <a:pos x="T10" y="T11"/>
                </a:cxn>
              </a:cxnLst>
              <a:rect l="0" t="0" r="r" b="b"/>
              <a:pathLst>
                <a:path w="203" h="268">
                  <a:moveTo>
                    <a:pt x="203" y="0"/>
                  </a:moveTo>
                  <a:lnTo>
                    <a:pt x="88" y="268"/>
                  </a:lnTo>
                  <a:lnTo>
                    <a:pt x="0" y="266"/>
                  </a:lnTo>
                  <a:lnTo>
                    <a:pt x="38" y="171"/>
                  </a:lnTo>
                  <a:lnTo>
                    <a:pt x="82" y="4"/>
                  </a:lnTo>
                  <a:lnTo>
                    <a:pt x="203"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2" name="Freeform 498"/>
            <p:cNvSpPr>
              <a:spLocks/>
            </p:cNvSpPr>
            <p:nvPr/>
          </p:nvSpPr>
          <p:spPr bwMode="auto">
            <a:xfrm>
              <a:off x="7526338" y="6624638"/>
              <a:ext cx="206375" cy="155575"/>
            </a:xfrm>
            <a:custGeom>
              <a:avLst/>
              <a:gdLst>
                <a:gd name="T0" fmla="*/ 130 w 130"/>
                <a:gd name="T1" fmla="*/ 2 h 98"/>
                <a:gd name="T2" fmla="*/ 88 w 130"/>
                <a:gd name="T3" fmla="*/ 98 h 98"/>
                <a:gd name="T4" fmla="*/ 0 w 130"/>
                <a:gd name="T5" fmla="*/ 97 h 98"/>
                <a:gd name="T6" fmla="*/ 38 w 130"/>
                <a:gd name="T7" fmla="*/ 0 h 98"/>
                <a:gd name="T8" fmla="*/ 130 w 130"/>
                <a:gd name="T9" fmla="*/ 2 h 98"/>
              </a:gdLst>
              <a:ahLst/>
              <a:cxnLst>
                <a:cxn ang="0">
                  <a:pos x="T0" y="T1"/>
                </a:cxn>
                <a:cxn ang="0">
                  <a:pos x="T2" y="T3"/>
                </a:cxn>
                <a:cxn ang="0">
                  <a:pos x="T4" y="T5"/>
                </a:cxn>
                <a:cxn ang="0">
                  <a:pos x="T6" y="T7"/>
                </a:cxn>
                <a:cxn ang="0">
                  <a:pos x="T8" y="T9"/>
                </a:cxn>
              </a:cxnLst>
              <a:rect l="0" t="0" r="r" b="b"/>
              <a:pathLst>
                <a:path w="130" h="98">
                  <a:moveTo>
                    <a:pt x="130" y="2"/>
                  </a:moveTo>
                  <a:lnTo>
                    <a:pt x="88" y="98"/>
                  </a:lnTo>
                  <a:lnTo>
                    <a:pt x="0" y="97"/>
                  </a:lnTo>
                  <a:lnTo>
                    <a:pt x="38" y="0"/>
                  </a:lnTo>
                  <a:lnTo>
                    <a:pt x="130" y="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3" name="Freeform 499"/>
            <p:cNvSpPr>
              <a:spLocks/>
            </p:cNvSpPr>
            <p:nvPr/>
          </p:nvSpPr>
          <p:spPr bwMode="auto">
            <a:xfrm>
              <a:off x="7473950" y="6773863"/>
              <a:ext cx="317500" cy="130175"/>
            </a:xfrm>
            <a:custGeom>
              <a:avLst/>
              <a:gdLst>
                <a:gd name="T0" fmla="*/ 89 w 139"/>
                <a:gd name="T1" fmla="*/ 1 h 57"/>
                <a:gd name="T2" fmla="*/ 130 w 139"/>
                <a:gd name="T3" fmla="*/ 57 h 57"/>
                <a:gd name="T4" fmla="*/ 66 w 139"/>
                <a:gd name="T5" fmla="*/ 55 h 57"/>
                <a:gd name="T6" fmla="*/ 0 w 139"/>
                <a:gd name="T7" fmla="*/ 54 h 57"/>
                <a:gd name="T8" fmla="*/ 23 w 139"/>
                <a:gd name="T9" fmla="*/ 0 h 57"/>
                <a:gd name="T10" fmla="*/ 89 w 139"/>
                <a:gd name="T11" fmla="*/ 1 h 57"/>
              </a:gdLst>
              <a:ahLst/>
              <a:cxnLst>
                <a:cxn ang="0">
                  <a:pos x="T0" y="T1"/>
                </a:cxn>
                <a:cxn ang="0">
                  <a:pos x="T2" y="T3"/>
                </a:cxn>
                <a:cxn ang="0">
                  <a:pos x="T4" y="T5"/>
                </a:cxn>
                <a:cxn ang="0">
                  <a:pos x="T6" y="T7"/>
                </a:cxn>
                <a:cxn ang="0">
                  <a:pos x="T8" y="T9"/>
                </a:cxn>
                <a:cxn ang="0">
                  <a:pos x="T10" y="T11"/>
                </a:cxn>
              </a:cxnLst>
              <a:rect l="0" t="0" r="r" b="b"/>
              <a:pathLst>
                <a:path w="139" h="57">
                  <a:moveTo>
                    <a:pt x="89" y="1"/>
                  </a:moveTo>
                  <a:cubicBezTo>
                    <a:pt x="122" y="2"/>
                    <a:pt x="139" y="26"/>
                    <a:pt x="130" y="57"/>
                  </a:cubicBezTo>
                  <a:cubicBezTo>
                    <a:pt x="66" y="55"/>
                    <a:pt x="66" y="55"/>
                    <a:pt x="66" y="55"/>
                  </a:cubicBezTo>
                  <a:cubicBezTo>
                    <a:pt x="0" y="54"/>
                    <a:pt x="0" y="54"/>
                    <a:pt x="0" y="54"/>
                  </a:cubicBezTo>
                  <a:cubicBezTo>
                    <a:pt x="23" y="0"/>
                    <a:pt x="23" y="0"/>
                    <a:pt x="23" y="0"/>
                  </a:cubicBezTo>
                  <a:lnTo>
                    <a:pt x="8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4" name="Freeform 500"/>
            <p:cNvSpPr>
              <a:spLocks noEditPoints="1"/>
            </p:cNvSpPr>
            <p:nvPr/>
          </p:nvSpPr>
          <p:spPr bwMode="auto">
            <a:xfrm>
              <a:off x="7885113" y="6624638"/>
              <a:ext cx="804862" cy="804863"/>
            </a:xfrm>
            <a:custGeom>
              <a:avLst/>
              <a:gdLst>
                <a:gd name="T0" fmla="*/ 0 w 352"/>
                <a:gd name="T1" fmla="*/ 176 h 352"/>
                <a:gd name="T2" fmla="*/ 176 w 352"/>
                <a:gd name="T3" fmla="*/ 0 h 352"/>
                <a:gd name="T4" fmla="*/ 352 w 352"/>
                <a:gd name="T5" fmla="*/ 176 h 352"/>
                <a:gd name="T6" fmla="*/ 176 w 352"/>
                <a:gd name="T7" fmla="*/ 352 h 352"/>
                <a:gd name="T8" fmla="*/ 0 w 352"/>
                <a:gd name="T9" fmla="*/ 176 h 352"/>
                <a:gd name="T10" fmla="*/ 27 w 352"/>
                <a:gd name="T11" fmla="*/ 176 h 352"/>
                <a:gd name="T12" fmla="*/ 176 w 352"/>
                <a:gd name="T13" fmla="*/ 324 h 352"/>
                <a:gd name="T14" fmla="*/ 324 w 352"/>
                <a:gd name="T15" fmla="*/ 176 h 352"/>
                <a:gd name="T16" fmla="*/ 176 w 352"/>
                <a:gd name="T17" fmla="*/ 27 h 352"/>
                <a:gd name="T18" fmla="*/ 27 w 352"/>
                <a:gd name="T19"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352">
                  <a:moveTo>
                    <a:pt x="0" y="176"/>
                  </a:moveTo>
                  <a:cubicBezTo>
                    <a:pt x="0" y="79"/>
                    <a:pt x="79" y="0"/>
                    <a:pt x="176" y="0"/>
                  </a:cubicBezTo>
                  <a:cubicBezTo>
                    <a:pt x="273" y="0"/>
                    <a:pt x="352" y="79"/>
                    <a:pt x="352" y="176"/>
                  </a:cubicBezTo>
                  <a:cubicBezTo>
                    <a:pt x="352" y="273"/>
                    <a:pt x="273" y="352"/>
                    <a:pt x="176" y="352"/>
                  </a:cubicBezTo>
                  <a:cubicBezTo>
                    <a:pt x="79" y="352"/>
                    <a:pt x="0" y="273"/>
                    <a:pt x="0" y="176"/>
                  </a:cubicBezTo>
                  <a:close/>
                  <a:moveTo>
                    <a:pt x="27" y="176"/>
                  </a:moveTo>
                  <a:cubicBezTo>
                    <a:pt x="27" y="258"/>
                    <a:pt x="94" y="324"/>
                    <a:pt x="176" y="324"/>
                  </a:cubicBezTo>
                  <a:cubicBezTo>
                    <a:pt x="258" y="324"/>
                    <a:pt x="324" y="258"/>
                    <a:pt x="324" y="176"/>
                  </a:cubicBezTo>
                  <a:cubicBezTo>
                    <a:pt x="324" y="94"/>
                    <a:pt x="258" y="27"/>
                    <a:pt x="176" y="27"/>
                  </a:cubicBezTo>
                  <a:cubicBezTo>
                    <a:pt x="94" y="27"/>
                    <a:pt x="27" y="94"/>
                    <a:pt x="27" y="17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5" name="Freeform 501"/>
            <p:cNvSpPr>
              <a:spLocks noEditPoints="1"/>
            </p:cNvSpPr>
            <p:nvPr/>
          </p:nvSpPr>
          <p:spPr bwMode="auto">
            <a:xfrm>
              <a:off x="6597651" y="6624638"/>
              <a:ext cx="801687" cy="804863"/>
            </a:xfrm>
            <a:custGeom>
              <a:avLst/>
              <a:gdLst>
                <a:gd name="T0" fmla="*/ 0 w 351"/>
                <a:gd name="T1" fmla="*/ 176 h 352"/>
                <a:gd name="T2" fmla="*/ 175 w 351"/>
                <a:gd name="T3" fmla="*/ 0 h 352"/>
                <a:gd name="T4" fmla="*/ 351 w 351"/>
                <a:gd name="T5" fmla="*/ 176 h 352"/>
                <a:gd name="T6" fmla="*/ 175 w 351"/>
                <a:gd name="T7" fmla="*/ 352 h 352"/>
                <a:gd name="T8" fmla="*/ 0 w 351"/>
                <a:gd name="T9" fmla="*/ 176 h 352"/>
                <a:gd name="T10" fmla="*/ 27 w 351"/>
                <a:gd name="T11" fmla="*/ 176 h 352"/>
                <a:gd name="T12" fmla="*/ 175 w 351"/>
                <a:gd name="T13" fmla="*/ 324 h 352"/>
                <a:gd name="T14" fmla="*/ 324 w 351"/>
                <a:gd name="T15" fmla="*/ 176 h 352"/>
                <a:gd name="T16" fmla="*/ 175 w 351"/>
                <a:gd name="T17" fmla="*/ 27 h 352"/>
                <a:gd name="T18" fmla="*/ 27 w 351"/>
                <a:gd name="T19"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1" h="352">
                  <a:moveTo>
                    <a:pt x="0" y="176"/>
                  </a:moveTo>
                  <a:cubicBezTo>
                    <a:pt x="0" y="79"/>
                    <a:pt x="78" y="0"/>
                    <a:pt x="175" y="0"/>
                  </a:cubicBezTo>
                  <a:cubicBezTo>
                    <a:pt x="272" y="0"/>
                    <a:pt x="351" y="79"/>
                    <a:pt x="351" y="176"/>
                  </a:cubicBezTo>
                  <a:cubicBezTo>
                    <a:pt x="351" y="273"/>
                    <a:pt x="272" y="352"/>
                    <a:pt x="175" y="352"/>
                  </a:cubicBezTo>
                  <a:cubicBezTo>
                    <a:pt x="78" y="352"/>
                    <a:pt x="0" y="273"/>
                    <a:pt x="0" y="176"/>
                  </a:cubicBezTo>
                  <a:close/>
                  <a:moveTo>
                    <a:pt x="27" y="176"/>
                  </a:moveTo>
                  <a:cubicBezTo>
                    <a:pt x="27" y="258"/>
                    <a:pt x="93" y="324"/>
                    <a:pt x="175" y="324"/>
                  </a:cubicBezTo>
                  <a:cubicBezTo>
                    <a:pt x="257" y="324"/>
                    <a:pt x="324" y="258"/>
                    <a:pt x="324" y="176"/>
                  </a:cubicBezTo>
                  <a:cubicBezTo>
                    <a:pt x="324" y="94"/>
                    <a:pt x="257" y="27"/>
                    <a:pt x="175" y="27"/>
                  </a:cubicBezTo>
                  <a:cubicBezTo>
                    <a:pt x="93" y="27"/>
                    <a:pt x="27" y="94"/>
                    <a:pt x="27" y="17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6" name="Line 502"/>
            <p:cNvSpPr>
              <a:spLocks noChangeShapeType="1"/>
            </p:cNvSpPr>
            <p:nvPr/>
          </p:nvSpPr>
          <p:spPr bwMode="auto">
            <a:xfrm>
              <a:off x="7369175" y="6472238"/>
              <a:ext cx="0" cy="0"/>
            </a:xfrm>
            <a:prstGeom prst="line">
              <a:avLst/>
            </a:prstGeom>
            <a:noFill/>
            <a:ln w="44450" cap="rnd">
              <a:solidFill>
                <a:srgbClr val="EA262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7" name="Freeform 503"/>
            <p:cNvSpPr>
              <a:spLocks noEditPoints="1"/>
            </p:cNvSpPr>
            <p:nvPr/>
          </p:nvSpPr>
          <p:spPr bwMode="auto">
            <a:xfrm>
              <a:off x="6956425" y="6223000"/>
              <a:ext cx="1373187" cy="935038"/>
            </a:xfrm>
            <a:custGeom>
              <a:avLst/>
              <a:gdLst>
                <a:gd name="T0" fmla="*/ 583 w 601"/>
                <a:gd name="T1" fmla="*/ 334 h 409"/>
                <a:gd name="T2" fmla="*/ 578 w 601"/>
                <a:gd name="T3" fmla="*/ 334 h 409"/>
                <a:gd name="T4" fmla="*/ 523 w 601"/>
                <a:gd name="T5" fmla="*/ 268 h 409"/>
                <a:gd name="T6" fmla="*/ 484 w 601"/>
                <a:gd name="T7" fmla="*/ 158 h 409"/>
                <a:gd name="T8" fmla="*/ 473 w 601"/>
                <a:gd name="T9" fmla="*/ 128 h 409"/>
                <a:gd name="T10" fmla="*/ 451 w 601"/>
                <a:gd name="T11" fmla="*/ 63 h 409"/>
                <a:gd name="T12" fmla="*/ 463 w 601"/>
                <a:gd name="T13" fmla="*/ 36 h 409"/>
                <a:gd name="T14" fmla="*/ 461 w 601"/>
                <a:gd name="T15" fmla="*/ 25 h 409"/>
                <a:gd name="T16" fmla="*/ 439 w 601"/>
                <a:gd name="T17" fmla="*/ 3 h 409"/>
                <a:gd name="T18" fmla="*/ 432 w 601"/>
                <a:gd name="T19" fmla="*/ 0 h 409"/>
                <a:gd name="T20" fmla="*/ 366 w 601"/>
                <a:gd name="T21" fmla="*/ 0 h 409"/>
                <a:gd name="T22" fmla="*/ 356 w 601"/>
                <a:gd name="T23" fmla="*/ 10 h 409"/>
                <a:gd name="T24" fmla="*/ 366 w 601"/>
                <a:gd name="T25" fmla="*/ 21 h 409"/>
                <a:gd name="T26" fmla="*/ 428 w 601"/>
                <a:gd name="T27" fmla="*/ 21 h 409"/>
                <a:gd name="T28" fmla="*/ 441 w 601"/>
                <a:gd name="T29" fmla="*/ 34 h 409"/>
                <a:gd name="T30" fmla="*/ 431 w 601"/>
                <a:gd name="T31" fmla="*/ 58 h 409"/>
                <a:gd name="T32" fmla="*/ 430 w 601"/>
                <a:gd name="T33" fmla="*/ 66 h 409"/>
                <a:gd name="T34" fmla="*/ 450 w 601"/>
                <a:gd name="T35" fmla="*/ 124 h 409"/>
                <a:gd name="T36" fmla="*/ 195 w 601"/>
                <a:gd name="T37" fmla="*/ 124 h 409"/>
                <a:gd name="T38" fmla="*/ 190 w 601"/>
                <a:gd name="T39" fmla="*/ 106 h 409"/>
                <a:gd name="T40" fmla="*/ 178 w 601"/>
                <a:gd name="T41" fmla="*/ 99 h 409"/>
                <a:gd name="T42" fmla="*/ 171 w 601"/>
                <a:gd name="T43" fmla="*/ 112 h 409"/>
                <a:gd name="T44" fmla="*/ 177 w 601"/>
                <a:gd name="T45" fmla="*/ 132 h 409"/>
                <a:gd name="T46" fmla="*/ 20 w 601"/>
                <a:gd name="T47" fmla="*/ 334 h 409"/>
                <a:gd name="T48" fmla="*/ 18 w 601"/>
                <a:gd name="T49" fmla="*/ 334 h 409"/>
                <a:gd name="T50" fmla="*/ 0 w 601"/>
                <a:gd name="T51" fmla="*/ 352 h 409"/>
                <a:gd name="T52" fmla="*/ 1 w 601"/>
                <a:gd name="T53" fmla="*/ 357 h 409"/>
                <a:gd name="T54" fmla="*/ 2 w 601"/>
                <a:gd name="T55" fmla="*/ 359 h 409"/>
                <a:gd name="T56" fmla="*/ 18 w 601"/>
                <a:gd name="T57" fmla="*/ 370 h 409"/>
                <a:gd name="T58" fmla="*/ 31 w 601"/>
                <a:gd name="T59" fmla="*/ 365 h 409"/>
                <a:gd name="T60" fmla="*/ 269 w 601"/>
                <a:gd name="T61" fmla="*/ 409 h 409"/>
                <a:gd name="T62" fmla="*/ 471 w 601"/>
                <a:gd name="T63" fmla="*/ 183 h 409"/>
                <a:gd name="T64" fmla="*/ 505 w 601"/>
                <a:gd name="T65" fmla="*/ 276 h 409"/>
                <a:gd name="T66" fmla="*/ 565 w 601"/>
                <a:gd name="T67" fmla="*/ 350 h 409"/>
                <a:gd name="T68" fmla="*/ 565 w 601"/>
                <a:gd name="T69" fmla="*/ 352 h 409"/>
                <a:gd name="T70" fmla="*/ 583 w 601"/>
                <a:gd name="T71" fmla="*/ 370 h 409"/>
                <a:gd name="T72" fmla="*/ 601 w 601"/>
                <a:gd name="T73" fmla="*/ 352 h 409"/>
                <a:gd name="T74" fmla="*/ 583 w 601"/>
                <a:gd name="T75" fmla="*/ 334 h 409"/>
                <a:gd name="T76" fmla="*/ 37 w 601"/>
                <a:gd name="T77" fmla="*/ 345 h 409"/>
                <a:gd name="T78" fmla="*/ 184 w 601"/>
                <a:gd name="T79" fmla="*/ 156 h 409"/>
                <a:gd name="T80" fmla="*/ 251 w 601"/>
                <a:gd name="T81" fmla="*/ 385 h 409"/>
                <a:gd name="T82" fmla="*/ 37 w 601"/>
                <a:gd name="T83" fmla="*/ 345 h 409"/>
                <a:gd name="T84" fmla="*/ 270 w 601"/>
                <a:gd name="T85" fmla="*/ 378 h 409"/>
                <a:gd name="T86" fmla="*/ 201 w 601"/>
                <a:gd name="T87" fmla="*/ 144 h 409"/>
                <a:gd name="T88" fmla="*/ 457 w 601"/>
                <a:gd name="T89" fmla="*/ 144 h 409"/>
                <a:gd name="T90" fmla="*/ 463 w 601"/>
                <a:gd name="T91" fmla="*/ 161 h 409"/>
                <a:gd name="T92" fmla="*/ 270 w 601"/>
                <a:gd name="T93" fmla="*/ 37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1" h="409">
                  <a:moveTo>
                    <a:pt x="583" y="334"/>
                  </a:moveTo>
                  <a:cubicBezTo>
                    <a:pt x="581" y="334"/>
                    <a:pt x="580" y="334"/>
                    <a:pt x="578" y="334"/>
                  </a:cubicBezTo>
                  <a:cubicBezTo>
                    <a:pt x="562" y="321"/>
                    <a:pt x="535" y="294"/>
                    <a:pt x="523" y="268"/>
                  </a:cubicBezTo>
                  <a:cubicBezTo>
                    <a:pt x="516" y="250"/>
                    <a:pt x="499" y="203"/>
                    <a:pt x="484" y="158"/>
                  </a:cubicBezTo>
                  <a:cubicBezTo>
                    <a:pt x="473" y="128"/>
                    <a:pt x="473" y="128"/>
                    <a:pt x="473" y="128"/>
                  </a:cubicBezTo>
                  <a:cubicBezTo>
                    <a:pt x="463" y="98"/>
                    <a:pt x="454" y="72"/>
                    <a:pt x="451" y="63"/>
                  </a:cubicBezTo>
                  <a:cubicBezTo>
                    <a:pt x="463" y="36"/>
                    <a:pt x="463" y="36"/>
                    <a:pt x="463" y="36"/>
                  </a:cubicBezTo>
                  <a:cubicBezTo>
                    <a:pt x="465" y="32"/>
                    <a:pt x="464" y="28"/>
                    <a:pt x="461" y="25"/>
                  </a:cubicBezTo>
                  <a:cubicBezTo>
                    <a:pt x="439" y="3"/>
                    <a:pt x="439" y="3"/>
                    <a:pt x="439" y="3"/>
                  </a:cubicBezTo>
                  <a:cubicBezTo>
                    <a:pt x="437" y="1"/>
                    <a:pt x="435" y="0"/>
                    <a:pt x="432" y="0"/>
                  </a:cubicBezTo>
                  <a:cubicBezTo>
                    <a:pt x="366" y="0"/>
                    <a:pt x="366" y="0"/>
                    <a:pt x="366" y="0"/>
                  </a:cubicBezTo>
                  <a:cubicBezTo>
                    <a:pt x="361" y="0"/>
                    <a:pt x="356" y="5"/>
                    <a:pt x="356" y="10"/>
                  </a:cubicBezTo>
                  <a:cubicBezTo>
                    <a:pt x="356" y="16"/>
                    <a:pt x="361" y="21"/>
                    <a:pt x="366" y="21"/>
                  </a:cubicBezTo>
                  <a:cubicBezTo>
                    <a:pt x="428" y="21"/>
                    <a:pt x="428" y="21"/>
                    <a:pt x="428" y="21"/>
                  </a:cubicBezTo>
                  <a:cubicBezTo>
                    <a:pt x="441" y="34"/>
                    <a:pt x="441" y="34"/>
                    <a:pt x="441" y="34"/>
                  </a:cubicBezTo>
                  <a:cubicBezTo>
                    <a:pt x="431" y="58"/>
                    <a:pt x="431" y="58"/>
                    <a:pt x="431" y="58"/>
                  </a:cubicBezTo>
                  <a:cubicBezTo>
                    <a:pt x="430" y="61"/>
                    <a:pt x="429" y="63"/>
                    <a:pt x="430" y="66"/>
                  </a:cubicBezTo>
                  <a:cubicBezTo>
                    <a:pt x="431" y="68"/>
                    <a:pt x="439" y="92"/>
                    <a:pt x="450" y="124"/>
                  </a:cubicBezTo>
                  <a:cubicBezTo>
                    <a:pt x="195" y="124"/>
                    <a:pt x="195" y="124"/>
                    <a:pt x="195" y="124"/>
                  </a:cubicBezTo>
                  <a:cubicBezTo>
                    <a:pt x="190" y="106"/>
                    <a:pt x="190" y="106"/>
                    <a:pt x="190" y="106"/>
                  </a:cubicBezTo>
                  <a:cubicBezTo>
                    <a:pt x="189" y="101"/>
                    <a:pt x="183" y="98"/>
                    <a:pt x="178" y="99"/>
                  </a:cubicBezTo>
                  <a:cubicBezTo>
                    <a:pt x="172" y="101"/>
                    <a:pt x="169" y="107"/>
                    <a:pt x="171" y="112"/>
                  </a:cubicBezTo>
                  <a:cubicBezTo>
                    <a:pt x="177" y="132"/>
                    <a:pt x="177" y="132"/>
                    <a:pt x="177" y="132"/>
                  </a:cubicBezTo>
                  <a:cubicBezTo>
                    <a:pt x="20" y="334"/>
                    <a:pt x="20" y="334"/>
                    <a:pt x="20" y="334"/>
                  </a:cubicBezTo>
                  <a:cubicBezTo>
                    <a:pt x="19" y="334"/>
                    <a:pt x="19" y="334"/>
                    <a:pt x="18" y="334"/>
                  </a:cubicBezTo>
                  <a:cubicBezTo>
                    <a:pt x="8" y="334"/>
                    <a:pt x="0" y="342"/>
                    <a:pt x="0" y="352"/>
                  </a:cubicBezTo>
                  <a:cubicBezTo>
                    <a:pt x="0" y="354"/>
                    <a:pt x="1" y="356"/>
                    <a:pt x="1" y="357"/>
                  </a:cubicBezTo>
                  <a:cubicBezTo>
                    <a:pt x="2" y="359"/>
                    <a:pt x="2" y="359"/>
                    <a:pt x="2" y="359"/>
                  </a:cubicBezTo>
                  <a:cubicBezTo>
                    <a:pt x="5" y="365"/>
                    <a:pt x="11" y="370"/>
                    <a:pt x="18" y="370"/>
                  </a:cubicBezTo>
                  <a:cubicBezTo>
                    <a:pt x="23" y="370"/>
                    <a:pt x="28" y="368"/>
                    <a:pt x="31" y="365"/>
                  </a:cubicBezTo>
                  <a:cubicBezTo>
                    <a:pt x="269" y="409"/>
                    <a:pt x="269" y="409"/>
                    <a:pt x="269" y="409"/>
                  </a:cubicBezTo>
                  <a:cubicBezTo>
                    <a:pt x="471" y="183"/>
                    <a:pt x="471" y="183"/>
                    <a:pt x="471" y="183"/>
                  </a:cubicBezTo>
                  <a:cubicBezTo>
                    <a:pt x="484" y="222"/>
                    <a:pt x="498" y="260"/>
                    <a:pt x="505" y="276"/>
                  </a:cubicBezTo>
                  <a:cubicBezTo>
                    <a:pt x="518" y="306"/>
                    <a:pt x="548" y="335"/>
                    <a:pt x="565" y="350"/>
                  </a:cubicBezTo>
                  <a:cubicBezTo>
                    <a:pt x="565" y="351"/>
                    <a:pt x="565" y="351"/>
                    <a:pt x="565" y="352"/>
                  </a:cubicBezTo>
                  <a:cubicBezTo>
                    <a:pt x="565" y="362"/>
                    <a:pt x="573" y="370"/>
                    <a:pt x="583" y="370"/>
                  </a:cubicBezTo>
                  <a:cubicBezTo>
                    <a:pt x="593" y="370"/>
                    <a:pt x="601" y="362"/>
                    <a:pt x="601" y="352"/>
                  </a:cubicBezTo>
                  <a:cubicBezTo>
                    <a:pt x="601" y="342"/>
                    <a:pt x="593" y="334"/>
                    <a:pt x="583" y="334"/>
                  </a:cubicBezTo>
                  <a:close/>
                  <a:moveTo>
                    <a:pt x="37" y="345"/>
                  </a:moveTo>
                  <a:cubicBezTo>
                    <a:pt x="184" y="156"/>
                    <a:pt x="184" y="156"/>
                    <a:pt x="184" y="156"/>
                  </a:cubicBezTo>
                  <a:cubicBezTo>
                    <a:pt x="251" y="385"/>
                    <a:pt x="251" y="385"/>
                    <a:pt x="251" y="385"/>
                  </a:cubicBezTo>
                  <a:lnTo>
                    <a:pt x="37" y="345"/>
                  </a:lnTo>
                  <a:close/>
                  <a:moveTo>
                    <a:pt x="270" y="378"/>
                  </a:moveTo>
                  <a:cubicBezTo>
                    <a:pt x="201" y="144"/>
                    <a:pt x="201" y="144"/>
                    <a:pt x="201" y="144"/>
                  </a:cubicBezTo>
                  <a:cubicBezTo>
                    <a:pt x="457" y="144"/>
                    <a:pt x="457" y="144"/>
                    <a:pt x="457" y="144"/>
                  </a:cubicBezTo>
                  <a:cubicBezTo>
                    <a:pt x="459" y="150"/>
                    <a:pt x="461" y="156"/>
                    <a:pt x="463" y="161"/>
                  </a:cubicBezTo>
                  <a:lnTo>
                    <a:pt x="270" y="37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8" name="Freeform 504"/>
            <p:cNvSpPr>
              <a:spLocks/>
            </p:cNvSpPr>
            <p:nvPr/>
          </p:nvSpPr>
          <p:spPr bwMode="auto">
            <a:xfrm>
              <a:off x="7191375" y="6380163"/>
              <a:ext cx="354012" cy="101600"/>
            </a:xfrm>
            <a:custGeom>
              <a:avLst/>
              <a:gdLst>
                <a:gd name="T0" fmla="*/ 155 w 155"/>
                <a:gd name="T1" fmla="*/ 0 h 44"/>
                <a:gd name="T2" fmla="*/ 57 w 155"/>
                <a:gd name="T3" fmla="*/ 44 h 44"/>
                <a:gd name="T4" fmla="*/ 0 w 155"/>
                <a:gd name="T5" fmla="*/ 0 h 44"/>
                <a:gd name="T6" fmla="*/ 155 w 155"/>
                <a:gd name="T7" fmla="*/ 0 h 44"/>
              </a:gdLst>
              <a:ahLst/>
              <a:cxnLst>
                <a:cxn ang="0">
                  <a:pos x="T0" y="T1"/>
                </a:cxn>
                <a:cxn ang="0">
                  <a:pos x="T2" y="T3"/>
                </a:cxn>
                <a:cxn ang="0">
                  <a:pos x="T4" y="T5"/>
                </a:cxn>
                <a:cxn ang="0">
                  <a:pos x="T6" y="T7"/>
                </a:cxn>
              </a:cxnLst>
              <a:rect l="0" t="0" r="r" b="b"/>
              <a:pathLst>
                <a:path w="155" h="44">
                  <a:moveTo>
                    <a:pt x="155" y="0"/>
                  </a:moveTo>
                  <a:cubicBezTo>
                    <a:pt x="139" y="26"/>
                    <a:pt x="90" y="44"/>
                    <a:pt x="57" y="44"/>
                  </a:cubicBezTo>
                  <a:cubicBezTo>
                    <a:pt x="24" y="44"/>
                    <a:pt x="0" y="22"/>
                    <a:pt x="0" y="0"/>
                  </a:cubicBezTo>
                  <a:lnTo>
                    <a:pt x="155"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9" name="Oval 505"/>
            <p:cNvSpPr>
              <a:spLocks noChangeArrowheads="1"/>
            </p:cNvSpPr>
            <p:nvPr/>
          </p:nvSpPr>
          <p:spPr bwMode="auto">
            <a:xfrm>
              <a:off x="7466013" y="7035800"/>
              <a:ext cx="193675" cy="19526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0" name="Freeform 506"/>
            <p:cNvSpPr>
              <a:spLocks/>
            </p:cNvSpPr>
            <p:nvPr/>
          </p:nvSpPr>
          <p:spPr bwMode="auto">
            <a:xfrm>
              <a:off x="7472363" y="7089775"/>
              <a:ext cx="120650" cy="227013"/>
            </a:xfrm>
            <a:custGeom>
              <a:avLst/>
              <a:gdLst>
                <a:gd name="T0" fmla="*/ 11 w 53"/>
                <a:gd name="T1" fmla="*/ 100 h 100"/>
                <a:gd name="T2" fmla="*/ 21 w 53"/>
                <a:gd name="T3" fmla="*/ 94 h 100"/>
                <a:gd name="T4" fmla="*/ 50 w 53"/>
                <a:gd name="T5" fmla="*/ 15 h 100"/>
                <a:gd name="T6" fmla="*/ 45 w 53"/>
                <a:gd name="T7" fmla="*/ 2 h 100"/>
                <a:gd name="T8" fmla="*/ 32 w 53"/>
                <a:gd name="T9" fmla="*/ 8 h 100"/>
                <a:gd name="T10" fmla="*/ 2 w 53"/>
                <a:gd name="T11" fmla="*/ 86 h 100"/>
                <a:gd name="T12" fmla="*/ 8 w 53"/>
                <a:gd name="T13" fmla="*/ 99 h 100"/>
                <a:gd name="T14" fmla="*/ 11 w 53"/>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0">
                  <a:moveTo>
                    <a:pt x="11" y="100"/>
                  </a:moveTo>
                  <a:cubicBezTo>
                    <a:pt x="15" y="100"/>
                    <a:pt x="19" y="98"/>
                    <a:pt x="21" y="94"/>
                  </a:cubicBezTo>
                  <a:cubicBezTo>
                    <a:pt x="50" y="15"/>
                    <a:pt x="50" y="15"/>
                    <a:pt x="50" y="15"/>
                  </a:cubicBezTo>
                  <a:cubicBezTo>
                    <a:pt x="53" y="10"/>
                    <a:pt x="50" y="4"/>
                    <a:pt x="45" y="2"/>
                  </a:cubicBezTo>
                  <a:cubicBezTo>
                    <a:pt x="40" y="0"/>
                    <a:pt x="34" y="3"/>
                    <a:pt x="32" y="8"/>
                  </a:cubicBezTo>
                  <a:cubicBezTo>
                    <a:pt x="2" y="86"/>
                    <a:pt x="2" y="86"/>
                    <a:pt x="2" y="86"/>
                  </a:cubicBezTo>
                  <a:cubicBezTo>
                    <a:pt x="0" y="91"/>
                    <a:pt x="3" y="97"/>
                    <a:pt x="8" y="99"/>
                  </a:cubicBezTo>
                  <a:cubicBezTo>
                    <a:pt x="9" y="100"/>
                    <a:pt x="10" y="100"/>
                    <a:pt x="11" y="10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1" name="Freeform 507"/>
            <p:cNvSpPr>
              <a:spLocks/>
            </p:cNvSpPr>
            <p:nvPr/>
          </p:nvSpPr>
          <p:spPr bwMode="auto">
            <a:xfrm>
              <a:off x="7767638" y="6223000"/>
              <a:ext cx="138112" cy="47625"/>
            </a:xfrm>
            <a:custGeom>
              <a:avLst/>
              <a:gdLst>
                <a:gd name="T0" fmla="*/ 61 w 61"/>
                <a:gd name="T1" fmla="*/ 10 h 21"/>
                <a:gd name="T2" fmla="*/ 51 w 61"/>
                <a:gd name="T3" fmla="*/ 21 h 21"/>
                <a:gd name="T4" fmla="*/ 10 w 61"/>
                <a:gd name="T5" fmla="*/ 21 h 21"/>
                <a:gd name="T6" fmla="*/ 0 w 61"/>
                <a:gd name="T7" fmla="*/ 10 h 21"/>
                <a:gd name="T8" fmla="*/ 0 w 61"/>
                <a:gd name="T9" fmla="*/ 10 h 21"/>
                <a:gd name="T10" fmla="*/ 10 w 61"/>
                <a:gd name="T11" fmla="*/ 0 h 21"/>
                <a:gd name="T12" fmla="*/ 51 w 61"/>
                <a:gd name="T13" fmla="*/ 0 h 21"/>
                <a:gd name="T14" fmla="*/ 61 w 61"/>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61" y="10"/>
                  </a:moveTo>
                  <a:cubicBezTo>
                    <a:pt x="61" y="16"/>
                    <a:pt x="57" y="21"/>
                    <a:pt x="51" y="21"/>
                  </a:cubicBezTo>
                  <a:cubicBezTo>
                    <a:pt x="10" y="21"/>
                    <a:pt x="10" y="21"/>
                    <a:pt x="10" y="21"/>
                  </a:cubicBezTo>
                  <a:cubicBezTo>
                    <a:pt x="4" y="21"/>
                    <a:pt x="0" y="16"/>
                    <a:pt x="0" y="10"/>
                  </a:cubicBezTo>
                  <a:cubicBezTo>
                    <a:pt x="0" y="10"/>
                    <a:pt x="0" y="10"/>
                    <a:pt x="0" y="10"/>
                  </a:cubicBezTo>
                  <a:cubicBezTo>
                    <a:pt x="0" y="5"/>
                    <a:pt x="4" y="0"/>
                    <a:pt x="10" y="0"/>
                  </a:cubicBezTo>
                  <a:cubicBezTo>
                    <a:pt x="51" y="0"/>
                    <a:pt x="51" y="0"/>
                    <a:pt x="51" y="0"/>
                  </a:cubicBezTo>
                  <a:cubicBezTo>
                    <a:pt x="57" y="0"/>
                    <a:pt x="61" y="5"/>
                    <a:pt x="61" y="10"/>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2" name="Freeform 508"/>
            <p:cNvSpPr>
              <a:spLocks/>
            </p:cNvSpPr>
            <p:nvPr/>
          </p:nvSpPr>
          <p:spPr bwMode="auto">
            <a:xfrm>
              <a:off x="8024813" y="6299200"/>
              <a:ext cx="71437" cy="136525"/>
            </a:xfrm>
            <a:custGeom>
              <a:avLst/>
              <a:gdLst>
                <a:gd name="T0" fmla="*/ 31 w 31"/>
                <a:gd name="T1" fmla="*/ 0 h 60"/>
                <a:gd name="T2" fmla="*/ 0 w 31"/>
                <a:gd name="T3" fmla="*/ 30 h 60"/>
                <a:gd name="T4" fmla="*/ 31 w 31"/>
                <a:gd name="T5" fmla="*/ 60 h 60"/>
                <a:gd name="T6" fmla="*/ 31 w 31"/>
                <a:gd name="T7" fmla="*/ 0 h 60"/>
              </a:gdLst>
              <a:ahLst/>
              <a:cxnLst>
                <a:cxn ang="0">
                  <a:pos x="T0" y="T1"/>
                </a:cxn>
                <a:cxn ang="0">
                  <a:pos x="T2" y="T3"/>
                </a:cxn>
                <a:cxn ang="0">
                  <a:pos x="T4" y="T5"/>
                </a:cxn>
                <a:cxn ang="0">
                  <a:pos x="T6" y="T7"/>
                </a:cxn>
              </a:cxnLst>
              <a:rect l="0" t="0" r="r" b="b"/>
              <a:pathLst>
                <a:path w="31" h="60">
                  <a:moveTo>
                    <a:pt x="31" y="0"/>
                  </a:moveTo>
                  <a:cubicBezTo>
                    <a:pt x="14" y="0"/>
                    <a:pt x="0" y="13"/>
                    <a:pt x="0" y="30"/>
                  </a:cubicBezTo>
                  <a:cubicBezTo>
                    <a:pt x="0" y="47"/>
                    <a:pt x="14" y="60"/>
                    <a:pt x="31" y="60"/>
                  </a:cubicBezTo>
                  <a:lnTo>
                    <a:pt x="31"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3" name="Freeform 509"/>
            <p:cNvSpPr>
              <a:spLocks/>
            </p:cNvSpPr>
            <p:nvPr/>
          </p:nvSpPr>
          <p:spPr bwMode="auto">
            <a:xfrm>
              <a:off x="7312025" y="6380163"/>
              <a:ext cx="338137" cy="368300"/>
            </a:xfrm>
            <a:custGeom>
              <a:avLst/>
              <a:gdLst>
                <a:gd name="T0" fmla="*/ 126 w 148"/>
                <a:gd name="T1" fmla="*/ 148 h 161"/>
                <a:gd name="T2" fmla="*/ 135 w 148"/>
                <a:gd name="T3" fmla="*/ 90 h 161"/>
                <a:gd name="T4" fmla="*/ 67 w 148"/>
                <a:gd name="T5" fmla="*/ 0 h 161"/>
                <a:gd name="T6" fmla="*/ 0 w 148"/>
                <a:gd name="T7" fmla="*/ 51 h 161"/>
                <a:gd name="T8" fmla="*/ 69 w 148"/>
                <a:gd name="T9" fmla="*/ 143 h 161"/>
                <a:gd name="T10" fmla="*/ 126 w 148"/>
                <a:gd name="T11" fmla="*/ 148 h 161"/>
              </a:gdLst>
              <a:ahLst/>
              <a:cxnLst>
                <a:cxn ang="0">
                  <a:pos x="T0" y="T1"/>
                </a:cxn>
                <a:cxn ang="0">
                  <a:pos x="T2" y="T3"/>
                </a:cxn>
                <a:cxn ang="0">
                  <a:pos x="T4" y="T5"/>
                </a:cxn>
                <a:cxn ang="0">
                  <a:pos x="T6" y="T7"/>
                </a:cxn>
                <a:cxn ang="0">
                  <a:pos x="T8" y="T9"/>
                </a:cxn>
                <a:cxn ang="0">
                  <a:pos x="T10" y="T11"/>
                </a:cxn>
              </a:cxnLst>
              <a:rect l="0" t="0" r="r" b="b"/>
              <a:pathLst>
                <a:path w="148" h="161">
                  <a:moveTo>
                    <a:pt x="126" y="148"/>
                  </a:moveTo>
                  <a:cubicBezTo>
                    <a:pt x="144" y="134"/>
                    <a:pt x="148" y="109"/>
                    <a:pt x="135" y="90"/>
                  </a:cubicBezTo>
                  <a:cubicBezTo>
                    <a:pt x="67" y="0"/>
                    <a:pt x="67" y="0"/>
                    <a:pt x="67" y="0"/>
                  </a:cubicBezTo>
                  <a:cubicBezTo>
                    <a:pt x="0" y="51"/>
                    <a:pt x="0" y="51"/>
                    <a:pt x="0" y="51"/>
                  </a:cubicBezTo>
                  <a:cubicBezTo>
                    <a:pt x="69" y="143"/>
                    <a:pt x="69" y="143"/>
                    <a:pt x="69" y="143"/>
                  </a:cubicBezTo>
                  <a:cubicBezTo>
                    <a:pt x="84" y="159"/>
                    <a:pt x="109" y="161"/>
                    <a:pt x="126" y="14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4" name="Freeform 510"/>
            <p:cNvSpPr>
              <a:spLocks/>
            </p:cNvSpPr>
            <p:nvPr/>
          </p:nvSpPr>
          <p:spPr bwMode="auto">
            <a:xfrm>
              <a:off x="7183438" y="6154738"/>
              <a:ext cx="387350" cy="482600"/>
            </a:xfrm>
            <a:custGeom>
              <a:avLst/>
              <a:gdLst>
                <a:gd name="T0" fmla="*/ 169 w 169"/>
                <a:gd name="T1" fmla="*/ 160 h 211"/>
                <a:gd name="T2" fmla="*/ 48 w 169"/>
                <a:gd name="T3" fmla="*/ 0 h 211"/>
                <a:gd name="T4" fmla="*/ 0 w 169"/>
                <a:gd name="T5" fmla="*/ 30 h 211"/>
                <a:gd name="T6" fmla="*/ 18 w 169"/>
                <a:gd name="T7" fmla="*/ 99 h 211"/>
                <a:gd name="T8" fmla="*/ 102 w 169"/>
                <a:gd name="T9" fmla="*/ 211 h 211"/>
                <a:gd name="T10" fmla="*/ 169 w 169"/>
                <a:gd name="T11" fmla="*/ 160 h 211"/>
              </a:gdLst>
              <a:ahLst/>
              <a:cxnLst>
                <a:cxn ang="0">
                  <a:pos x="T0" y="T1"/>
                </a:cxn>
                <a:cxn ang="0">
                  <a:pos x="T2" y="T3"/>
                </a:cxn>
                <a:cxn ang="0">
                  <a:pos x="T4" y="T5"/>
                </a:cxn>
                <a:cxn ang="0">
                  <a:pos x="T6" y="T7"/>
                </a:cxn>
                <a:cxn ang="0">
                  <a:pos x="T8" y="T9"/>
                </a:cxn>
                <a:cxn ang="0">
                  <a:pos x="T10" y="T11"/>
                </a:cxn>
              </a:cxnLst>
              <a:rect l="0" t="0" r="r" b="b"/>
              <a:pathLst>
                <a:path w="169" h="211">
                  <a:moveTo>
                    <a:pt x="169" y="160"/>
                  </a:moveTo>
                  <a:cubicBezTo>
                    <a:pt x="48" y="0"/>
                    <a:pt x="48" y="0"/>
                    <a:pt x="48" y="0"/>
                  </a:cubicBezTo>
                  <a:cubicBezTo>
                    <a:pt x="0" y="30"/>
                    <a:pt x="0" y="30"/>
                    <a:pt x="0" y="30"/>
                  </a:cubicBezTo>
                  <a:cubicBezTo>
                    <a:pt x="0" y="55"/>
                    <a:pt x="4" y="81"/>
                    <a:pt x="18" y="99"/>
                  </a:cubicBezTo>
                  <a:cubicBezTo>
                    <a:pt x="102" y="211"/>
                    <a:pt x="102" y="211"/>
                    <a:pt x="102" y="211"/>
                  </a:cubicBezTo>
                  <a:lnTo>
                    <a:pt x="169" y="160"/>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5" name="Rectangle 511"/>
            <p:cNvSpPr>
              <a:spLocks noChangeArrowheads="1"/>
            </p:cNvSpPr>
            <p:nvPr/>
          </p:nvSpPr>
          <p:spPr bwMode="auto">
            <a:xfrm>
              <a:off x="7183438" y="5537200"/>
              <a:ext cx="142875" cy="11906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6" name="Freeform 512"/>
            <p:cNvSpPr>
              <a:spLocks/>
            </p:cNvSpPr>
            <p:nvPr/>
          </p:nvSpPr>
          <p:spPr bwMode="auto">
            <a:xfrm>
              <a:off x="7110413" y="5199063"/>
              <a:ext cx="466725" cy="427038"/>
            </a:xfrm>
            <a:custGeom>
              <a:avLst/>
              <a:gdLst>
                <a:gd name="T0" fmla="*/ 8 w 204"/>
                <a:gd name="T1" fmla="*/ 75 h 187"/>
                <a:gd name="T2" fmla="*/ 103 w 204"/>
                <a:gd name="T3" fmla="*/ 7 h 187"/>
                <a:gd name="T4" fmla="*/ 179 w 204"/>
                <a:gd name="T5" fmla="*/ 21 h 187"/>
                <a:gd name="T6" fmla="*/ 189 w 204"/>
                <a:gd name="T7" fmla="*/ 94 h 187"/>
                <a:gd name="T8" fmla="*/ 204 w 204"/>
                <a:gd name="T9" fmla="*/ 115 h 187"/>
                <a:gd name="T10" fmla="*/ 201 w 204"/>
                <a:gd name="T11" fmla="*/ 131 h 187"/>
                <a:gd name="T12" fmla="*/ 182 w 204"/>
                <a:gd name="T13" fmla="*/ 128 h 187"/>
                <a:gd name="T14" fmla="*/ 171 w 204"/>
                <a:gd name="T15" fmla="*/ 187 h 187"/>
                <a:gd name="T16" fmla="*/ 75 w 204"/>
                <a:gd name="T17" fmla="*/ 170 h 187"/>
                <a:gd name="T18" fmla="*/ 75 w 204"/>
                <a:gd name="T19" fmla="*/ 170 h 187"/>
                <a:gd name="T20" fmla="*/ 74 w 204"/>
                <a:gd name="T21" fmla="*/ 170 h 187"/>
                <a:gd name="T22" fmla="*/ 74 w 204"/>
                <a:gd name="T23" fmla="*/ 170 h 187"/>
                <a:gd name="T24" fmla="*/ 74 w 204"/>
                <a:gd name="T25" fmla="*/ 170 h 187"/>
                <a:gd name="T26" fmla="*/ 8 w 204"/>
                <a:gd name="T27"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87">
                  <a:moveTo>
                    <a:pt x="8" y="75"/>
                  </a:moveTo>
                  <a:cubicBezTo>
                    <a:pt x="15" y="30"/>
                    <a:pt x="58" y="0"/>
                    <a:pt x="103" y="7"/>
                  </a:cubicBezTo>
                  <a:cubicBezTo>
                    <a:pt x="179" y="21"/>
                    <a:pt x="179" y="21"/>
                    <a:pt x="179" y="21"/>
                  </a:cubicBezTo>
                  <a:cubicBezTo>
                    <a:pt x="179" y="21"/>
                    <a:pt x="189" y="91"/>
                    <a:pt x="189" y="94"/>
                  </a:cubicBezTo>
                  <a:cubicBezTo>
                    <a:pt x="190" y="103"/>
                    <a:pt x="196" y="110"/>
                    <a:pt x="204" y="115"/>
                  </a:cubicBezTo>
                  <a:cubicBezTo>
                    <a:pt x="201" y="131"/>
                    <a:pt x="201" y="131"/>
                    <a:pt x="201" y="131"/>
                  </a:cubicBezTo>
                  <a:cubicBezTo>
                    <a:pt x="182" y="128"/>
                    <a:pt x="182" y="128"/>
                    <a:pt x="182" y="128"/>
                  </a:cubicBezTo>
                  <a:cubicBezTo>
                    <a:pt x="171" y="187"/>
                    <a:pt x="171" y="187"/>
                    <a:pt x="171" y="187"/>
                  </a:cubicBezTo>
                  <a:cubicBezTo>
                    <a:pt x="75" y="170"/>
                    <a:pt x="75" y="170"/>
                    <a:pt x="75" y="170"/>
                  </a:cubicBezTo>
                  <a:cubicBezTo>
                    <a:pt x="75" y="170"/>
                    <a:pt x="75" y="170"/>
                    <a:pt x="75" y="170"/>
                  </a:cubicBezTo>
                  <a:cubicBezTo>
                    <a:pt x="75" y="170"/>
                    <a:pt x="74" y="170"/>
                    <a:pt x="74" y="170"/>
                  </a:cubicBezTo>
                  <a:cubicBezTo>
                    <a:pt x="74" y="170"/>
                    <a:pt x="74" y="170"/>
                    <a:pt x="74" y="170"/>
                  </a:cubicBezTo>
                  <a:cubicBezTo>
                    <a:pt x="74" y="170"/>
                    <a:pt x="74" y="170"/>
                    <a:pt x="74" y="170"/>
                  </a:cubicBezTo>
                  <a:cubicBezTo>
                    <a:pt x="29" y="162"/>
                    <a:pt x="0" y="119"/>
                    <a:pt x="8" y="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7" name="Freeform 513"/>
            <p:cNvSpPr>
              <a:spLocks/>
            </p:cNvSpPr>
            <p:nvPr/>
          </p:nvSpPr>
          <p:spPr bwMode="auto">
            <a:xfrm>
              <a:off x="7294563" y="5349875"/>
              <a:ext cx="68262" cy="114300"/>
            </a:xfrm>
            <a:custGeom>
              <a:avLst/>
              <a:gdLst>
                <a:gd name="T0" fmla="*/ 30 w 30"/>
                <a:gd name="T1" fmla="*/ 2 h 50"/>
                <a:gd name="T2" fmla="*/ 22 w 30"/>
                <a:gd name="T3" fmla="*/ 50 h 50"/>
                <a:gd name="T4" fmla="*/ 2 w 30"/>
                <a:gd name="T5" fmla="*/ 22 h 50"/>
                <a:gd name="T6" fmla="*/ 30 w 30"/>
                <a:gd name="T7" fmla="*/ 2 h 50"/>
              </a:gdLst>
              <a:ahLst/>
              <a:cxnLst>
                <a:cxn ang="0">
                  <a:pos x="T0" y="T1"/>
                </a:cxn>
                <a:cxn ang="0">
                  <a:pos x="T2" y="T3"/>
                </a:cxn>
                <a:cxn ang="0">
                  <a:pos x="T4" y="T5"/>
                </a:cxn>
                <a:cxn ang="0">
                  <a:pos x="T6" y="T7"/>
                </a:cxn>
              </a:cxnLst>
              <a:rect l="0" t="0" r="r" b="b"/>
              <a:pathLst>
                <a:path w="30" h="50">
                  <a:moveTo>
                    <a:pt x="30" y="2"/>
                  </a:moveTo>
                  <a:cubicBezTo>
                    <a:pt x="22" y="50"/>
                    <a:pt x="22" y="50"/>
                    <a:pt x="22" y="50"/>
                  </a:cubicBezTo>
                  <a:cubicBezTo>
                    <a:pt x="9" y="47"/>
                    <a:pt x="0" y="35"/>
                    <a:pt x="2" y="22"/>
                  </a:cubicBezTo>
                  <a:cubicBezTo>
                    <a:pt x="5" y="9"/>
                    <a:pt x="17" y="0"/>
                    <a:pt x="3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8" name="Freeform 514"/>
            <p:cNvSpPr>
              <a:spLocks/>
            </p:cNvSpPr>
            <p:nvPr/>
          </p:nvSpPr>
          <p:spPr bwMode="auto">
            <a:xfrm>
              <a:off x="7183438" y="5640388"/>
              <a:ext cx="242887" cy="582613"/>
            </a:xfrm>
            <a:custGeom>
              <a:avLst/>
              <a:gdLst>
                <a:gd name="T0" fmla="*/ 31 w 106"/>
                <a:gd name="T1" fmla="*/ 0 h 255"/>
                <a:gd name="T2" fmla="*/ 106 w 106"/>
                <a:gd name="T3" fmla="*/ 124 h 255"/>
                <a:gd name="T4" fmla="*/ 106 w 106"/>
                <a:gd name="T5" fmla="*/ 255 h 255"/>
                <a:gd name="T6" fmla="*/ 0 w 106"/>
                <a:gd name="T7" fmla="*/ 255 h 255"/>
                <a:gd name="T8" fmla="*/ 0 w 106"/>
                <a:gd name="T9" fmla="*/ 0 h 255"/>
                <a:gd name="T10" fmla="*/ 31 w 106"/>
                <a:gd name="T11" fmla="*/ 0 h 255"/>
              </a:gdLst>
              <a:ahLst/>
              <a:cxnLst>
                <a:cxn ang="0">
                  <a:pos x="T0" y="T1"/>
                </a:cxn>
                <a:cxn ang="0">
                  <a:pos x="T2" y="T3"/>
                </a:cxn>
                <a:cxn ang="0">
                  <a:pos x="T4" y="T5"/>
                </a:cxn>
                <a:cxn ang="0">
                  <a:pos x="T6" y="T7"/>
                </a:cxn>
                <a:cxn ang="0">
                  <a:pos x="T8" y="T9"/>
                </a:cxn>
                <a:cxn ang="0">
                  <a:pos x="T10" y="T11"/>
                </a:cxn>
              </a:cxnLst>
              <a:rect l="0" t="0" r="r" b="b"/>
              <a:pathLst>
                <a:path w="106" h="255">
                  <a:moveTo>
                    <a:pt x="31" y="0"/>
                  </a:moveTo>
                  <a:cubicBezTo>
                    <a:pt x="97" y="0"/>
                    <a:pt x="106" y="76"/>
                    <a:pt x="106" y="124"/>
                  </a:cubicBezTo>
                  <a:cubicBezTo>
                    <a:pt x="106" y="255"/>
                    <a:pt x="106" y="255"/>
                    <a:pt x="106" y="255"/>
                  </a:cubicBezTo>
                  <a:cubicBezTo>
                    <a:pt x="0" y="255"/>
                    <a:pt x="0" y="255"/>
                    <a:pt x="0" y="255"/>
                  </a:cubicBezTo>
                  <a:cubicBezTo>
                    <a:pt x="0" y="0"/>
                    <a:pt x="0" y="0"/>
                    <a:pt x="0" y="0"/>
                  </a:cubicBezTo>
                  <a:cubicBezTo>
                    <a:pt x="0" y="0"/>
                    <a:pt x="28" y="0"/>
                    <a:pt x="31"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9" name="Freeform 515"/>
            <p:cNvSpPr>
              <a:spLocks/>
            </p:cNvSpPr>
            <p:nvPr/>
          </p:nvSpPr>
          <p:spPr bwMode="auto">
            <a:xfrm>
              <a:off x="7200900" y="5708650"/>
              <a:ext cx="282575" cy="496888"/>
            </a:xfrm>
            <a:custGeom>
              <a:avLst/>
              <a:gdLst>
                <a:gd name="T0" fmla="*/ 81 w 124"/>
                <a:gd name="T1" fmla="*/ 204 h 217"/>
                <a:gd name="T2" fmla="*/ 105 w 124"/>
                <a:gd name="T3" fmla="*/ 202 h 217"/>
                <a:gd name="T4" fmla="*/ 105 w 124"/>
                <a:gd name="T5" fmla="*/ 202 h 217"/>
                <a:gd name="T6" fmla="*/ 118 w 124"/>
                <a:gd name="T7" fmla="*/ 168 h 217"/>
                <a:gd name="T8" fmla="*/ 53 w 124"/>
                <a:gd name="T9" fmla="*/ 19 h 217"/>
                <a:gd name="T10" fmla="*/ 19 w 124"/>
                <a:gd name="T11" fmla="*/ 6 h 217"/>
                <a:gd name="T12" fmla="*/ 19 w 124"/>
                <a:gd name="T13" fmla="*/ 6 h 217"/>
                <a:gd name="T14" fmla="*/ 6 w 124"/>
                <a:gd name="T15" fmla="*/ 40 h 217"/>
                <a:gd name="T16" fmla="*/ 81 w 124"/>
                <a:gd name="T17" fmla="*/ 20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17">
                  <a:moveTo>
                    <a:pt x="81" y="204"/>
                  </a:moveTo>
                  <a:cubicBezTo>
                    <a:pt x="86" y="217"/>
                    <a:pt x="92" y="208"/>
                    <a:pt x="105" y="202"/>
                  </a:cubicBezTo>
                  <a:cubicBezTo>
                    <a:pt x="105" y="202"/>
                    <a:pt x="105" y="202"/>
                    <a:pt x="105" y="202"/>
                  </a:cubicBezTo>
                  <a:cubicBezTo>
                    <a:pt x="118" y="196"/>
                    <a:pt x="124" y="181"/>
                    <a:pt x="118" y="168"/>
                  </a:cubicBezTo>
                  <a:cubicBezTo>
                    <a:pt x="53" y="19"/>
                    <a:pt x="53" y="19"/>
                    <a:pt x="53" y="19"/>
                  </a:cubicBezTo>
                  <a:cubicBezTo>
                    <a:pt x="48" y="6"/>
                    <a:pt x="32" y="0"/>
                    <a:pt x="19" y="6"/>
                  </a:cubicBezTo>
                  <a:cubicBezTo>
                    <a:pt x="19" y="6"/>
                    <a:pt x="19" y="6"/>
                    <a:pt x="19" y="6"/>
                  </a:cubicBezTo>
                  <a:cubicBezTo>
                    <a:pt x="6" y="12"/>
                    <a:pt x="0" y="27"/>
                    <a:pt x="6" y="40"/>
                  </a:cubicBezTo>
                  <a:lnTo>
                    <a:pt x="81" y="204"/>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0" name="Freeform 516"/>
            <p:cNvSpPr>
              <a:spLocks/>
            </p:cNvSpPr>
            <p:nvPr/>
          </p:nvSpPr>
          <p:spPr bwMode="auto">
            <a:xfrm>
              <a:off x="7378700" y="6091238"/>
              <a:ext cx="447675" cy="115888"/>
            </a:xfrm>
            <a:custGeom>
              <a:avLst/>
              <a:gdLst>
                <a:gd name="T0" fmla="*/ 26 w 196"/>
                <a:gd name="T1" fmla="*/ 0 h 51"/>
                <a:gd name="T2" fmla="*/ 0 w 196"/>
                <a:gd name="T3" fmla="*/ 26 h 51"/>
                <a:gd name="T4" fmla="*/ 0 w 196"/>
                <a:gd name="T5" fmla="*/ 26 h 51"/>
                <a:gd name="T6" fmla="*/ 26 w 196"/>
                <a:gd name="T7" fmla="*/ 51 h 51"/>
                <a:gd name="T8" fmla="*/ 170 w 196"/>
                <a:gd name="T9" fmla="*/ 51 h 51"/>
                <a:gd name="T10" fmla="*/ 196 w 196"/>
                <a:gd name="T11" fmla="*/ 26 h 51"/>
                <a:gd name="T12" fmla="*/ 196 w 196"/>
                <a:gd name="T13" fmla="*/ 26 h 51"/>
                <a:gd name="T14" fmla="*/ 170 w 196"/>
                <a:gd name="T15" fmla="*/ 0 h 51"/>
                <a:gd name="T16" fmla="*/ 26 w 19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51">
                  <a:moveTo>
                    <a:pt x="26" y="0"/>
                  </a:moveTo>
                  <a:cubicBezTo>
                    <a:pt x="11" y="0"/>
                    <a:pt x="0" y="11"/>
                    <a:pt x="0" y="26"/>
                  </a:cubicBezTo>
                  <a:cubicBezTo>
                    <a:pt x="0" y="26"/>
                    <a:pt x="0" y="26"/>
                    <a:pt x="0" y="26"/>
                  </a:cubicBezTo>
                  <a:cubicBezTo>
                    <a:pt x="0" y="40"/>
                    <a:pt x="11" y="51"/>
                    <a:pt x="26" y="51"/>
                  </a:cubicBezTo>
                  <a:cubicBezTo>
                    <a:pt x="170" y="51"/>
                    <a:pt x="170" y="51"/>
                    <a:pt x="170" y="51"/>
                  </a:cubicBezTo>
                  <a:cubicBezTo>
                    <a:pt x="184" y="51"/>
                    <a:pt x="196" y="40"/>
                    <a:pt x="196" y="26"/>
                  </a:cubicBezTo>
                  <a:cubicBezTo>
                    <a:pt x="196" y="26"/>
                    <a:pt x="196" y="26"/>
                    <a:pt x="196" y="26"/>
                  </a:cubicBezTo>
                  <a:cubicBezTo>
                    <a:pt x="196" y="11"/>
                    <a:pt x="184" y="0"/>
                    <a:pt x="170" y="0"/>
                  </a:cubicBezTo>
                  <a:lnTo>
                    <a:pt x="2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1" name="Freeform 517"/>
            <p:cNvSpPr>
              <a:spLocks/>
            </p:cNvSpPr>
            <p:nvPr/>
          </p:nvSpPr>
          <p:spPr bwMode="auto">
            <a:xfrm>
              <a:off x="7183438" y="6223000"/>
              <a:ext cx="242887" cy="180975"/>
            </a:xfrm>
            <a:custGeom>
              <a:avLst/>
              <a:gdLst>
                <a:gd name="T0" fmla="*/ 153 w 153"/>
                <a:gd name="T1" fmla="*/ 0 h 114"/>
                <a:gd name="T2" fmla="*/ 0 w 153"/>
                <a:gd name="T3" fmla="*/ 0 h 114"/>
                <a:gd name="T4" fmla="*/ 0 w 153"/>
                <a:gd name="T5" fmla="*/ 0 h 114"/>
                <a:gd name="T6" fmla="*/ 153 w 153"/>
                <a:gd name="T7" fmla="*/ 114 h 114"/>
                <a:gd name="T8" fmla="*/ 153 w 153"/>
                <a:gd name="T9" fmla="*/ 0 h 114"/>
              </a:gdLst>
              <a:ahLst/>
              <a:cxnLst>
                <a:cxn ang="0">
                  <a:pos x="T0" y="T1"/>
                </a:cxn>
                <a:cxn ang="0">
                  <a:pos x="T2" y="T3"/>
                </a:cxn>
                <a:cxn ang="0">
                  <a:pos x="T4" y="T5"/>
                </a:cxn>
                <a:cxn ang="0">
                  <a:pos x="T6" y="T7"/>
                </a:cxn>
                <a:cxn ang="0">
                  <a:pos x="T8" y="T9"/>
                </a:cxn>
              </a:cxnLst>
              <a:rect l="0" t="0" r="r" b="b"/>
              <a:pathLst>
                <a:path w="153" h="114">
                  <a:moveTo>
                    <a:pt x="153" y="0"/>
                  </a:moveTo>
                  <a:lnTo>
                    <a:pt x="0" y="0"/>
                  </a:lnTo>
                  <a:lnTo>
                    <a:pt x="0" y="0"/>
                  </a:lnTo>
                  <a:lnTo>
                    <a:pt x="153" y="114"/>
                  </a:lnTo>
                  <a:lnTo>
                    <a:pt x="153" y="0"/>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2" name="Freeform 518"/>
            <p:cNvSpPr>
              <a:spLocks/>
            </p:cNvSpPr>
            <p:nvPr/>
          </p:nvSpPr>
          <p:spPr bwMode="auto">
            <a:xfrm>
              <a:off x="7648575" y="6091238"/>
              <a:ext cx="236537" cy="115888"/>
            </a:xfrm>
            <a:custGeom>
              <a:avLst/>
              <a:gdLst>
                <a:gd name="T0" fmla="*/ 0 w 104"/>
                <a:gd name="T1" fmla="*/ 51 h 51"/>
                <a:gd name="T2" fmla="*/ 104 w 104"/>
                <a:gd name="T3" fmla="*/ 51 h 51"/>
                <a:gd name="T4" fmla="*/ 52 w 104"/>
                <a:gd name="T5" fmla="*/ 0 h 51"/>
                <a:gd name="T6" fmla="*/ 0 w 104"/>
                <a:gd name="T7" fmla="*/ 51 h 51"/>
              </a:gdLst>
              <a:ahLst/>
              <a:cxnLst>
                <a:cxn ang="0">
                  <a:pos x="T0" y="T1"/>
                </a:cxn>
                <a:cxn ang="0">
                  <a:pos x="T2" y="T3"/>
                </a:cxn>
                <a:cxn ang="0">
                  <a:pos x="T4" y="T5"/>
                </a:cxn>
                <a:cxn ang="0">
                  <a:pos x="T6" y="T7"/>
                </a:cxn>
              </a:cxnLst>
              <a:rect l="0" t="0" r="r" b="b"/>
              <a:pathLst>
                <a:path w="104" h="51">
                  <a:moveTo>
                    <a:pt x="0" y="51"/>
                  </a:moveTo>
                  <a:cubicBezTo>
                    <a:pt x="104" y="51"/>
                    <a:pt x="104" y="51"/>
                    <a:pt x="104" y="51"/>
                  </a:cubicBezTo>
                  <a:cubicBezTo>
                    <a:pt x="104" y="23"/>
                    <a:pt x="80" y="0"/>
                    <a:pt x="52" y="0"/>
                  </a:cubicBezTo>
                  <a:cubicBezTo>
                    <a:pt x="23" y="0"/>
                    <a:pt x="0" y="23"/>
                    <a:pt x="0" y="5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3" name="Freeform 519"/>
            <p:cNvSpPr>
              <a:spLocks/>
            </p:cNvSpPr>
            <p:nvPr/>
          </p:nvSpPr>
          <p:spPr bwMode="auto">
            <a:xfrm>
              <a:off x="7183438" y="5568950"/>
              <a:ext cx="142875" cy="71438"/>
            </a:xfrm>
            <a:custGeom>
              <a:avLst/>
              <a:gdLst>
                <a:gd name="T0" fmla="*/ 90 w 90"/>
                <a:gd name="T1" fmla="*/ 18 h 45"/>
                <a:gd name="T2" fmla="*/ 0 w 90"/>
                <a:gd name="T3" fmla="*/ 0 h 45"/>
                <a:gd name="T4" fmla="*/ 90 w 90"/>
                <a:gd name="T5" fmla="*/ 45 h 45"/>
                <a:gd name="T6" fmla="*/ 90 w 90"/>
                <a:gd name="T7" fmla="*/ 18 h 45"/>
              </a:gdLst>
              <a:ahLst/>
              <a:cxnLst>
                <a:cxn ang="0">
                  <a:pos x="T0" y="T1"/>
                </a:cxn>
                <a:cxn ang="0">
                  <a:pos x="T2" y="T3"/>
                </a:cxn>
                <a:cxn ang="0">
                  <a:pos x="T4" y="T5"/>
                </a:cxn>
                <a:cxn ang="0">
                  <a:pos x="T6" y="T7"/>
                </a:cxn>
              </a:cxnLst>
              <a:rect l="0" t="0" r="r" b="b"/>
              <a:pathLst>
                <a:path w="90" h="45">
                  <a:moveTo>
                    <a:pt x="90" y="18"/>
                  </a:moveTo>
                  <a:lnTo>
                    <a:pt x="0" y="0"/>
                  </a:lnTo>
                  <a:lnTo>
                    <a:pt x="90" y="45"/>
                  </a:lnTo>
                  <a:lnTo>
                    <a:pt x="90" y="1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4" name="Freeform 520"/>
            <p:cNvSpPr>
              <a:spLocks/>
            </p:cNvSpPr>
            <p:nvPr/>
          </p:nvSpPr>
          <p:spPr bwMode="auto">
            <a:xfrm>
              <a:off x="7191375" y="5692775"/>
              <a:ext cx="200025" cy="271463"/>
            </a:xfrm>
            <a:custGeom>
              <a:avLst/>
              <a:gdLst>
                <a:gd name="T0" fmla="*/ 40 w 126"/>
                <a:gd name="T1" fmla="*/ 171 h 171"/>
                <a:gd name="T2" fmla="*/ 126 w 126"/>
                <a:gd name="T3" fmla="*/ 134 h 171"/>
                <a:gd name="T4" fmla="*/ 67 w 126"/>
                <a:gd name="T5" fmla="*/ 0 h 171"/>
                <a:gd name="T6" fmla="*/ 0 w 126"/>
                <a:gd name="T7" fmla="*/ 12 h 171"/>
                <a:gd name="T8" fmla="*/ 14 w 126"/>
                <a:gd name="T9" fmla="*/ 110 h 171"/>
                <a:gd name="T10" fmla="*/ 40 w 126"/>
                <a:gd name="T11" fmla="*/ 171 h 171"/>
              </a:gdLst>
              <a:ahLst/>
              <a:cxnLst>
                <a:cxn ang="0">
                  <a:pos x="T0" y="T1"/>
                </a:cxn>
                <a:cxn ang="0">
                  <a:pos x="T2" y="T3"/>
                </a:cxn>
                <a:cxn ang="0">
                  <a:pos x="T4" y="T5"/>
                </a:cxn>
                <a:cxn ang="0">
                  <a:pos x="T6" y="T7"/>
                </a:cxn>
                <a:cxn ang="0">
                  <a:pos x="T8" y="T9"/>
                </a:cxn>
                <a:cxn ang="0">
                  <a:pos x="T10" y="T11"/>
                </a:cxn>
              </a:cxnLst>
              <a:rect l="0" t="0" r="r" b="b"/>
              <a:pathLst>
                <a:path w="126" h="171">
                  <a:moveTo>
                    <a:pt x="40" y="171"/>
                  </a:moveTo>
                  <a:lnTo>
                    <a:pt x="126" y="134"/>
                  </a:lnTo>
                  <a:lnTo>
                    <a:pt x="67" y="0"/>
                  </a:lnTo>
                  <a:lnTo>
                    <a:pt x="0" y="12"/>
                  </a:lnTo>
                  <a:lnTo>
                    <a:pt x="14" y="110"/>
                  </a:lnTo>
                  <a:lnTo>
                    <a:pt x="40" y="17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5" name="Freeform 521"/>
            <p:cNvSpPr>
              <a:spLocks/>
            </p:cNvSpPr>
            <p:nvPr/>
          </p:nvSpPr>
          <p:spPr bwMode="auto">
            <a:xfrm>
              <a:off x="7378700" y="7123113"/>
              <a:ext cx="298450" cy="192088"/>
            </a:xfrm>
            <a:custGeom>
              <a:avLst/>
              <a:gdLst>
                <a:gd name="T0" fmla="*/ 77 w 131"/>
                <a:gd name="T1" fmla="*/ 14 h 84"/>
                <a:gd name="T2" fmla="*/ 128 w 131"/>
                <a:gd name="T3" fmla="*/ 84 h 84"/>
                <a:gd name="T4" fmla="*/ 65 w 131"/>
                <a:gd name="T5" fmla="*/ 71 h 84"/>
                <a:gd name="T6" fmla="*/ 0 w 131"/>
                <a:gd name="T7" fmla="*/ 58 h 84"/>
                <a:gd name="T8" fmla="*/ 11 w 131"/>
                <a:gd name="T9" fmla="*/ 0 h 84"/>
                <a:gd name="T10" fmla="*/ 77 w 131"/>
                <a:gd name="T11" fmla="*/ 14 h 84"/>
              </a:gdLst>
              <a:ahLst/>
              <a:cxnLst>
                <a:cxn ang="0">
                  <a:pos x="T0" y="T1"/>
                </a:cxn>
                <a:cxn ang="0">
                  <a:pos x="T2" y="T3"/>
                </a:cxn>
                <a:cxn ang="0">
                  <a:pos x="T4" y="T5"/>
                </a:cxn>
                <a:cxn ang="0">
                  <a:pos x="T6" y="T7"/>
                </a:cxn>
                <a:cxn ang="0">
                  <a:pos x="T8" y="T9"/>
                </a:cxn>
                <a:cxn ang="0">
                  <a:pos x="T10" y="T11"/>
                </a:cxn>
              </a:cxnLst>
              <a:rect l="0" t="0" r="r" b="b"/>
              <a:pathLst>
                <a:path w="131" h="84">
                  <a:moveTo>
                    <a:pt x="77" y="14"/>
                  </a:moveTo>
                  <a:cubicBezTo>
                    <a:pt x="110" y="20"/>
                    <a:pt x="131" y="51"/>
                    <a:pt x="128" y="84"/>
                  </a:cubicBezTo>
                  <a:cubicBezTo>
                    <a:pt x="65" y="71"/>
                    <a:pt x="65" y="71"/>
                    <a:pt x="65" y="71"/>
                  </a:cubicBezTo>
                  <a:cubicBezTo>
                    <a:pt x="0" y="58"/>
                    <a:pt x="0" y="58"/>
                    <a:pt x="0" y="58"/>
                  </a:cubicBezTo>
                  <a:cubicBezTo>
                    <a:pt x="11" y="0"/>
                    <a:pt x="11" y="0"/>
                    <a:pt x="11" y="0"/>
                  </a:cubicBezTo>
                  <a:lnTo>
                    <a:pt x="77"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6" name="Freeform 522"/>
            <p:cNvSpPr>
              <a:spLocks/>
            </p:cNvSpPr>
            <p:nvPr/>
          </p:nvSpPr>
          <p:spPr bwMode="auto">
            <a:xfrm>
              <a:off x="7404100" y="6648450"/>
              <a:ext cx="234950" cy="504825"/>
            </a:xfrm>
            <a:custGeom>
              <a:avLst/>
              <a:gdLst>
                <a:gd name="T0" fmla="*/ 148 w 148"/>
                <a:gd name="T1" fmla="*/ 0 h 318"/>
                <a:gd name="T2" fmla="*/ 87 w 148"/>
                <a:gd name="T3" fmla="*/ 318 h 318"/>
                <a:gd name="T4" fmla="*/ 0 w 148"/>
                <a:gd name="T5" fmla="*/ 299 h 318"/>
                <a:gd name="T6" fmla="*/ 18 w 148"/>
                <a:gd name="T7" fmla="*/ 197 h 318"/>
                <a:gd name="T8" fmla="*/ 30 w 148"/>
                <a:gd name="T9" fmla="*/ 17 h 318"/>
                <a:gd name="T10" fmla="*/ 148 w 148"/>
                <a:gd name="T11" fmla="*/ 0 h 318"/>
              </a:gdLst>
              <a:ahLst/>
              <a:cxnLst>
                <a:cxn ang="0">
                  <a:pos x="T0" y="T1"/>
                </a:cxn>
                <a:cxn ang="0">
                  <a:pos x="T2" y="T3"/>
                </a:cxn>
                <a:cxn ang="0">
                  <a:pos x="T4" y="T5"/>
                </a:cxn>
                <a:cxn ang="0">
                  <a:pos x="T6" y="T7"/>
                </a:cxn>
                <a:cxn ang="0">
                  <a:pos x="T8" y="T9"/>
                </a:cxn>
                <a:cxn ang="0">
                  <a:pos x="T10" y="T11"/>
                </a:cxn>
              </a:cxnLst>
              <a:rect l="0" t="0" r="r" b="b"/>
              <a:pathLst>
                <a:path w="148" h="318">
                  <a:moveTo>
                    <a:pt x="148" y="0"/>
                  </a:moveTo>
                  <a:lnTo>
                    <a:pt x="87" y="318"/>
                  </a:lnTo>
                  <a:lnTo>
                    <a:pt x="0" y="299"/>
                  </a:lnTo>
                  <a:lnTo>
                    <a:pt x="18" y="197"/>
                  </a:lnTo>
                  <a:lnTo>
                    <a:pt x="30" y="17"/>
                  </a:lnTo>
                  <a:lnTo>
                    <a:pt x="148"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7" name="Freeform 523"/>
            <p:cNvSpPr>
              <a:spLocks/>
            </p:cNvSpPr>
            <p:nvPr/>
          </p:nvSpPr>
          <p:spPr bwMode="auto">
            <a:xfrm>
              <a:off x="7404100" y="6961188"/>
              <a:ext cx="168275" cy="192088"/>
            </a:xfrm>
            <a:custGeom>
              <a:avLst/>
              <a:gdLst>
                <a:gd name="T0" fmla="*/ 106 w 106"/>
                <a:gd name="T1" fmla="*/ 19 h 121"/>
                <a:gd name="T2" fmla="*/ 87 w 106"/>
                <a:gd name="T3" fmla="*/ 121 h 121"/>
                <a:gd name="T4" fmla="*/ 0 w 106"/>
                <a:gd name="T5" fmla="*/ 102 h 121"/>
                <a:gd name="T6" fmla="*/ 18 w 106"/>
                <a:gd name="T7" fmla="*/ 0 h 121"/>
                <a:gd name="T8" fmla="*/ 106 w 106"/>
                <a:gd name="T9" fmla="*/ 19 h 121"/>
              </a:gdLst>
              <a:ahLst/>
              <a:cxnLst>
                <a:cxn ang="0">
                  <a:pos x="T0" y="T1"/>
                </a:cxn>
                <a:cxn ang="0">
                  <a:pos x="T2" y="T3"/>
                </a:cxn>
                <a:cxn ang="0">
                  <a:pos x="T4" y="T5"/>
                </a:cxn>
                <a:cxn ang="0">
                  <a:pos x="T6" y="T7"/>
                </a:cxn>
                <a:cxn ang="0">
                  <a:pos x="T8" y="T9"/>
                </a:cxn>
              </a:cxnLst>
              <a:rect l="0" t="0" r="r" b="b"/>
              <a:pathLst>
                <a:path w="106" h="121">
                  <a:moveTo>
                    <a:pt x="106" y="19"/>
                  </a:moveTo>
                  <a:lnTo>
                    <a:pt x="87" y="121"/>
                  </a:lnTo>
                  <a:lnTo>
                    <a:pt x="0" y="102"/>
                  </a:lnTo>
                  <a:lnTo>
                    <a:pt x="18" y="0"/>
                  </a:lnTo>
                  <a:lnTo>
                    <a:pt x="106" y="19"/>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8" name="Freeform 524"/>
            <p:cNvSpPr>
              <a:spLocks/>
            </p:cNvSpPr>
            <p:nvPr/>
          </p:nvSpPr>
          <p:spPr bwMode="auto">
            <a:xfrm>
              <a:off x="7410450" y="7264400"/>
              <a:ext cx="157162" cy="73025"/>
            </a:xfrm>
            <a:custGeom>
              <a:avLst/>
              <a:gdLst>
                <a:gd name="T0" fmla="*/ 9 w 69"/>
                <a:gd name="T1" fmla="*/ 21 h 32"/>
                <a:gd name="T2" fmla="*/ 56 w 69"/>
                <a:gd name="T3" fmla="*/ 31 h 32"/>
                <a:gd name="T4" fmla="*/ 68 w 69"/>
                <a:gd name="T5" fmla="*/ 23 h 32"/>
                <a:gd name="T6" fmla="*/ 60 w 69"/>
                <a:gd name="T7" fmla="*/ 11 h 32"/>
                <a:gd name="T8" fmla="*/ 13 w 69"/>
                <a:gd name="T9" fmla="*/ 1 h 32"/>
                <a:gd name="T10" fmla="*/ 1 w 69"/>
                <a:gd name="T11" fmla="*/ 9 h 32"/>
                <a:gd name="T12" fmla="*/ 9 w 69"/>
                <a:gd name="T13" fmla="*/ 21 h 32"/>
              </a:gdLst>
              <a:ahLst/>
              <a:cxnLst>
                <a:cxn ang="0">
                  <a:pos x="T0" y="T1"/>
                </a:cxn>
                <a:cxn ang="0">
                  <a:pos x="T2" y="T3"/>
                </a:cxn>
                <a:cxn ang="0">
                  <a:pos x="T4" y="T5"/>
                </a:cxn>
                <a:cxn ang="0">
                  <a:pos x="T6" y="T7"/>
                </a:cxn>
                <a:cxn ang="0">
                  <a:pos x="T8" y="T9"/>
                </a:cxn>
                <a:cxn ang="0">
                  <a:pos x="T10" y="T11"/>
                </a:cxn>
                <a:cxn ang="0">
                  <a:pos x="T12" y="T13"/>
                </a:cxn>
              </a:cxnLst>
              <a:rect l="0" t="0" r="r" b="b"/>
              <a:pathLst>
                <a:path w="69" h="32">
                  <a:moveTo>
                    <a:pt x="9" y="21"/>
                  </a:moveTo>
                  <a:cubicBezTo>
                    <a:pt x="56" y="31"/>
                    <a:pt x="56" y="31"/>
                    <a:pt x="56" y="31"/>
                  </a:cubicBezTo>
                  <a:cubicBezTo>
                    <a:pt x="62" y="32"/>
                    <a:pt x="67" y="28"/>
                    <a:pt x="68" y="23"/>
                  </a:cubicBezTo>
                  <a:cubicBezTo>
                    <a:pt x="69" y="17"/>
                    <a:pt x="66" y="12"/>
                    <a:pt x="60" y="11"/>
                  </a:cubicBezTo>
                  <a:cubicBezTo>
                    <a:pt x="13" y="1"/>
                    <a:pt x="13" y="1"/>
                    <a:pt x="13" y="1"/>
                  </a:cubicBezTo>
                  <a:cubicBezTo>
                    <a:pt x="7" y="0"/>
                    <a:pt x="2" y="4"/>
                    <a:pt x="1" y="9"/>
                  </a:cubicBezTo>
                  <a:cubicBezTo>
                    <a:pt x="0" y="15"/>
                    <a:pt x="3" y="20"/>
                    <a:pt x="9" y="2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9" name="Freeform 525"/>
            <p:cNvSpPr>
              <a:spLocks/>
            </p:cNvSpPr>
            <p:nvPr/>
          </p:nvSpPr>
          <p:spPr bwMode="auto">
            <a:xfrm>
              <a:off x="7837488" y="5576888"/>
              <a:ext cx="141287" cy="234950"/>
            </a:xfrm>
            <a:custGeom>
              <a:avLst/>
              <a:gdLst>
                <a:gd name="T0" fmla="*/ 62 w 62"/>
                <a:gd name="T1" fmla="*/ 52 h 103"/>
                <a:gd name="T2" fmla="*/ 10 w 62"/>
                <a:gd name="T3" fmla="*/ 0 h 103"/>
                <a:gd name="T4" fmla="*/ 10 w 62"/>
                <a:gd name="T5" fmla="*/ 41 h 103"/>
                <a:gd name="T6" fmla="*/ 0 w 62"/>
                <a:gd name="T7" fmla="*/ 51 h 103"/>
                <a:gd name="T8" fmla="*/ 0 w 62"/>
                <a:gd name="T9" fmla="*/ 93 h 103"/>
                <a:gd name="T10" fmla="*/ 10 w 62"/>
                <a:gd name="T11" fmla="*/ 103 h 103"/>
                <a:gd name="T12" fmla="*/ 10 w 62"/>
                <a:gd name="T13" fmla="*/ 103 h 103"/>
                <a:gd name="T14" fmla="*/ 10 w 62"/>
                <a:gd name="T15" fmla="*/ 103 h 103"/>
                <a:gd name="T16" fmla="*/ 10 w 62"/>
                <a:gd name="T17" fmla="*/ 103 h 103"/>
                <a:gd name="T18" fmla="*/ 10 w 62"/>
                <a:gd name="T19" fmla="*/ 103 h 103"/>
                <a:gd name="T20" fmla="*/ 62 w 62"/>
                <a:gd name="T21"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103">
                  <a:moveTo>
                    <a:pt x="62" y="52"/>
                  </a:moveTo>
                  <a:cubicBezTo>
                    <a:pt x="62" y="23"/>
                    <a:pt x="39" y="0"/>
                    <a:pt x="10" y="0"/>
                  </a:cubicBezTo>
                  <a:cubicBezTo>
                    <a:pt x="10" y="41"/>
                    <a:pt x="10" y="41"/>
                    <a:pt x="10" y="41"/>
                  </a:cubicBezTo>
                  <a:cubicBezTo>
                    <a:pt x="5" y="41"/>
                    <a:pt x="0" y="46"/>
                    <a:pt x="0" y="51"/>
                  </a:cubicBezTo>
                  <a:cubicBezTo>
                    <a:pt x="0" y="93"/>
                    <a:pt x="0" y="93"/>
                    <a:pt x="0" y="93"/>
                  </a:cubicBezTo>
                  <a:cubicBezTo>
                    <a:pt x="0" y="99"/>
                    <a:pt x="5" y="103"/>
                    <a:pt x="10" y="103"/>
                  </a:cubicBezTo>
                  <a:cubicBezTo>
                    <a:pt x="10" y="103"/>
                    <a:pt x="10" y="103"/>
                    <a:pt x="10" y="103"/>
                  </a:cubicBezTo>
                  <a:cubicBezTo>
                    <a:pt x="10" y="103"/>
                    <a:pt x="10" y="103"/>
                    <a:pt x="10" y="103"/>
                  </a:cubicBezTo>
                  <a:cubicBezTo>
                    <a:pt x="10" y="103"/>
                    <a:pt x="10" y="103"/>
                    <a:pt x="10" y="103"/>
                  </a:cubicBezTo>
                  <a:cubicBezTo>
                    <a:pt x="10" y="103"/>
                    <a:pt x="10" y="103"/>
                    <a:pt x="10" y="103"/>
                  </a:cubicBezTo>
                  <a:cubicBezTo>
                    <a:pt x="39" y="103"/>
                    <a:pt x="62" y="80"/>
                    <a:pt x="62"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0" name="Freeform 526"/>
            <p:cNvSpPr>
              <a:spLocks/>
            </p:cNvSpPr>
            <p:nvPr/>
          </p:nvSpPr>
          <p:spPr bwMode="auto">
            <a:xfrm>
              <a:off x="7837488" y="5508625"/>
              <a:ext cx="46037" cy="231775"/>
            </a:xfrm>
            <a:custGeom>
              <a:avLst/>
              <a:gdLst>
                <a:gd name="T0" fmla="*/ 20 w 20"/>
                <a:gd name="T1" fmla="*/ 92 h 102"/>
                <a:gd name="T2" fmla="*/ 10 w 20"/>
                <a:gd name="T3" fmla="*/ 102 h 102"/>
                <a:gd name="T4" fmla="*/ 10 w 20"/>
                <a:gd name="T5" fmla="*/ 102 h 102"/>
                <a:gd name="T6" fmla="*/ 0 w 20"/>
                <a:gd name="T7" fmla="*/ 92 h 102"/>
                <a:gd name="T8" fmla="*/ 0 w 20"/>
                <a:gd name="T9" fmla="*/ 10 h 102"/>
                <a:gd name="T10" fmla="*/ 10 w 20"/>
                <a:gd name="T11" fmla="*/ 0 h 102"/>
                <a:gd name="T12" fmla="*/ 10 w 20"/>
                <a:gd name="T13" fmla="*/ 0 h 102"/>
                <a:gd name="T14" fmla="*/ 20 w 20"/>
                <a:gd name="T15" fmla="*/ 10 h 102"/>
                <a:gd name="T16" fmla="*/ 20 w 20"/>
                <a:gd name="T17" fmla="*/ 9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02">
                  <a:moveTo>
                    <a:pt x="20" y="92"/>
                  </a:moveTo>
                  <a:cubicBezTo>
                    <a:pt x="20" y="98"/>
                    <a:pt x="16" y="102"/>
                    <a:pt x="10" y="102"/>
                  </a:cubicBezTo>
                  <a:cubicBezTo>
                    <a:pt x="10" y="102"/>
                    <a:pt x="10" y="102"/>
                    <a:pt x="10" y="102"/>
                  </a:cubicBezTo>
                  <a:cubicBezTo>
                    <a:pt x="5" y="102"/>
                    <a:pt x="0" y="98"/>
                    <a:pt x="0" y="92"/>
                  </a:cubicBezTo>
                  <a:cubicBezTo>
                    <a:pt x="0" y="10"/>
                    <a:pt x="0" y="10"/>
                    <a:pt x="0" y="10"/>
                  </a:cubicBezTo>
                  <a:cubicBezTo>
                    <a:pt x="0" y="4"/>
                    <a:pt x="5" y="0"/>
                    <a:pt x="10" y="0"/>
                  </a:cubicBezTo>
                  <a:cubicBezTo>
                    <a:pt x="10" y="0"/>
                    <a:pt x="10" y="0"/>
                    <a:pt x="10" y="0"/>
                  </a:cubicBezTo>
                  <a:cubicBezTo>
                    <a:pt x="16" y="0"/>
                    <a:pt x="20" y="4"/>
                    <a:pt x="20" y="10"/>
                  </a:cubicBezTo>
                  <a:lnTo>
                    <a:pt x="2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1" name="Rectangle 527"/>
            <p:cNvSpPr>
              <a:spLocks noChangeArrowheads="1"/>
            </p:cNvSpPr>
            <p:nvPr/>
          </p:nvSpPr>
          <p:spPr bwMode="auto">
            <a:xfrm>
              <a:off x="7124700" y="5243513"/>
              <a:ext cx="422275" cy="889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2" name="Rectangle 528"/>
            <p:cNvSpPr>
              <a:spLocks noChangeArrowheads="1"/>
            </p:cNvSpPr>
            <p:nvPr/>
          </p:nvSpPr>
          <p:spPr bwMode="auto">
            <a:xfrm>
              <a:off x="7124700" y="5276850"/>
              <a:ext cx="422275" cy="20638"/>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3" name="Freeform 529"/>
            <p:cNvSpPr>
              <a:spLocks/>
            </p:cNvSpPr>
            <p:nvPr/>
          </p:nvSpPr>
          <p:spPr bwMode="auto">
            <a:xfrm>
              <a:off x="6951663" y="4965700"/>
              <a:ext cx="574675" cy="277813"/>
            </a:xfrm>
            <a:custGeom>
              <a:avLst/>
              <a:gdLst>
                <a:gd name="T0" fmla="*/ 252 w 252"/>
                <a:gd name="T1" fmla="*/ 110 h 121"/>
                <a:gd name="T2" fmla="*/ 197 w 252"/>
                <a:gd name="T3" fmla="*/ 55 h 121"/>
                <a:gd name="T4" fmla="*/ 55 w 252"/>
                <a:gd name="T5" fmla="*/ 55 h 121"/>
                <a:gd name="T6" fmla="*/ 0 w 252"/>
                <a:gd name="T7" fmla="*/ 0 h 121"/>
                <a:gd name="T8" fmla="*/ 0 w 252"/>
                <a:gd name="T9" fmla="*/ 45 h 121"/>
                <a:gd name="T10" fmla="*/ 77 w 252"/>
                <a:gd name="T11" fmla="*/ 121 h 121"/>
                <a:gd name="T12" fmla="*/ 252 w 252"/>
                <a:gd name="T13" fmla="*/ 121 h 121"/>
                <a:gd name="T14" fmla="*/ 252 w 252"/>
                <a:gd name="T15" fmla="*/ 11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21">
                  <a:moveTo>
                    <a:pt x="252" y="110"/>
                  </a:moveTo>
                  <a:cubicBezTo>
                    <a:pt x="252" y="80"/>
                    <a:pt x="227" y="55"/>
                    <a:pt x="197" y="55"/>
                  </a:cubicBezTo>
                  <a:cubicBezTo>
                    <a:pt x="55" y="55"/>
                    <a:pt x="55" y="55"/>
                    <a:pt x="55" y="55"/>
                  </a:cubicBezTo>
                  <a:cubicBezTo>
                    <a:pt x="25" y="55"/>
                    <a:pt x="0" y="31"/>
                    <a:pt x="0" y="0"/>
                  </a:cubicBezTo>
                  <a:cubicBezTo>
                    <a:pt x="0" y="45"/>
                    <a:pt x="0" y="45"/>
                    <a:pt x="0" y="45"/>
                  </a:cubicBezTo>
                  <a:cubicBezTo>
                    <a:pt x="0" y="87"/>
                    <a:pt x="35" y="121"/>
                    <a:pt x="77" y="121"/>
                  </a:cubicBezTo>
                  <a:cubicBezTo>
                    <a:pt x="252" y="121"/>
                    <a:pt x="252" y="121"/>
                    <a:pt x="252" y="121"/>
                  </a:cubicBezTo>
                  <a:lnTo>
                    <a:pt x="252" y="110"/>
                  </a:ln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4" name="Freeform 530"/>
            <p:cNvSpPr>
              <a:spLocks/>
            </p:cNvSpPr>
            <p:nvPr/>
          </p:nvSpPr>
          <p:spPr bwMode="auto">
            <a:xfrm>
              <a:off x="6999288" y="5332413"/>
              <a:ext cx="409575" cy="171450"/>
            </a:xfrm>
            <a:custGeom>
              <a:avLst/>
              <a:gdLst>
                <a:gd name="T0" fmla="*/ 55 w 179"/>
                <a:gd name="T1" fmla="*/ 19 h 75"/>
                <a:gd name="T2" fmla="*/ 55 w 179"/>
                <a:gd name="T3" fmla="*/ 0 h 75"/>
                <a:gd name="T4" fmla="*/ 179 w 179"/>
                <a:gd name="T5" fmla="*/ 0 h 75"/>
                <a:gd name="T6" fmla="*/ 107 w 179"/>
                <a:gd name="T7" fmla="*/ 75 h 75"/>
                <a:gd name="T8" fmla="*/ 0 w 179"/>
                <a:gd name="T9" fmla="*/ 74 h 75"/>
                <a:gd name="T10" fmla="*/ 55 w 179"/>
                <a:gd name="T11" fmla="*/ 19 h 75"/>
              </a:gdLst>
              <a:ahLst/>
              <a:cxnLst>
                <a:cxn ang="0">
                  <a:pos x="T0" y="T1"/>
                </a:cxn>
                <a:cxn ang="0">
                  <a:pos x="T2" y="T3"/>
                </a:cxn>
                <a:cxn ang="0">
                  <a:pos x="T4" y="T5"/>
                </a:cxn>
                <a:cxn ang="0">
                  <a:pos x="T6" y="T7"/>
                </a:cxn>
                <a:cxn ang="0">
                  <a:pos x="T8" y="T9"/>
                </a:cxn>
                <a:cxn ang="0">
                  <a:pos x="T10" y="T11"/>
                </a:cxn>
              </a:cxnLst>
              <a:rect l="0" t="0" r="r" b="b"/>
              <a:pathLst>
                <a:path w="179" h="75">
                  <a:moveTo>
                    <a:pt x="55" y="19"/>
                  </a:moveTo>
                  <a:cubicBezTo>
                    <a:pt x="55" y="0"/>
                    <a:pt x="55" y="0"/>
                    <a:pt x="55" y="0"/>
                  </a:cubicBezTo>
                  <a:cubicBezTo>
                    <a:pt x="179" y="0"/>
                    <a:pt x="179" y="0"/>
                    <a:pt x="179" y="0"/>
                  </a:cubicBezTo>
                  <a:cubicBezTo>
                    <a:pt x="179" y="0"/>
                    <a:pt x="179" y="75"/>
                    <a:pt x="107" y="75"/>
                  </a:cubicBezTo>
                  <a:cubicBezTo>
                    <a:pt x="35" y="75"/>
                    <a:pt x="0" y="74"/>
                    <a:pt x="0" y="74"/>
                  </a:cubicBezTo>
                  <a:cubicBezTo>
                    <a:pt x="31" y="74"/>
                    <a:pt x="55" y="50"/>
                    <a:pt x="55" y="19"/>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5" name="Freeform 531"/>
            <p:cNvSpPr>
              <a:spLocks/>
            </p:cNvSpPr>
            <p:nvPr/>
          </p:nvSpPr>
          <p:spPr bwMode="auto">
            <a:xfrm>
              <a:off x="6999288" y="5332413"/>
              <a:ext cx="409575" cy="225425"/>
            </a:xfrm>
            <a:custGeom>
              <a:avLst/>
              <a:gdLst>
                <a:gd name="T0" fmla="*/ 55 w 179"/>
                <a:gd name="T1" fmla="*/ 43 h 99"/>
                <a:gd name="T2" fmla="*/ 55 w 179"/>
                <a:gd name="T3" fmla="*/ 24 h 99"/>
                <a:gd name="T4" fmla="*/ 179 w 179"/>
                <a:gd name="T5" fmla="*/ 0 h 99"/>
                <a:gd name="T6" fmla="*/ 107 w 179"/>
                <a:gd name="T7" fmla="*/ 99 h 99"/>
                <a:gd name="T8" fmla="*/ 0 w 179"/>
                <a:gd name="T9" fmla="*/ 98 h 99"/>
                <a:gd name="T10" fmla="*/ 55 w 179"/>
                <a:gd name="T11" fmla="*/ 43 h 99"/>
              </a:gdLst>
              <a:ahLst/>
              <a:cxnLst>
                <a:cxn ang="0">
                  <a:pos x="T0" y="T1"/>
                </a:cxn>
                <a:cxn ang="0">
                  <a:pos x="T2" y="T3"/>
                </a:cxn>
                <a:cxn ang="0">
                  <a:pos x="T4" y="T5"/>
                </a:cxn>
                <a:cxn ang="0">
                  <a:pos x="T6" y="T7"/>
                </a:cxn>
                <a:cxn ang="0">
                  <a:pos x="T8" y="T9"/>
                </a:cxn>
                <a:cxn ang="0">
                  <a:pos x="T10" y="T11"/>
                </a:cxn>
              </a:cxnLst>
              <a:rect l="0" t="0" r="r" b="b"/>
              <a:pathLst>
                <a:path w="179" h="99">
                  <a:moveTo>
                    <a:pt x="55" y="43"/>
                  </a:moveTo>
                  <a:cubicBezTo>
                    <a:pt x="55" y="24"/>
                    <a:pt x="55" y="24"/>
                    <a:pt x="55" y="24"/>
                  </a:cubicBezTo>
                  <a:cubicBezTo>
                    <a:pt x="179" y="0"/>
                    <a:pt x="179" y="0"/>
                    <a:pt x="179" y="0"/>
                  </a:cubicBezTo>
                  <a:cubicBezTo>
                    <a:pt x="179" y="0"/>
                    <a:pt x="179" y="99"/>
                    <a:pt x="107" y="99"/>
                  </a:cubicBezTo>
                  <a:cubicBezTo>
                    <a:pt x="35" y="99"/>
                    <a:pt x="0" y="98"/>
                    <a:pt x="0" y="98"/>
                  </a:cubicBezTo>
                  <a:cubicBezTo>
                    <a:pt x="31" y="98"/>
                    <a:pt x="55" y="74"/>
                    <a:pt x="55" y="43"/>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6" name="Oval 532"/>
            <p:cNvSpPr>
              <a:spLocks noChangeArrowheads="1"/>
            </p:cNvSpPr>
            <p:nvPr/>
          </p:nvSpPr>
          <p:spPr bwMode="auto">
            <a:xfrm>
              <a:off x="7478713" y="5410200"/>
              <a:ext cx="23812" cy="206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7" name="Line 533"/>
            <p:cNvSpPr>
              <a:spLocks noChangeShapeType="1"/>
            </p:cNvSpPr>
            <p:nvPr/>
          </p:nvSpPr>
          <p:spPr bwMode="auto">
            <a:xfrm flipH="1" flipV="1">
              <a:off x="7451725" y="5526088"/>
              <a:ext cx="66675" cy="11113"/>
            </a:xfrm>
            <a:prstGeom prst="line">
              <a:avLst/>
            </a:prstGeom>
            <a:noFill/>
            <a:ln w="12700" cap="flat">
              <a:solidFill>
                <a:srgbClr val="C3986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Tree>
    <p:extLst>
      <p:ext uri="{BB962C8B-B14F-4D97-AF65-F5344CB8AC3E}">
        <p14:creationId xmlns:p14="http://schemas.microsoft.com/office/powerpoint/2010/main" val="427674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9"/>
                                        </p:tgtEl>
                                        <p:attrNameLst>
                                          <p:attrName>style.visibility</p:attrName>
                                        </p:attrNameLst>
                                      </p:cBhvr>
                                      <p:to>
                                        <p:strVal val="visible"/>
                                      </p:to>
                                    </p:set>
                                    <p:animEffect transition="in" filter="fade">
                                      <p:cBhvr>
                                        <p:cTn id="7" dur="1500"/>
                                        <p:tgtEl>
                                          <p:spTgt spid="919"/>
                                        </p:tgtEl>
                                      </p:cBhvr>
                                    </p:animEffect>
                                  </p:childTnLst>
                                </p:cTn>
                              </p:par>
                              <p:par>
                                <p:cTn id="8" presetID="42" presetClass="path" presetSubtype="0" accel="50000" decel="50000" fill="hold" nodeType="withEffect">
                                  <p:stCondLst>
                                    <p:cond delay="0"/>
                                  </p:stCondLst>
                                  <p:childTnLst>
                                    <p:animMotion origin="layout" path="M 0 -0.22593 L 0 1.48148E-6 " pathEditMode="relative" rAng="0" ptsTypes="AA">
                                      <p:cBhvr>
                                        <p:cTn id="9" dur="1500" fill="hold"/>
                                        <p:tgtEl>
                                          <p:spTgt spid="919"/>
                                        </p:tgtEl>
                                        <p:attrNameLst>
                                          <p:attrName>ppt_x</p:attrName>
                                          <p:attrName>ppt_y</p:attrName>
                                        </p:attrNameLst>
                                      </p:cBhvr>
                                      <p:rCtr x="0" y="11296"/>
                                    </p:animMotion>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927"/>
                                        </p:tgtEl>
                                        <p:attrNameLst>
                                          <p:attrName>style.visibility</p:attrName>
                                        </p:attrNameLst>
                                      </p:cBhvr>
                                      <p:to>
                                        <p:strVal val="visible"/>
                                      </p:to>
                                    </p:set>
                                    <p:animEffect transition="in" filter="fade">
                                      <p:cBhvr>
                                        <p:cTn id="13" dur="500"/>
                                        <p:tgtEl>
                                          <p:spTgt spid="927"/>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930"/>
                                        </p:tgtEl>
                                        <p:attrNameLst>
                                          <p:attrName>style.visibility</p:attrName>
                                        </p:attrNameLst>
                                      </p:cBhvr>
                                      <p:to>
                                        <p:strVal val="visible"/>
                                      </p:to>
                                    </p:set>
                                    <p:animEffect transition="in" filter="fade">
                                      <p:cBhvr>
                                        <p:cTn id="17" dur="500"/>
                                        <p:tgtEl>
                                          <p:spTgt spid="930"/>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979"/>
                                        </p:tgtEl>
                                        <p:attrNameLst>
                                          <p:attrName>style.visibility</p:attrName>
                                        </p:attrNameLst>
                                      </p:cBhvr>
                                      <p:to>
                                        <p:strVal val="visible"/>
                                      </p:to>
                                    </p:set>
                                    <p:animEffect transition="in" filter="fade">
                                      <p:cBhvr>
                                        <p:cTn id="21" dur="500"/>
                                        <p:tgtEl>
                                          <p:spTgt spid="979"/>
                                        </p:tgtEl>
                                      </p:cBhvr>
                                    </p:animEffect>
                                  </p:childTnLst>
                                </p:cTn>
                              </p:par>
                            </p:childTnLst>
                          </p:cTn>
                        </p:par>
                        <p:par>
                          <p:cTn id="22" fill="hold">
                            <p:stCondLst>
                              <p:cond delay="3000"/>
                            </p:stCondLst>
                            <p:childTnLst>
                              <p:par>
                                <p:cTn id="23" presetID="10" presetClass="entr" presetSubtype="0" fill="hold" nodeType="afterEffect">
                                  <p:stCondLst>
                                    <p:cond delay="0"/>
                                  </p:stCondLst>
                                  <p:childTnLst>
                                    <p:set>
                                      <p:cBhvr>
                                        <p:cTn id="24" dur="1" fill="hold">
                                          <p:stCondLst>
                                            <p:cond delay="0"/>
                                          </p:stCondLst>
                                        </p:cTn>
                                        <p:tgtEl>
                                          <p:spTgt spid="929"/>
                                        </p:tgtEl>
                                        <p:attrNameLst>
                                          <p:attrName>style.visibility</p:attrName>
                                        </p:attrNameLst>
                                      </p:cBhvr>
                                      <p:to>
                                        <p:strVal val="visible"/>
                                      </p:to>
                                    </p:set>
                                    <p:animEffect transition="in" filter="fade">
                                      <p:cBhvr>
                                        <p:cTn id="25" dur="500"/>
                                        <p:tgtEl>
                                          <p:spTgt spid="929"/>
                                        </p:tgtEl>
                                      </p:cBhvr>
                                    </p:animEffect>
                                  </p:childTnLst>
                                </p:cTn>
                              </p:par>
                            </p:childTnLst>
                          </p:cTn>
                        </p:par>
                        <p:par>
                          <p:cTn id="26" fill="hold">
                            <p:stCondLst>
                              <p:cond delay="3500"/>
                            </p:stCondLst>
                            <p:childTnLst>
                              <p:par>
                                <p:cTn id="27" presetID="10" presetClass="entr" presetSubtype="0" fill="hold" nodeType="afterEffect">
                                  <p:stCondLst>
                                    <p:cond delay="0"/>
                                  </p:stCondLst>
                                  <p:childTnLst>
                                    <p:set>
                                      <p:cBhvr>
                                        <p:cTn id="28" dur="1" fill="hold">
                                          <p:stCondLst>
                                            <p:cond delay="0"/>
                                          </p:stCondLst>
                                        </p:cTn>
                                        <p:tgtEl>
                                          <p:spTgt spid="928"/>
                                        </p:tgtEl>
                                        <p:attrNameLst>
                                          <p:attrName>style.visibility</p:attrName>
                                        </p:attrNameLst>
                                      </p:cBhvr>
                                      <p:to>
                                        <p:strVal val="visible"/>
                                      </p:to>
                                    </p:set>
                                    <p:animEffect transition="in" filter="fade">
                                      <p:cBhvr>
                                        <p:cTn id="29" dur="500"/>
                                        <p:tgtEl>
                                          <p:spTgt spid="928"/>
                                        </p:tgtEl>
                                      </p:cBhvr>
                                    </p:animEffect>
                                  </p:childTnLst>
                                </p:cTn>
                              </p:par>
                            </p:childTnLst>
                          </p:cTn>
                        </p:par>
                        <p:par>
                          <p:cTn id="30" fill="hold">
                            <p:stCondLst>
                              <p:cond delay="4000"/>
                            </p:stCondLst>
                            <p:childTnLst>
                              <p:par>
                                <p:cTn id="31" presetID="10" presetClass="entr" presetSubtype="0" fill="hold" nodeType="afterEffect">
                                  <p:stCondLst>
                                    <p:cond delay="0"/>
                                  </p:stCondLst>
                                  <p:childTnLst>
                                    <p:set>
                                      <p:cBhvr>
                                        <p:cTn id="32" dur="1" fill="hold">
                                          <p:stCondLst>
                                            <p:cond delay="0"/>
                                          </p:stCondLst>
                                        </p:cTn>
                                        <p:tgtEl>
                                          <p:spTgt spid="931"/>
                                        </p:tgtEl>
                                        <p:attrNameLst>
                                          <p:attrName>style.visibility</p:attrName>
                                        </p:attrNameLst>
                                      </p:cBhvr>
                                      <p:to>
                                        <p:strVal val="visible"/>
                                      </p:to>
                                    </p:set>
                                    <p:animEffect transition="in" filter="fade">
                                      <p:cBhvr>
                                        <p:cTn id="33" dur="500"/>
                                        <p:tgtEl>
                                          <p:spTgt spid="9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7727"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grpSp>
        <p:nvGrpSpPr>
          <p:cNvPr id="16" name="Group 15"/>
          <p:cNvGrpSpPr/>
          <p:nvPr/>
        </p:nvGrpSpPr>
        <p:grpSpPr>
          <a:xfrm>
            <a:off x="4702561"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grpSp>
        <p:nvGrpSpPr>
          <p:cNvPr id="43" name="Group 42"/>
          <p:cNvGrpSpPr/>
          <p:nvPr/>
        </p:nvGrpSpPr>
        <p:grpSpPr>
          <a:xfrm>
            <a:off x="8893102" y="2039575"/>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sp>
        <p:nvSpPr>
          <p:cNvPr id="58" name="TextBox 57"/>
          <p:cNvSpPr txBox="1"/>
          <p:nvPr/>
        </p:nvSpPr>
        <p:spPr>
          <a:xfrm>
            <a:off x="871952" y="5435026"/>
            <a:ext cx="2538556" cy="584775"/>
          </a:xfrm>
          <a:prstGeom prst="rect">
            <a:avLst/>
          </a:prstGeom>
          <a:noFill/>
        </p:spPr>
        <p:txBody>
          <a:bodyPr wrap="square" rtlCol="0">
            <a:spAutoFit/>
          </a:bodyPr>
          <a:lstStyle/>
          <a:p>
            <a:pPr algn="ctr">
              <a:defRPr/>
            </a:pPr>
            <a:r>
              <a:rPr lang="en-NZ" sz="3200" kern="0" dirty="0">
                <a:solidFill>
                  <a:schemeClr val="tx1">
                    <a:alpha val="99000"/>
                  </a:schemeClr>
                </a:solidFill>
              </a:rPr>
              <a:t>BizSpark</a:t>
            </a:r>
            <a:endParaRPr lang="en-NZ" sz="3200" kern="0" dirty="0">
              <a:solidFill>
                <a:schemeClr val="tx1">
                  <a:alpha val="99000"/>
                </a:schemeClr>
              </a:solidFill>
            </a:endParaRPr>
          </a:p>
        </p:txBody>
      </p:sp>
      <p:sp>
        <p:nvSpPr>
          <p:cNvPr id="59" name="TextBox 58"/>
          <p:cNvSpPr txBox="1"/>
          <p:nvPr/>
        </p:nvSpPr>
        <p:spPr>
          <a:xfrm>
            <a:off x="4446510" y="5399708"/>
            <a:ext cx="2811981" cy="584775"/>
          </a:xfrm>
          <a:prstGeom prst="rect">
            <a:avLst/>
          </a:prstGeom>
          <a:noFill/>
        </p:spPr>
        <p:txBody>
          <a:bodyPr wrap="square" rtlCol="0">
            <a:spAutoFit/>
          </a:bodyPr>
          <a:lstStyle/>
          <a:p>
            <a:pPr algn="ctr">
              <a:defRPr/>
            </a:pPr>
            <a:r>
              <a:rPr lang="en-NZ" sz="3200" kern="0" dirty="0">
                <a:solidFill>
                  <a:schemeClr val="tx1">
                    <a:alpha val="99000"/>
                  </a:schemeClr>
                </a:solidFill>
              </a:rPr>
              <a:t>BizSpark Plus</a:t>
            </a:r>
            <a:endParaRPr lang="en-NZ" sz="3200" kern="0" dirty="0">
              <a:solidFill>
                <a:schemeClr val="tx1">
                  <a:alpha val="99000"/>
                </a:schemeClr>
              </a:solidFill>
            </a:endParaRPr>
          </a:p>
        </p:txBody>
      </p:sp>
      <p:sp>
        <p:nvSpPr>
          <p:cNvPr id="60" name="TextBox 59"/>
          <p:cNvSpPr txBox="1"/>
          <p:nvPr/>
        </p:nvSpPr>
        <p:spPr>
          <a:xfrm>
            <a:off x="8017468" y="5329496"/>
            <a:ext cx="3598318" cy="584775"/>
          </a:xfrm>
          <a:prstGeom prst="rect">
            <a:avLst/>
          </a:prstGeom>
          <a:noFill/>
        </p:spPr>
        <p:txBody>
          <a:bodyPr wrap="square" rtlCol="0">
            <a:spAutoFit/>
          </a:bodyPr>
          <a:lstStyle/>
          <a:p>
            <a:pPr algn="ctr">
              <a:defRPr/>
            </a:pPr>
            <a:r>
              <a:rPr lang="en-NZ" sz="3200" kern="0" dirty="0">
                <a:solidFill>
                  <a:schemeClr val="tx1">
                    <a:alpha val="99000"/>
                  </a:schemeClr>
                </a:solidFill>
              </a:rPr>
              <a:t>Microsoft Ventures</a:t>
            </a:r>
            <a:endParaRPr lang="en-NZ" sz="3200" kern="0" dirty="0">
              <a:solidFill>
                <a:schemeClr val="tx1">
                  <a:alpha val="99000"/>
                </a:schemeClr>
              </a:solidFill>
            </a:endParaRPr>
          </a:p>
        </p:txBody>
      </p:sp>
      <p:sp>
        <p:nvSpPr>
          <p:cNvPr id="61" name="Title 60"/>
          <p:cNvSpPr>
            <a:spLocks noGrp="1"/>
          </p:cNvSpPr>
          <p:nvPr>
            <p:ph type="title"/>
          </p:nvPr>
        </p:nvSpPr>
        <p:spPr>
          <a:xfrm>
            <a:off x="302527" y="163197"/>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314634682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33" name="Group 32"/>
          <p:cNvGrpSpPr/>
          <p:nvPr/>
        </p:nvGrpSpPr>
        <p:grpSpPr>
          <a:xfrm>
            <a:off x="8160373" y="2421263"/>
            <a:ext cx="2411041" cy="2411041"/>
            <a:chOff x="6045400" y="3334963"/>
            <a:chExt cx="1808537" cy="1808537"/>
          </a:xfrm>
        </p:grpSpPr>
        <p:sp>
          <p:nvSpPr>
            <p:cNvPr id="34" name="Oval 33"/>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35" name="Freeform 34"/>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4" name="Group 3"/>
          <p:cNvGrpSpPr/>
          <p:nvPr/>
        </p:nvGrpSpPr>
        <p:grpSpPr>
          <a:xfrm>
            <a:off x="4578459" y="3212620"/>
            <a:ext cx="2824090" cy="2618077"/>
            <a:chOff x="4670046" y="3276509"/>
            <a:chExt cx="2881128" cy="2670954"/>
          </a:xfrm>
        </p:grpSpPr>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838220" y="2884011"/>
            <a:ext cx="11654187" cy="1269895"/>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r>
              <a:rPr lang="en-US" sz="16272" spc="-74" dirty="0">
                <a:solidFill>
                  <a:srgbClr val="0078D7"/>
                </a:solidFill>
              </a:rPr>
              <a:t>Windows</a:t>
            </a:r>
            <a:endParaRPr lang="en-US" sz="3920" spc="-74" dirty="0">
              <a:solidFill>
                <a:srgbClr val="0078D7"/>
              </a:solidFill>
            </a:endParaRPr>
          </a:p>
        </p:txBody>
      </p:sp>
      <p:grpSp>
        <p:nvGrpSpPr>
          <p:cNvPr id="25" name="Group 24"/>
          <p:cNvGrpSpPr/>
          <p:nvPr/>
        </p:nvGrpSpPr>
        <p:grpSpPr>
          <a:xfrm>
            <a:off x="1562923" y="2421263"/>
            <a:ext cx="2411041" cy="2411041"/>
            <a:chOff x="156900" y="18108"/>
            <a:chExt cx="1808537" cy="1808537"/>
          </a:xfrm>
        </p:grpSpPr>
        <p:sp>
          <p:nvSpPr>
            <p:cNvPr id="27" name="Oval 26"/>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30" name="TextBox 29"/>
          <p:cNvSpPr txBox="1"/>
          <p:nvPr/>
        </p:nvSpPr>
        <p:spPr>
          <a:xfrm>
            <a:off x="8022717" y="5052032"/>
            <a:ext cx="2688168"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grpSp>
        <p:nvGrpSpPr>
          <p:cNvPr id="36" name="Group 35"/>
          <p:cNvGrpSpPr/>
          <p:nvPr/>
        </p:nvGrpSpPr>
        <p:grpSpPr>
          <a:xfrm>
            <a:off x="4814520" y="2421263"/>
            <a:ext cx="2411041" cy="2411041"/>
            <a:chOff x="5078585" y="3037622"/>
            <a:chExt cx="1808537" cy="1808537"/>
          </a:xfrm>
        </p:grpSpPr>
        <p:sp>
          <p:nvSpPr>
            <p:cNvPr id="37" name="Oval 36"/>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sp>
        <p:nvSpPr>
          <p:cNvPr id="17" name="TextBox 16"/>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spTree>
    <p:extLst>
      <p:ext uri="{BB962C8B-B14F-4D97-AF65-F5344CB8AC3E}">
        <p14:creationId xmlns:p14="http://schemas.microsoft.com/office/powerpoint/2010/main" val="3618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5"/>
                                        </p:tgtEl>
                                      </p:cBhvr>
                                    </p:animEffect>
                                    <p:set>
                                      <p:cBhvr>
                                        <p:cTn id="10" dur="1" fill="hold">
                                          <p:stCondLst>
                                            <p:cond delay="499"/>
                                          </p:stCondLst>
                                        </p:cTn>
                                        <p:tgtEl>
                                          <p:spTgt spid="2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6"/>
                                        </p:tgtEl>
                                      </p:cBhvr>
                                    </p:animEffect>
                                    <p:set>
                                      <p:cBhvr>
                                        <p:cTn id="13" dur="1" fill="hold">
                                          <p:stCondLst>
                                            <p:cond delay="499"/>
                                          </p:stCondLst>
                                        </p:cTn>
                                        <p:tgtEl>
                                          <p:spTgt spid="3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7"/>
                                        </p:tgtEl>
                                      </p:cBhvr>
                                    </p:animEffect>
                                    <p:set>
                                      <p:cBhvr>
                                        <p:cTn id="19" dur="1" fill="hold">
                                          <p:stCondLst>
                                            <p:cond delay="499"/>
                                          </p:stCondLst>
                                        </p:cTn>
                                        <p:tgtEl>
                                          <p:spTgt spid="17"/>
                                        </p:tgtEl>
                                        <p:attrNameLst>
                                          <p:attrName>style.visibility</p:attrName>
                                        </p:attrNameLst>
                                      </p:cBhvr>
                                      <p:to>
                                        <p:strVal val="hidden"/>
                                      </p:to>
                                    </p:set>
                                  </p:childTnLst>
                                </p:cTn>
                              </p:par>
                            </p:childTnLst>
                          </p:cTn>
                        </p:par>
                        <p:par>
                          <p:cTn id="20" fill="hold">
                            <p:stCondLst>
                              <p:cond delay="500"/>
                            </p:stCondLst>
                            <p:childTnLst>
                              <p:par>
                                <p:cTn id="21" presetID="35" presetClass="path" presetSubtype="0" decel="100000" fill="hold" nodeType="afterEffect">
                                  <p:stCondLst>
                                    <p:cond delay="0"/>
                                  </p:stCondLst>
                                  <p:childTnLst>
                                    <p:animMotion origin="layout" path="M 8.33333E-7 -3.7037E-6 L -0.60781 -3.7037E-6 " pathEditMode="relative" rAng="0" ptsTypes="AA">
                                      <p:cBhvr>
                                        <p:cTn id="22" dur="750" fill="hold"/>
                                        <p:tgtEl>
                                          <p:spTgt spid="33"/>
                                        </p:tgtEl>
                                        <p:attrNameLst>
                                          <p:attrName>ppt_x</p:attrName>
                                          <p:attrName>ppt_y</p:attrName>
                                        </p:attrNameLst>
                                      </p:cBhvr>
                                      <p:rCtr x="-30399" y="0"/>
                                    </p:animMotion>
                                  </p:childTnLst>
                                </p:cTn>
                              </p:par>
                              <p:par>
                                <p:cTn id="23" presetID="35" presetClass="path" presetSubtype="0" decel="100000" fill="hold" grpId="0" nodeType="withEffect">
                                  <p:stCondLst>
                                    <p:cond delay="0"/>
                                  </p:stCondLst>
                                  <p:childTnLst>
                                    <p:animMotion origin="layout" path="M 8.33333E-7 -3.7037E-6 L -0.60781 -3.7037E-6 " pathEditMode="relative" rAng="0" ptsTypes="AA">
                                      <p:cBhvr>
                                        <p:cTn id="24" dur="750" fill="hold"/>
                                        <p:tgtEl>
                                          <p:spTgt spid="30"/>
                                        </p:tgtEl>
                                        <p:attrNameLst>
                                          <p:attrName>ppt_x</p:attrName>
                                          <p:attrName>ppt_y</p:attrName>
                                        </p:attrNameLst>
                                      </p:cBhvr>
                                      <p:rCtr x="-30399" y="0"/>
                                    </p:animMotion>
                                  </p:childTnLst>
                                </p:cTn>
                              </p:par>
                            </p:childTnLst>
                          </p:cTn>
                        </p:par>
                        <p:par>
                          <p:cTn id="25" fill="hold">
                            <p:stCondLst>
                              <p:cond delay="1250"/>
                            </p:stCondLst>
                            <p:childTnLst>
                              <p:par>
                                <p:cTn id="26" presetID="14" presetClass="entr" presetSubtype="1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randombar(horizontal)">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p:bldP spid="30" grpId="0"/>
      <p:bldP spid="17"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39" name="Shelf"/>
          <p:cNvPicPr>
            <a:picLocks noChangeAspect="1"/>
          </p:cNvPicPr>
          <p:nvPr/>
        </p:nvPicPr>
        <p:blipFill rotWithShape="1">
          <a:blip r:embed="rId3">
            <a:extLst>
              <a:ext uri="{28A0092B-C50C-407E-A947-70E740481C1C}">
                <a14:useLocalDpi xmlns:a14="http://schemas.microsoft.com/office/drawing/2010/main" val="0"/>
              </a:ext>
            </a:extLst>
          </a:blip>
          <a:srcRect b="16606"/>
          <a:stretch/>
        </p:blipFill>
        <p:spPr bwMode="gray">
          <a:xfrm>
            <a:off x="866" y="4284726"/>
            <a:ext cx="12190271" cy="2576373"/>
          </a:xfrm>
          <a:prstGeom prst="rect">
            <a:avLst/>
          </a:prstGeom>
        </p:spPr>
      </p:pic>
      <p:pic>
        <p:nvPicPr>
          <p:cNvPr id="30" name="PPI"/>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ltGray">
          <a:xfrm>
            <a:off x="188747" y="358151"/>
            <a:ext cx="5235031" cy="3193826"/>
          </a:xfrm>
          <a:prstGeom prst="rect">
            <a:avLst/>
          </a:prstGeom>
        </p:spPr>
      </p:pic>
      <p:pic>
        <p:nvPicPr>
          <p:cNvPr id="12" name="2-i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7784" y="4119187"/>
            <a:ext cx="1798805" cy="1204704"/>
          </a:xfrm>
          <a:prstGeom prst="rect">
            <a:avLst/>
          </a:prstGeom>
        </p:spPr>
      </p:pic>
      <p:pic>
        <p:nvPicPr>
          <p:cNvPr id="13" name="Desktop"/>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6031" y="3248905"/>
            <a:ext cx="2536776" cy="1865375"/>
          </a:xfrm>
          <a:prstGeom prst="rect">
            <a:avLst/>
          </a:prstGeom>
        </p:spPr>
      </p:pic>
      <p:pic>
        <p:nvPicPr>
          <p:cNvPr id="17" name="Small Tablet"/>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5252" y="4103771"/>
            <a:ext cx="812775" cy="1049062"/>
          </a:xfrm>
          <a:prstGeom prst="rect">
            <a:avLst/>
          </a:prstGeom>
        </p:spPr>
      </p:pic>
      <p:pic>
        <p:nvPicPr>
          <p:cNvPr id="14" name="Large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48868" y="4373967"/>
            <a:ext cx="1192910" cy="732846"/>
          </a:xfrm>
          <a:prstGeom prst="rect">
            <a:avLst/>
          </a:prstGeom>
        </p:spPr>
      </p:pic>
      <p:pic>
        <p:nvPicPr>
          <p:cNvPr id="15" name="Phablet"/>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1993" y="4394545"/>
            <a:ext cx="836499" cy="682147"/>
          </a:xfrm>
          <a:prstGeom prst="rect">
            <a:avLst/>
          </a:prstGeom>
        </p:spPr>
      </p:pic>
      <p:pic>
        <p:nvPicPr>
          <p:cNvPr id="16" name="Phon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5972" y="4538110"/>
            <a:ext cx="540239" cy="526146"/>
          </a:xfrm>
          <a:prstGeom prst="rect">
            <a:avLst/>
          </a:prstGeom>
        </p:spPr>
      </p:pic>
      <p:pic>
        <p:nvPicPr>
          <p:cNvPr id="18" name="Lap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74897" y="3986186"/>
            <a:ext cx="1891904" cy="1068708"/>
          </a:xfrm>
          <a:prstGeom prst="rect">
            <a:avLst/>
          </a:prstGeom>
        </p:spPr>
      </p:pic>
      <p:pic>
        <p:nvPicPr>
          <p:cNvPr id="36"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8782" y="4625029"/>
            <a:ext cx="636355" cy="461570"/>
          </a:xfrm>
          <a:prstGeom prst="rect">
            <a:avLst/>
          </a:prstGeom>
        </p:spPr>
      </p:pic>
      <p:pic>
        <p:nvPicPr>
          <p:cNvPr id="3" name="Xbox"/>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5375" y="2968331"/>
            <a:ext cx="2933364" cy="2108916"/>
          </a:xfrm>
          <a:prstGeom prst="rect">
            <a:avLst/>
          </a:prstGeom>
        </p:spPr>
      </p:pic>
      <p:sp>
        <p:nvSpPr>
          <p:cNvPr id="5" name="txt One product family"/>
          <p:cNvSpPr txBox="1"/>
          <p:nvPr/>
        </p:nvSpPr>
        <p:spPr>
          <a:xfrm>
            <a:off x="597839" y="5840162"/>
            <a:ext cx="4084049"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product family</a:t>
            </a:r>
          </a:p>
        </p:txBody>
      </p:sp>
      <p:sp>
        <p:nvSpPr>
          <p:cNvPr id="40" name="txt One platform"/>
          <p:cNvSpPr txBox="1"/>
          <p:nvPr/>
        </p:nvSpPr>
        <p:spPr>
          <a:xfrm>
            <a:off x="5393661" y="5840162"/>
            <a:ext cx="2952362"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platform</a:t>
            </a:r>
          </a:p>
        </p:txBody>
      </p:sp>
      <p:sp>
        <p:nvSpPr>
          <p:cNvPr id="42" name="txt One store"/>
          <p:cNvSpPr txBox="1"/>
          <p:nvPr/>
        </p:nvSpPr>
        <p:spPr>
          <a:xfrm>
            <a:off x="9074842" y="5840162"/>
            <a:ext cx="2269709"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store</a:t>
            </a:r>
          </a:p>
        </p:txBody>
      </p:sp>
      <p:pic>
        <p:nvPicPr>
          <p:cNvPr id="19" name="Windows 10 logo"/>
          <p:cNvPicPr>
            <a:picLocks noChangeAspect="1"/>
          </p:cNvPicPr>
          <p:nvPr/>
        </p:nvPicPr>
        <p:blipFill rotWithShape="1">
          <a:blip r:embed="rId14">
            <a:extLst>
              <a:ext uri="{28A0092B-C50C-407E-A947-70E740481C1C}">
                <a14:useLocalDpi xmlns:a14="http://schemas.microsoft.com/office/drawing/2010/main" val="0"/>
              </a:ext>
            </a:extLst>
          </a:blip>
          <a:srcRect r="5216"/>
          <a:stretch/>
        </p:blipFill>
        <p:spPr>
          <a:xfrm>
            <a:off x="541429" y="2732092"/>
            <a:ext cx="7380358" cy="1482006"/>
          </a:xfrm>
          <a:prstGeom prst="rect">
            <a:avLst/>
          </a:prstGeom>
        </p:spPr>
      </p:pic>
      <p:sp>
        <p:nvSpPr>
          <p:cNvPr id="20" name="Text Placeholder 4"/>
          <p:cNvSpPr txBox="1">
            <a:spLocks/>
          </p:cNvSpPr>
          <p:nvPr/>
        </p:nvSpPr>
        <p:spPr>
          <a:xfrm>
            <a:off x="408700" y="5058124"/>
            <a:ext cx="11782436" cy="1541716"/>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896354">
              <a:buClr>
                <a:srgbClr val="505050"/>
              </a:buClr>
              <a:buNone/>
              <a:defRPr/>
            </a:pPr>
            <a:r>
              <a:rPr lang="en-US" sz="3200" dirty="0">
                <a:gradFill>
                  <a:gsLst>
                    <a:gs pos="0">
                      <a:srgbClr val="FFFFFF"/>
                    </a:gs>
                    <a:gs pos="100000">
                      <a:srgbClr val="FFFFFF"/>
                    </a:gs>
                  </a:gsLst>
                  <a:lin ang="5400000" scaled="0"/>
                </a:gradFill>
                <a:latin typeface="Segoe UI Light"/>
              </a:rPr>
              <a:t>Vishesh Oberoi</a:t>
            </a:r>
            <a:endParaRPr lang="en-US" sz="3200" dirty="0">
              <a:gradFill>
                <a:gsLst>
                  <a:gs pos="0">
                    <a:srgbClr val="FFFFFF"/>
                  </a:gs>
                  <a:gs pos="100000">
                    <a:srgbClr val="FFFFFF"/>
                  </a:gs>
                </a:gsLst>
                <a:lin ang="5400000" scaled="0"/>
              </a:gradFill>
              <a:latin typeface="Segoe UI Light"/>
            </a:endParaRP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Technical Evangelist</a:t>
            </a:r>
            <a:endParaRPr lang="en-US" sz="1800" dirty="0">
              <a:gradFill>
                <a:gsLst>
                  <a:gs pos="0">
                    <a:srgbClr val="FFFFFF"/>
                  </a:gs>
                  <a:gs pos="100000">
                    <a:srgbClr val="FFFFFF"/>
                  </a:gs>
                </a:gsLst>
                <a:lin ang="5400000" scaled="0"/>
              </a:gradFill>
              <a:latin typeface="Segoe UI Light"/>
            </a:endParaRP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Microsoft</a:t>
            </a: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VishO@microsoft.com</a:t>
            </a:r>
            <a:endParaRPr lang="en-US" sz="1800" dirty="0">
              <a:gradFill>
                <a:gsLst>
                  <a:gs pos="0">
                    <a:srgbClr val="FFFFFF"/>
                  </a:gs>
                  <a:gs pos="100000">
                    <a:srgbClr val="FFFFFF"/>
                  </a:gs>
                </a:gsLst>
                <a:lin ang="5400000" scaled="0"/>
              </a:gradFill>
              <a:latin typeface="Segoe UI Light"/>
            </a:endParaRPr>
          </a:p>
        </p:txBody>
      </p:sp>
      <p:pic>
        <p:nvPicPr>
          <p:cNvPr id="2" name="Picture 1"/>
          <p:cNvPicPr>
            <a:picLocks noChangeAspect="1"/>
          </p:cNvPicPr>
          <p:nvPr/>
        </p:nvPicPr>
        <p:blipFill>
          <a:blip r:embed="rId15"/>
          <a:stretch>
            <a:fillRect/>
          </a:stretch>
        </p:blipFill>
        <p:spPr>
          <a:xfrm>
            <a:off x="6543844" y="1913071"/>
            <a:ext cx="1949737" cy="944817"/>
          </a:xfrm>
          <a:prstGeom prst="rect">
            <a:avLst/>
          </a:prstGeom>
        </p:spPr>
      </p:pic>
    </p:spTree>
    <p:extLst>
      <p:ext uri="{BB962C8B-B14F-4D97-AF65-F5344CB8AC3E}">
        <p14:creationId xmlns:p14="http://schemas.microsoft.com/office/powerpoint/2010/main" val="341068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par>
                                <p:cTn id="8" presetID="6" presetClass="emph" presetSubtype="0" accel="50000" decel="50000" fill="hold" nodeType="withEffect">
                                  <p:stCondLst>
                                    <p:cond delay="0"/>
                                  </p:stCondLst>
                                  <p:childTnLst>
                                    <p:animScale>
                                      <p:cBhvr>
                                        <p:cTn id="9" dur="1000" fill="hold"/>
                                        <p:tgtEl>
                                          <p:spTgt spid="19"/>
                                        </p:tgtEl>
                                      </p:cBhvr>
                                      <p:by x="65000" y="65000"/>
                                    </p:animScale>
                                  </p:childTnLst>
                                </p:cTn>
                              </p:par>
                              <p:par>
                                <p:cTn id="10" presetID="64" presetClass="path" presetSubtype="0" accel="50000" decel="50000" fill="hold" nodeType="withEffect">
                                  <p:stCondLst>
                                    <p:cond delay="0"/>
                                  </p:stCondLst>
                                  <p:childTnLst>
                                    <p:animMotion origin="layout" path="M 4.79167E-6 -1.48148E-6 L 0.36796 -0.3375 " pathEditMode="relative" rAng="0" ptsTypes="AA">
                                      <p:cBhvr>
                                        <p:cTn id="11" dur="1000" fill="hold"/>
                                        <p:tgtEl>
                                          <p:spTgt spid="19"/>
                                        </p:tgtEl>
                                        <p:attrNameLst>
                                          <p:attrName>ppt_x</p:attrName>
                                          <p:attrName>ppt_y</p:attrName>
                                        </p:attrNameLst>
                                      </p:cBhvr>
                                      <p:rCtr x="18398" y="-16875"/>
                                    </p:animMotion>
                                  </p:childTnLst>
                                </p:cTn>
                              </p:par>
                              <p:par>
                                <p:cTn id="12" presetID="10" presetClass="entr" presetSubtype="0" fill="hold" nodeType="withEffect">
                                  <p:stCondLst>
                                    <p:cond delay="25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500"/>
                                        <p:tgtEl>
                                          <p:spTgt spid="39"/>
                                        </p:tgtEl>
                                      </p:cBhvr>
                                    </p:animEffect>
                                  </p:childTnLst>
                                </p:cTn>
                              </p:par>
                              <p:par>
                                <p:cTn id="15" presetID="10" presetClass="entr" presetSubtype="0" fill="hold" nodeType="withEffect">
                                  <p:stCondLst>
                                    <p:cond delay="75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100000" fill="hold" nodeType="withEffect">
                                  <p:stCondLst>
                                    <p:cond delay="750"/>
                                  </p:stCondLst>
                                  <p:childTnLst>
                                    <p:animMotion origin="layout" path="M -0.03945 -0.00046 L 3.60225E-6 4.7163E-6 " pathEditMode="relative" rAng="0" ptsTypes="AA">
                                      <p:cBhvr>
                                        <p:cTn id="19" dur="600" fill="hold"/>
                                        <p:tgtEl>
                                          <p:spTgt spid="36"/>
                                        </p:tgtEl>
                                        <p:attrNameLst>
                                          <p:attrName>ppt_x</p:attrName>
                                          <p:attrName>ppt_y</p:attrName>
                                        </p:attrNameLst>
                                      </p:cBhvr>
                                      <p:rCtr x="1966" y="23"/>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nodeType="withEffect">
                                  <p:stCondLst>
                                    <p:cond delay="850"/>
                                  </p:stCondLst>
                                  <p:childTnLst>
                                    <p:animMotion origin="layout" path="M -0.03945 -0.00045 L 2.47383E-6 -1.57059E-6 " pathEditMode="relative" rAng="0" ptsTypes="AA">
                                      <p:cBhvr>
                                        <p:cTn id="24" dur="600" fill="hold"/>
                                        <p:tgtEl>
                                          <p:spTgt spid="16"/>
                                        </p:tgtEl>
                                        <p:attrNameLst>
                                          <p:attrName>ppt_x</p:attrName>
                                          <p:attrName>ppt_y</p:attrName>
                                        </p:attrNameLst>
                                      </p:cBhvr>
                                      <p:rCtr x="1966" y="23"/>
                                    </p:animMotion>
                                  </p:childTnLst>
                                </p:cTn>
                              </p:par>
                              <p:par>
                                <p:cTn id="25" presetID="10" presetClass="entr" presetSubtype="0" fill="hold" nodeType="withEffect">
                                  <p:stCondLst>
                                    <p:cond delay="95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950"/>
                                  </p:stCondLst>
                                  <p:childTnLst>
                                    <p:animMotion origin="layout" path="M -0.03945 -0.00045 L 3.24228E-6 8.85157E-7 " pathEditMode="relative" rAng="0" ptsTypes="AA">
                                      <p:cBhvr>
                                        <p:cTn id="29" dur="600" fill="hold"/>
                                        <p:tgtEl>
                                          <p:spTgt spid="15"/>
                                        </p:tgtEl>
                                        <p:attrNameLst>
                                          <p:attrName>ppt_x</p:attrName>
                                          <p:attrName>ppt_y</p:attrName>
                                        </p:attrNameLst>
                                      </p:cBhvr>
                                      <p:rCtr x="1966" y="23"/>
                                    </p:animMotion>
                                  </p:childTnLst>
                                </p:cTn>
                              </p:par>
                              <p:par>
                                <p:cTn id="30" presetID="10" presetClass="entr" presetSubtype="0" fill="hold" nodeType="withEffect">
                                  <p:stCondLst>
                                    <p:cond delay="10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050"/>
                                  </p:stCondLst>
                                  <p:childTnLst>
                                    <p:animMotion origin="layout" path="M -0.03944 -0.00046 L -1.00077E-6 1.34816E-6 " pathEditMode="relative" rAng="0" ptsTypes="AA">
                                      <p:cBhvr>
                                        <p:cTn id="34" dur="600" fill="hold"/>
                                        <p:tgtEl>
                                          <p:spTgt spid="17"/>
                                        </p:tgtEl>
                                        <p:attrNameLst>
                                          <p:attrName>ppt_x</p:attrName>
                                          <p:attrName>ppt_y</p:attrName>
                                        </p:attrNameLst>
                                      </p:cBhvr>
                                      <p:rCtr x="1966" y="23"/>
                                    </p:animMotion>
                                  </p:childTnLst>
                                </p:cTn>
                              </p:par>
                              <p:par>
                                <p:cTn id="35" presetID="10" presetClass="entr" presetSubtype="0" fill="hold" nodeType="withEffect">
                                  <p:stCondLst>
                                    <p:cond delay="115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42" presetClass="path" presetSubtype="0" decel="100000" fill="hold" nodeType="withEffect">
                                  <p:stCondLst>
                                    <p:cond delay="1150"/>
                                  </p:stCondLst>
                                  <p:childTnLst>
                                    <p:animMotion origin="layout" path="M -0.03944 -0.00045 L -1.36074E-6 -3.04131E-6 " pathEditMode="relative" rAng="0" ptsTypes="AA">
                                      <p:cBhvr>
                                        <p:cTn id="39" dur="600" fill="hold"/>
                                        <p:tgtEl>
                                          <p:spTgt spid="14"/>
                                        </p:tgtEl>
                                        <p:attrNameLst>
                                          <p:attrName>ppt_x</p:attrName>
                                          <p:attrName>ppt_y</p:attrName>
                                        </p:attrNameLst>
                                      </p:cBhvr>
                                      <p:rCtr x="1966" y="23"/>
                                    </p:animMotion>
                                  </p:childTnLst>
                                </p:cTn>
                              </p:par>
                              <p:par>
                                <p:cTn id="40" presetID="10" presetClass="entr" presetSubtype="0" fill="hold" nodeType="withEffect">
                                  <p:stCondLst>
                                    <p:cond delay="12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42" presetClass="path" presetSubtype="0" decel="100000" fill="hold" nodeType="withEffect">
                                  <p:stCondLst>
                                    <p:cond delay="1250"/>
                                  </p:stCondLst>
                                  <p:childTnLst>
                                    <p:animMotion origin="layout" path="M -0.03945 -0.00046 L 3.04315E-6 3.55424E-6 " pathEditMode="relative" rAng="0" ptsTypes="AA">
                                      <p:cBhvr>
                                        <p:cTn id="44" dur="600" fill="hold"/>
                                        <p:tgtEl>
                                          <p:spTgt spid="12"/>
                                        </p:tgtEl>
                                        <p:attrNameLst>
                                          <p:attrName>ppt_x</p:attrName>
                                          <p:attrName>ppt_y</p:attrName>
                                        </p:attrNameLst>
                                      </p:cBhvr>
                                      <p:rCtr x="1966" y="23"/>
                                    </p:animMotion>
                                  </p:childTnLst>
                                </p:cTn>
                              </p:par>
                              <p:par>
                                <p:cTn id="45" presetID="10" presetClass="entr" presetSubtype="0" fill="hold" nodeType="withEffect">
                                  <p:stCondLst>
                                    <p:cond delay="135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42" presetClass="path" presetSubtype="0" decel="100000" fill="hold" nodeType="withEffect">
                                  <p:stCondLst>
                                    <p:cond delay="1350"/>
                                  </p:stCondLst>
                                  <p:childTnLst>
                                    <p:animMotion origin="layout" path="M -0.03945 -0.00045 L 4.30431E-6 -1.2256E-6 " pathEditMode="relative" rAng="0" ptsTypes="AA">
                                      <p:cBhvr>
                                        <p:cTn id="49" dur="600" fill="hold"/>
                                        <p:tgtEl>
                                          <p:spTgt spid="18"/>
                                        </p:tgtEl>
                                        <p:attrNameLst>
                                          <p:attrName>ppt_x</p:attrName>
                                          <p:attrName>ppt_y</p:attrName>
                                        </p:attrNameLst>
                                      </p:cBhvr>
                                      <p:rCtr x="1966" y="23"/>
                                    </p:animMotion>
                                  </p:childTnLst>
                                </p:cTn>
                              </p:par>
                              <p:par>
                                <p:cTn id="50" presetID="10" presetClass="entr" presetSubtype="0" fill="hold" nodeType="withEffect">
                                  <p:stCondLst>
                                    <p:cond delay="145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nodeType="withEffect">
                                  <p:stCondLst>
                                    <p:cond delay="1450"/>
                                  </p:stCondLst>
                                  <p:childTnLst>
                                    <p:animMotion origin="layout" path="M -0.03945 -0.00045 L 2.28236E-6 -3.24103E-6 " pathEditMode="relative" rAng="0" ptsTypes="AA">
                                      <p:cBhvr>
                                        <p:cTn id="54" dur="600" fill="hold"/>
                                        <p:tgtEl>
                                          <p:spTgt spid="13"/>
                                        </p:tgtEl>
                                        <p:attrNameLst>
                                          <p:attrName>ppt_x</p:attrName>
                                          <p:attrName>ppt_y</p:attrName>
                                        </p:attrNameLst>
                                      </p:cBhvr>
                                      <p:rCtr x="1966" y="23"/>
                                    </p:animMotion>
                                  </p:childTnLst>
                                </p:cTn>
                              </p:par>
                              <p:par>
                                <p:cTn id="55" presetID="10" presetClass="entr" presetSubtype="0" fill="hold" nodeType="withEffect">
                                  <p:stCondLst>
                                    <p:cond delay="155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500"/>
                                        <p:tgtEl>
                                          <p:spTgt spid="3"/>
                                        </p:tgtEl>
                                      </p:cBhvr>
                                    </p:animEffect>
                                  </p:childTnLst>
                                </p:cTn>
                              </p:par>
                              <p:par>
                                <p:cTn id="58" presetID="42" presetClass="path" presetSubtype="0" decel="100000" fill="hold" nodeType="withEffect">
                                  <p:stCondLst>
                                    <p:cond delay="1550"/>
                                  </p:stCondLst>
                                  <p:childTnLst>
                                    <p:animMotion origin="layout" path="M -0.03944 -0.00045 L 1.17437E-6 -2.99138E-6 " pathEditMode="relative" rAng="0" ptsTypes="AA">
                                      <p:cBhvr>
                                        <p:cTn id="59" dur="600" fill="hold"/>
                                        <p:tgtEl>
                                          <p:spTgt spid="3"/>
                                        </p:tgtEl>
                                        <p:attrNameLst>
                                          <p:attrName>ppt_x</p:attrName>
                                          <p:attrName>ppt_y</p:attrName>
                                        </p:attrNameLst>
                                      </p:cBhvr>
                                      <p:rCtr x="1966" y="23"/>
                                    </p:animMotion>
                                  </p:childTnLst>
                                </p:cTn>
                              </p:par>
                              <p:par>
                                <p:cTn id="60" presetID="10" presetClass="entr" presetSubtype="0" fill="hold" nodeType="withEffect">
                                  <p:stCondLst>
                                    <p:cond delay="165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childTnLst>
                                </p:cTn>
                              </p:par>
                              <p:par>
                                <p:cTn id="63" presetID="42" presetClass="path" presetSubtype="0" decel="100000" fill="hold" nodeType="withEffect">
                                  <p:stCondLst>
                                    <p:cond delay="1650"/>
                                  </p:stCondLst>
                                  <p:childTnLst>
                                    <p:animMotion origin="layout" path="M -0.03944 -0.00045 L -6.66326E-7 -1.26192E-6 " pathEditMode="relative" rAng="0" ptsTypes="AA">
                                      <p:cBhvr>
                                        <p:cTn id="64" dur="600" fill="hold"/>
                                        <p:tgtEl>
                                          <p:spTgt spid="30"/>
                                        </p:tgtEl>
                                        <p:attrNameLst>
                                          <p:attrName>ppt_x</p:attrName>
                                          <p:attrName>ppt_y</p:attrName>
                                        </p:attrNameLst>
                                      </p:cBhvr>
                                      <p:rCtr x="1966" y="23"/>
                                    </p:animMotion>
                                  </p:childTnLst>
                                </p:cTn>
                              </p:par>
                              <p:par>
                                <p:cTn id="65" presetID="10" presetClass="entr" presetSubtype="0" fill="hold" nodeType="withEffect">
                                  <p:stCondLst>
                                    <p:cond delay="1650"/>
                                  </p:stCondLst>
                                  <p:childTnLst>
                                    <p:set>
                                      <p:cBhvr>
                                        <p:cTn id="66" dur="1" fill="hold">
                                          <p:stCondLst>
                                            <p:cond delay="0"/>
                                          </p:stCondLst>
                                        </p:cTn>
                                        <p:tgtEl>
                                          <p:spTgt spid="2"/>
                                        </p:tgtEl>
                                        <p:attrNameLst>
                                          <p:attrName>style.visibility</p:attrName>
                                        </p:attrNameLst>
                                      </p:cBhvr>
                                      <p:to>
                                        <p:strVal val="visible"/>
                                      </p:to>
                                    </p:set>
                                    <p:animEffect transition="in" filter="fade">
                                      <p:cBhvr>
                                        <p:cTn id="67" dur="500"/>
                                        <p:tgtEl>
                                          <p:spTgt spid="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42" presetClass="path" presetSubtype="0" decel="100000" fill="hold" grpId="1" nodeType="withEffect">
                                  <p:stCondLst>
                                    <p:cond delay="0"/>
                                  </p:stCondLst>
                                  <p:childTnLst>
                                    <p:animMotion origin="layout" path="M -0.03944 -0.00045 L -2.21343E-6 -3.81752E-6 " pathEditMode="relative" rAng="0" ptsTypes="AA">
                                      <p:cBhvr>
                                        <p:cTn id="74" dur="600" fill="hold"/>
                                        <p:tgtEl>
                                          <p:spTgt spid="5"/>
                                        </p:tgtEl>
                                        <p:attrNameLst>
                                          <p:attrName>ppt_x</p:attrName>
                                          <p:attrName>ppt_y</p:attrName>
                                        </p:attrNameLst>
                                      </p:cBhvr>
                                      <p:rCtr x="1966" y="23"/>
                                    </p:animMotion>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42" presetClass="path" presetSubtype="0" decel="100000" fill="hold" grpId="1" nodeType="withEffect">
                                  <p:stCondLst>
                                    <p:cond delay="0"/>
                                  </p:stCondLst>
                                  <p:childTnLst>
                                    <p:animMotion origin="layout" path="M -0.03944 -0.00045 L -1.40924E-6 -3.81752E-6 " pathEditMode="relative" rAng="0" ptsTypes="AA">
                                      <p:cBhvr>
                                        <p:cTn id="81" dur="600" fill="hold"/>
                                        <p:tgtEl>
                                          <p:spTgt spid="40"/>
                                        </p:tgtEl>
                                        <p:attrNameLst>
                                          <p:attrName>ppt_x</p:attrName>
                                          <p:attrName>ppt_y</p:attrName>
                                        </p:attrNameLst>
                                      </p:cBhvr>
                                      <p:rCtr x="1966" y="23"/>
                                    </p:animMotion>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42" presetClass="path" presetSubtype="0" decel="100000" fill="hold" grpId="1" nodeType="withEffect">
                                  <p:stCondLst>
                                    <p:cond delay="0"/>
                                  </p:stCondLst>
                                  <p:childTnLst>
                                    <p:animMotion origin="layout" path="M -0.03945 -0.00045 L 4.45749E-6 -3.81752E-6 " pathEditMode="relative" rAng="0" ptsTypes="AA">
                                      <p:cBhvr>
                                        <p:cTn id="88" dur="600" fill="hold"/>
                                        <p:tgtEl>
                                          <p:spTgt spid="42"/>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40" grpId="0"/>
      <p:bldP spid="40" grpId="1"/>
      <p:bldP spid="42" grpId="0"/>
      <p:bldP spid="42" grpId="1"/>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1558" y="4552215"/>
            <a:ext cx="11653523" cy="1267251"/>
          </a:xfrm>
        </p:spPr>
        <p:txBody>
          <a:bodyPr/>
          <a:lstStyle/>
          <a:p>
            <a:pPr algn="ctr"/>
            <a:r>
              <a:rPr lang="en-NZ" dirty="0"/>
              <a:t>More than </a:t>
            </a:r>
            <a:r>
              <a:rPr lang="en-NZ" dirty="0" smtClean="0"/>
              <a:t>110 </a:t>
            </a:r>
            <a:r>
              <a:rPr lang="en-NZ" dirty="0"/>
              <a:t>million devices running Windows 10 – and growing every day. </a:t>
            </a:r>
          </a:p>
        </p:txBody>
      </p:sp>
      <p:sp>
        <p:nvSpPr>
          <p:cNvPr id="3" name="Title 2"/>
          <p:cNvSpPr>
            <a:spLocks noGrp="1"/>
          </p:cNvSpPr>
          <p:nvPr>
            <p:ph type="title"/>
          </p:nvPr>
        </p:nvSpPr>
        <p:spPr>
          <a:xfrm>
            <a:off x="269241" y="1263768"/>
            <a:ext cx="11655840" cy="899537"/>
          </a:xfrm>
        </p:spPr>
        <p:txBody>
          <a:bodyPr/>
          <a:lstStyle/>
          <a:p>
            <a:pPr algn="ctr"/>
            <a:r>
              <a:rPr lang="en-US" sz="16273" dirty="0" smtClean="0"/>
              <a:t>110 Million</a:t>
            </a:r>
            <a:endParaRPr lang="en-NZ" sz="16273" dirty="0"/>
          </a:p>
        </p:txBody>
      </p:sp>
    </p:spTree>
    <p:extLst>
      <p:ext uri="{BB962C8B-B14F-4D97-AF65-F5344CB8AC3E}">
        <p14:creationId xmlns:p14="http://schemas.microsoft.com/office/powerpoint/2010/main" val="258779343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World Map"/>
          <p:cNvSpPr>
            <a:spLocks noEditPoints="1"/>
          </p:cNvSpPr>
          <p:nvPr/>
        </p:nvSpPr>
        <p:spPr bwMode="auto">
          <a:xfrm>
            <a:off x="932731" y="530390"/>
            <a:ext cx="10326539" cy="5797221"/>
          </a:xfrm>
          <a:custGeom>
            <a:avLst/>
            <a:gdLst>
              <a:gd name="T0" fmla="*/ 985 w 1283"/>
              <a:gd name="T1" fmla="*/ 96 h 719"/>
              <a:gd name="T2" fmla="*/ 670 w 1283"/>
              <a:gd name="T3" fmla="*/ 523 h 719"/>
              <a:gd name="T4" fmla="*/ 663 w 1283"/>
              <a:gd name="T5" fmla="*/ 155 h 719"/>
              <a:gd name="T6" fmla="*/ 1044 w 1283"/>
              <a:gd name="T7" fmla="*/ 127 h 719"/>
              <a:gd name="T8" fmla="*/ 647 w 1283"/>
              <a:gd name="T9" fmla="*/ 414 h 719"/>
              <a:gd name="T10" fmla="*/ 1092 w 1283"/>
              <a:gd name="T11" fmla="*/ 468 h 719"/>
              <a:gd name="T12" fmla="*/ 949 w 1283"/>
              <a:gd name="T13" fmla="*/ 291 h 719"/>
              <a:gd name="T14" fmla="*/ 643 w 1283"/>
              <a:gd name="T15" fmla="*/ 196 h 719"/>
              <a:gd name="T16" fmla="*/ 602 w 1283"/>
              <a:gd name="T17" fmla="*/ 223 h 719"/>
              <a:gd name="T18" fmla="*/ 742 w 1283"/>
              <a:gd name="T19" fmla="*/ 141 h 719"/>
              <a:gd name="T20" fmla="*/ 638 w 1283"/>
              <a:gd name="T21" fmla="*/ 418 h 719"/>
              <a:gd name="T22" fmla="*/ 1006 w 1283"/>
              <a:gd name="T23" fmla="*/ 328 h 719"/>
              <a:gd name="T24" fmla="*/ 842 w 1283"/>
              <a:gd name="T25" fmla="*/ 273 h 719"/>
              <a:gd name="T26" fmla="*/ 781 w 1283"/>
              <a:gd name="T27" fmla="*/ 350 h 719"/>
              <a:gd name="T28" fmla="*/ 1131 w 1283"/>
              <a:gd name="T29" fmla="*/ 127 h 719"/>
              <a:gd name="T30" fmla="*/ 652 w 1283"/>
              <a:gd name="T31" fmla="*/ 364 h 719"/>
              <a:gd name="T32" fmla="*/ 720 w 1283"/>
              <a:gd name="T33" fmla="*/ 409 h 719"/>
              <a:gd name="T34" fmla="*/ 856 w 1283"/>
              <a:gd name="T35" fmla="*/ 246 h 719"/>
              <a:gd name="T36" fmla="*/ 774 w 1283"/>
              <a:gd name="T37" fmla="*/ 255 h 719"/>
              <a:gd name="T38" fmla="*/ 615 w 1283"/>
              <a:gd name="T39" fmla="*/ 332 h 719"/>
              <a:gd name="T40" fmla="*/ 686 w 1283"/>
              <a:gd name="T41" fmla="*/ 378 h 719"/>
              <a:gd name="T42" fmla="*/ 731 w 1283"/>
              <a:gd name="T43" fmla="*/ 237 h 719"/>
              <a:gd name="T44" fmla="*/ 711 w 1283"/>
              <a:gd name="T45" fmla="*/ 332 h 719"/>
              <a:gd name="T46" fmla="*/ 1094 w 1283"/>
              <a:gd name="T47" fmla="*/ 478 h 719"/>
              <a:gd name="T48" fmla="*/ 1051 w 1283"/>
              <a:gd name="T49" fmla="*/ 387 h 719"/>
              <a:gd name="T50" fmla="*/ 767 w 1283"/>
              <a:gd name="T51" fmla="*/ 177 h 719"/>
              <a:gd name="T52" fmla="*/ 972 w 1283"/>
              <a:gd name="T53" fmla="*/ 132 h 719"/>
              <a:gd name="T54" fmla="*/ 994 w 1283"/>
              <a:gd name="T55" fmla="*/ 237 h 719"/>
              <a:gd name="T56" fmla="*/ 897 w 1283"/>
              <a:gd name="T57" fmla="*/ 255 h 719"/>
              <a:gd name="T58" fmla="*/ 988 w 1283"/>
              <a:gd name="T59" fmla="*/ 168 h 719"/>
              <a:gd name="T60" fmla="*/ 958 w 1283"/>
              <a:gd name="T61" fmla="*/ 268 h 719"/>
              <a:gd name="T62" fmla="*/ 475 w 1283"/>
              <a:gd name="T63" fmla="*/ 82 h 719"/>
              <a:gd name="T64" fmla="*/ 318 w 1283"/>
              <a:gd name="T65" fmla="*/ 450 h 719"/>
              <a:gd name="T66" fmla="*/ 198 w 1283"/>
              <a:gd name="T67" fmla="*/ 32 h 719"/>
              <a:gd name="T68" fmla="*/ 386 w 1283"/>
              <a:gd name="T69" fmla="*/ 23 h 719"/>
              <a:gd name="T70" fmla="*/ 422 w 1283"/>
              <a:gd name="T71" fmla="*/ 46 h 719"/>
              <a:gd name="T72" fmla="*/ 352 w 1283"/>
              <a:gd name="T73" fmla="*/ 600 h 719"/>
              <a:gd name="T74" fmla="*/ 168 w 1283"/>
              <a:gd name="T75" fmla="*/ 259 h 719"/>
              <a:gd name="T76" fmla="*/ 250 w 1283"/>
              <a:gd name="T77" fmla="*/ 96 h 719"/>
              <a:gd name="T78" fmla="*/ 801 w 1283"/>
              <a:gd name="T79" fmla="*/ 355 h 719"/>
              <a:gd name="T80" fmla="*/ 629 w 1283"/>
              <a:gd name="T81" fmla="*/ 414 h 719"/>
              <a:gd name="T82" fmla="*/ 1169 w 1283"/>
              <a:gd name="T83" fmla="*/ 191 h 719"/>
              <a:gd name="T84" fmla="*/ 988 w 1283"/>
              <a:gd name="T85" fmla="*/ 441 h 719"/>
              <a:gd name="T86" fmla="*/ 91 w 1283"/>
              <a:gd name="T87" fmla="*/ 155 h 719"/>
              <a:gd name="T88" fmla="*/ 59 w 1283"/>
              <a:gd name="T89" fmla="*/ 105 h 719"/>
              <a:gd name="T90" fmla="*/ 447 w 1283"/>
              <a:gd name="T91" fmla="*/ 546 h 719"/>
              <a:gd name="T92" fmla="*/ 277 w 1283"/>
              <a:gd name="T93" fmla="*/ 368 h 719"/>
              <a:gd name="T94" fmla="*/ 563 w 1283"/>
              <a:gd name="T95" fmla="*/ 314 h 719"/>
              <a:gd name="T96" fmla="*/ 722 w 1283"/>
              <a:gd name="T97" fmla="*/ 100 h 719"/>
              <a:gd name="T98" fmla="*/ 409 w 1283"/>
              <a:gd name="T99" fmla="*/ 428 h 719"/>
              <a:gd name="T100" fmla="*/ 372 w 1283"/>
              <a:gd name="T101" fmla="*/ 514 h 719"/>
              <a:gd name="T102" fmla="*/ 1133 w 1283"/>
              <a:gd name="T103" fmla="*/ 605 h 719"/>
              <a:gd name="T104" fmla="*/ 949 w 1283"/>
              <a:gd name="T105" fmla="*/ 373 h 719"/>
              <a:gd name="T106" fmla="*/ 1135 w 1283"/>
              <a:gd name="T107" fmla="*/ 96 h 719"/>
              <a:gd name="T108" fmla="*/ 1087 w 1283"/>
              <a:gd name="T109" fmla="*/ 91 h 719"/>
              <a:gd name="T110" fmla="*/ 431 w 1283"/>
              <a:gd name="T111" fmla="*/ 482 h 719"/>
              <a:gd name="T112" fmla="*/ 293 w 1283"/>
              <a:gd name="T113" fmla="*/ 223 h 719"/>
              <a:gd name="T114" fmla="*/ 184 w 1283"/>
              <a:gd name="T115" fmla="*/ 250 h 719"/>
              <a:gd name="T116" fmla="*/ 277 w 1283"/>
              <a:gd name="T117" fmla="*/ 123 h 719"/>
              <a:gd name="T118" fmla="*/ 370 w 1283"/>
              <a:gd name="T119" fmla="*/ 168 h 719"/>
              <a:gd name="T120" fmla="*/ 404 w 1283"/>
              <a:gd name="T121" fmla="*/ 482 h 719"/>
              <a:gd name="T122" fmla="*/ 184 w 1283"/>
              <a:gd name="T123" fmla="*/ 168 h 719"/>
              <a:gd name="T124" fmla="*/ 232 w 1283"/>
              <a:gd name="T125" fmla="*/ 23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3" h="719">
                <a:moveTo>
                  <a:pt x="829" y="137"/>
                </a:moveTo>
                <a:cubicBezTo>
                  <a:pt x="826" y="137"/>
                  <a:pt x="824" y="139"/>
                  <a:pt x="824" y="141"/>
                </a:cubicBezTo>
                <a:cubicBezTo>
                  <a:pt x="824" y="144"/>
                  <a:pt x="826" y="146"/>
                  <a:pt x="829" y="146"/>
                </a:cubicBezTo>
                <a:cubicBezTo>
                  <a:pt x="831" y="146"/>
                  <a:pt x="833" y="144"/>
                  <a:pt x="833" y="141"/>
                </a:cubicBezTo>
                <a:cubicBezTo>
                  <a:pt x="833" y="139"/>
                  <a:pt x="831" y="137"/>
                  <a:pt x="829" y="137"/>
                </a:cubicBezTo>
                <a:close/>
                <a:moveTo>
                  <a:pt x="783" y="141"/>
                </a:moveTo>
                <a:cubicBezTo>
                  <a:pt x="783" y="144"/>
                  <a:pt x="785" y="146"/>
                  <a:pt x="788" y="146"/>
                </a:cubicBezTo>
                <a:cubicBezTo>
                  <a:pt x="790" y="146"/>
                  <a:pt x="792" y="144"/>
                  <a:pt x="792" y="141"/>
                </a:cubicBezTo>
                <a:cubicBezTo>
                  <a:pt x="792" y="139"/>
                  <a:pt x="790" y="137"/>
                  <a:pt x="788" y="137"/>
                </a:cubicBezTo>
                <a:cubicBezTo>
                  <a:pt x="785" y="137"/>
                  <a:pt x="783" y="139"/>
                  <a:pt x="783" y="141"/>
                </a:cubicBezTo>
                <a:close/>
                <a:moveTo>
                  <a:pt x="822" y="123"/>
                </a:moveTo>
                <a:cubicBezTo>
                  <a:pt x="819" y="123"/>
                  <a:pt x="817" y="125"/>
                  <a:pt x="817" y="127"/>
                </a:cubicBezTo>
                <a:cubicBezTo>
                  <a:pt x="817" y="130"/>
                  <a:pt x="819" y="132"/>
                  <a:pt x="822" y="132"/>
                </a:cubicBezTo>
                <a:cubicBezTo>
                  <a:pt x="824" y="132"/>
                  <a:pt x="826" y="130"/>
                  <a:pt x="826" y="127"/>
                </a:cubicBezTo>
                <a:cubicBezTo>
                  <a:pt x="826" y="125"/>
                  <a:pt x="824" y="123"/>
                  <a:pt x="822" y="123"/>
                </a:cubicBezTo>
                <a:close/>
                <a:moveTo>
                  <a:pt x="815" y="109"/>
                </a:moveTo>
                <a:cubicBezTo>
                  <a:pt x="813" y="109"/>
                  <a:pt x="810" y="111"/>
                  <a:pt x="810" y="114"/>
                </a:cubicBezTo>
                <a:cubicBezTo>
                  <a:pt x="810" y="116"/>
                  <a:pt x="813" y="118"/>
                  <a:pt x="815" y="118"/>
                </a:cubicBezTo>
                <a:cubicBezTo>
                  <a:pt x="818" y="118"/>
                  <a:pt x="820" y="116"/>
                  <a:pt x="820" y="114"/>
                </a:cubicBezTo>
                <a:cubicBezTo>
                  <a:pt x="820" y="111"/>
                  <a:pt x="818" y="109"/>
                  <a:pt x="815" y="109"/>
                </a:cubicBezTo>
                <a:close/>
                <a:moveTo>
                  <a:pt x="804" y="127"/>
                </a:moveTo>
                <a:cubicBezTo>
                  <a:pt x="804" y="130"/>
                  <a:pt x="806" y="132"/>
                  <a:pt x="808" y="132"/>
                </a:cubicBezTo>
                <a:cubicBezTo>
                  <a:pt x="811" y="132"/>
                  <a:pt x="813" y="130"/>
                  <a:pt x="813" y="127"/>
                </a:cubicBezTo>
                <a:cubicBezTo>
                  <a:pt x="813" y="125"/>
                  <a:pt x="811" y="123"/>
                  <a:pt x="808" y="123"/>
                </a:cubicBezTo>
                <a:cubicBezTo>
                  <a:pt x="806" y="123"/>
                  <a:pt x="804" y="125"/>
                  <a:pt x="804" y="127"/>
                </a:cubicBezTo>
                <a:close/>
                <a:moveTo>
                  <a:pt x="801" y="109"/>
                </a:moveTo>
                <a:cubicBezTo>
                  <a:pt x="799" y="109"/>
                  <a:pt x="797" y="111"/>
                  <a:pt x="797" y="114"/>
                </a:cubicBezTo>
                <a:cubicBezTo>
                  <a:pt x="797" y="116"/>
                  <a:pt x="799" y="118"/>
                  <a:pt x="801" y="118"/>
                </a:cubicBezTo>
                <a:cubicBezTo>
                  <a:pt x="804" y="118"/>
                  <a:pt x="806" y="116"/>
                  <a:pt x="806" y="114"/>
                </a:cubicBezTo>
                <a:cubicBezTo>
                  <a:pt x="806" y="111"/>
                  <a:pt x="804" y="109"/>
                  <a:pt x="801" y="109"/>
                </a:cubicBezTo>
                <a:close/>
                <a:moveTo>
                  <a:pt x="790" y="127"/>
                </a:moveTo>
                <a:cubicBezTo>
                  <a:pt x="790" y="130"/>
                  <a:pt x="792" y="132"/>
                  <a:pt x="795" y="132"/>
                </a:cubicBezTo>
                <a:cubicBezTo>
                  <a:pt x="797" y="132"/>
                  <a:pt x="799" y="130"/>
                  <a:pt x="799" y="127"/>
                </a:cubicBezTo>
                <a:cubicBezTo>
                  <a:pt x="799" y="125"/>
                  <a:pt x="797" y="123"/>
                  <a:pt x="795" y="123"/>
                </a:cubicBezTo>
                <a:cubicBezTo>
                  <a:pt x="792" y="123"/>
                  <a:pt x="790" y="125"/>
                  <a:pt x="790" y="127"/>
                </a:cubicBezTo>
                <a:close/>
                <a:moveTo>
                  <a:pt x="860" y="141"/>
                </a:moveTo>
                <a:cubicBezTo>
                  <a:pt x="860" y="139"/>
                  <a:pt x="858" y="137"/>
                  <a:pt x="856" y="137"/>
                </a:cubicBezTo>
                <a:cubicBezTo>
                  <a:pt x="853" y="137"/>
                  <a:pt x="851" y="139"/>
                  <a:pt x="851" y="141"/>
                </a:cubicBezTo>
                <a:cubicBezTo>
                  <a:pt x="851" y="144"/>
                  <a:pt x="853" y="146"/>
                  <a:pt x="856" y="146"/>
                </a:cubicBezTo>
                <a:cubicBezTo>
                  <a:pt x="858" y="146"/>
                  <a:pt x="860" y="144"/>
                  <a:pt x="860" y="141"/>
                </a:cubicBezTo>
                <a:close/>
                <a:moveTo>
                  <a:pt x="856" y="164"/>
                </a:moveTo>
                <a:cubicBezTo>
                  <a:pt x="853" y="164"/>
                  <a:pt x="851" y="166"/>
                  <a:pt x="851" y="168"/>
                </a:cubicBezTo>
                <a:cubicBezTo>
                  <a:pt x="851" y="171"/>
                  <a:pt x="853" y="173"/>
                  <a:pt x="856" y="173"/>
                </a:cubicBezTo>
                <a:cubicBezTo>
                  <a:pt x="858" y="173"/>
                  <a:pt x="860" y="171"/>
                  <a:pt x="860" y="168"/>
                </a:cubicBezTo>
                <a:cubicBezTo>
                  <a:pt x="860" y="166"/>
                  <a:pt x="858" y="164"/>
                  <a:pt x="856" y="164"/>
                </a:cubicBezTo>
                <a:close/>
                <a:moveTo>
                  <a:pt x="863" y="177"/>
                </a:moveTo>
                <a:cubicBezTo>
                  <a:pt x="860" y="177"/>
                  <a:pt x="858" y="179"/>
                  <a:pt x="858" y="182"/>
                </a:cubicBezTo>
                <a:cubicBezTo>
                  <a:pt x="858" y="185"/>
                  <a:pt x="860" y="187"/>
                  <a:pt x="863" y="187"/>
                </a:cubicBezTo>
                <a:cubicBezTo>
                  <a:pt x="865" y="187"/>
                  <a:pt x="867" y="185"/>
                  <a:pt x="867" y="182"/>
                </a:cubicBezTo>
                <a:cubicBezTo>
                  <a:pt x="867" y="179"/>
                  <a:pt x="865" y="177"/>
                  <a:pt x="863" y="177"/>
                </a:cubicBezTo>
                <a:close/>
                <a:moveTo>
                  <a:pt x="849" y="123"/>
                </a:moveTo>
                <a:cubicBezTo>
                  <a:pt x="847" y="123"/>
                  <a:pt x="845" y="125"/>
                  <a:pt x="845" y="127"/>
                </a:cubicBezTo>
                <a:cubicBezTo>
                  <a:pt x="845" y="130"/>
                  <a:pt x="847" y="132"/>
                  <a:pt x="849" y="132"/>
                </a:cubicBezTo>
                <a:cubicBezTo>
                  <a:pt x="852" y="132"/>
                  <a:pt x="854" y="130"/>
                  <a:pt x="854" y="127"/>
                </a:cubicBezTo>
                <a:cubicBezTo>
                  <a:pt x="854" y="125"/>
                  <a:pt x="852" y="123"/>
                  <a:pt x="849" y="123"/>
                </a:cubicBezTo>
                <a:close/>
                <a:moveTo>
                  <a:pt x="831" y="155"/>
                </a:moveTo>
                <a:cubicBezTo>
                  <a:pt x="831" y="157"/>
                  <a:pt x="833" y="159"/>
                  <a:pt x="835" y="159"/>
                </a:cubicBezTo>
                <a:cubicBezTo>
                  <a:pt x="838" y="159"/>
                  <a:pt x="840" y="157"/>
                  <a:pt x="840" y="155"/>
                </a:cubicBezTo>
                <a:cubicBezTo>
                  <a:pt x="840" y="152"/>
                  <a:pt x="838" y="150"/>
                  <a:pt x="835" y="150"/>
                </a:cubicBezTo>
                <a:cubicBezTo>
                  <a:pt x="833" y="150"/>
                  <a:pt x="831" y="152"/>
                  <a:pt x="831" y="155"/>
                </a:cubicBezTo>
                <a:close/>
                <a:moveTo>
                  <a:pt x="838" y="141"/>
                </a:moveTo>
                <a:cubicBezTo>
                  <a:pt x="838" y="144"/>
                  <a:pt x="840" y="146"/>
                  <a:pt x="842" y="146"/>
                </a:cubicBezTo>
                <a:cubicBezTo>
                  <a:pt x="845" y="146"/>
                  <a:pt x="847" y="144"/>
                  <a:pt x="847" y="141"/>
                </a:cubicBezTo>
                <a:cubicBezTo>
                  <a:pt x="847" y="139"/>
                  <a:pt x="845" y="137"/>
                  <a:pt x="842" y="137"/>
                </a:cubicBezTo>
                <a:cubicBezTo>
                  <a:pt x="840" y="137"/>
                  <a:pt x="838" y="139"/>
                  <a:pt x="838" y="141"/>
                </a:cubicBezTo>
                <a:close/>
                <a:moveTo>
                  <a:pt x="736" y="182"/>
                </a:moveTo>
                <a:cubicBezTo>
                  <a:pt x="736" y="185"/>
                  <a:pt x="738" y="187"/>
                  <a:pt x="740" y="187"/>
                </a:cubicBezTo>
                <a:cubicBezTo>
                  <a:pt x="743" y="187"/>
                  <a:pt x="745" y="185"/>
                  <a:pt x="745" y="182"/>
                </a:cubicBezTo>
                <a:cubicBezTo>
                  <a:pt x="745" y="179"/>
                  <a:pt x="743" y="177"/>
                  <a:pt x="740" y="177"/>
                </a:cubicBezTo>
                <a:cubicBezTo>
                  <a:pt x="738" y="177"/>
                  <a:pt x="736" y="179"/>
                  <a:pt x="736" y="182"/>
                </a:cubicBezTo>
                <a:close/>
                <a:moveTo>
                  <a:pt x="715" y="168"/>
                </a:moveTo>
                <a:cubicBezTo>
                  <a:pt x="715" y="171"/>
                  <a:pt x="717" y="173"/>
                  <a:pt x="720" y="173"/>
                </a:cubicBezTo>
                <a:cubicBezTo>
                  <a:pt x="722" y="173"/>
                  <a:pt x="724" y="171"/>
                  <a:pt x="724" y="168"/>
                </a:cubicBezTo>
                <a:cubicBezTo>
                  <a:pt x="724" y="166"/>
                  <a:pt x="722" y="164"/>
                  <a:pt x="720" y="164"/>
                </a:cubicBezTo>
                <a:cubicBezTo>
                  <a:pt x="717" y="164"/>
                  <a:pt x="715" y="166"/>
                  <a:pt x="715" y="168"/>
                </a:cubicBezTo>
                <a:close/>
                <a:moveTo>
                  <a:pt x="727" y="150"/>
                </a:moveTo>
                <a:cubicBezTo>
                  <a:pt x="724" y="150"/>
                  <a:pt x="722" y="152"/>
                  <a:pt x="722" y="155"/>
                </a:cubicBezTo>
                <a:cubicBezTo>
                  <a:pt x="722" y="157"/>
                  <a:pt x="724" y="159"/>
                  <a:pt x="727" y="159"/>
                </a:cubicBezTo>
                <a:cubicBezTo>
                  <a:pt x="729" y="159"/>
                  <a:pt x="731" y="157"/>
                  <a:pt x="731" y="155"/>
                </a:cubicBezTo>
                <a:cubicBezTo>
                  <a:pt x="731" y="152"/>
                  <a:pt x="729" y="150"/>
                  <a:pt x="727" y="150"/>
                </a:cubicBezTo>
                <a:close/>
                <a:moveTo>
                  <a:pt x="776" y="155"/>
                </a:moveTo>
                <a:cubicBezTo>
                  <a:pt x="776" y="157"/>
                  <a:pt x="778" y="159"/>
                  <a:pt x="781" y="159"/>
                </a:cubicBezTo>
                <a:cubicBezTo>
                  <a:pt x="784" y="159"/>
                  <a:pt x="786" y="157"/>
                  <a:pt x="786" y="155"/>
                </a:cubicBezTo>
                <a:cubicBezTo>
                  <a:pt x="786" y="152"/>
                  <a:pt x="784" y="150"/>
                  <a:pt x="781" y="150"/>
                </a:cubicBezTo>
                <a:cubicBezTo>
                  <a:pt x="778" y="150"/>
                  <a:pt x="776" y="152"/>
                  <a:pt x="776" y="155"/>
                </a:cubicBezTo>
                <a:close/>
                <a:moveTo>
                  <a:pt x="706" y="137"/>
                </a:moveTo>
                <a:cubicBezTo>
                  <a:pt x="704" y="137"/>
                  <a:pt x="702" y="139"/>
                  <a:pt x="702" y="141"/>
                </a:cubicBezTo>
                <a:cubicBezTo>
                  <a:pt x="702" y="144"/>
                  <a:pt x="704" y="146"/>
                  <a:pt x="706" y="146"/>
                </a:cubicBezTo>
                <a:cubicBezTo>
                  <a:pt x="709" y="146"/>
                  <a:pt x="711" y="144"/>
                  <a:pt x="711" y="141"/>
                </a:cubicBezTo>
                <a:cubicBezTo>
                  <a:pt x="711" y="139"/>
                  <a:pt x="709" y="137"/>
                  <a:pt x="706" y="137"/>
                </a:cubicBezTo>
                <a:close/>
                <a:moveTo>
                  <a:pt x="733" y="164"/>
                </a:moveTo>
                <a:cubicBezTo>
                  <a:pt x="731" y="164"/>
                  <a:pt x="729" y="166"/>
                  <a:pt x="729" y="168"/>
                </a:cubicBezTo>
                <a:cubicBezTo>
                  <a:pt x="729" y="171"/>
                  <a:pt x="731" y="173"/>
                  <a:pt x="733" y="173"/>
                </a:cubicBezTo>
                <a:cubicBezTo>
                  <a:pt x="736" y="173"/>
                  <a:pt x="738" y="171"/>
                  <a:pt x="738" y="168"/>
                </a:cubicBezTo>
                <a:cubicBezTo>
                  <a:pt x="738" y="166"/>
                  <a:pt x="736" y="164"/>
                  <a:pt x="733" y="164"/>
                </a:cubicBezTo>
                <a:close/>
                <a:moveTo>
                  <a:pt x="699" y="123"/>
                </a:moveTo>
                <a:cubicBezTo>
                  <a:pt x="697" y="123"/>
                  <a:pt x="695" y="125"/>
                  <a:pt x="695" y="127"/>
                </a:cubicBezTo>
                <a:cubicBezTo>
                  <a:pt x="695" y="130"/>
                  <a:pt x="697" y="132"/>
                  <a:pt x="699" y="132"/>
                </a:cubicBezTo>
                <a:cubicBezTo>
                  <a:pt x="702" y="132"/>
                  <a:pt x="704" y="130"/>
                  <a:pt x="704" y="127"/>
                </a:cubicBezTo>
                <a:cubicBezTo>
                  <a:pt x="704" y="125"/>
                  <a:pt x="702" y="123"/>
                  <a:pt x="699" y="123"/>
                </a:cubicBezTo>
                <a:close/>
                <a:moveTo>
                  <a:pt x="708" y="182"/>
                </a:moveTo>
                <a:cubicBezTo>
                  <a:pt x="708" y="185"/>
                  <a:pt x="710" y="187"/>
                  <a:pt x="713" y="187"/>
                </a:cubicBezTo>
                <a:cubicBezTo>
                  <a:pt x="715" y="187"/>
                  <a:pt x="717" y="185"/>
                  <a:pt x="717" y="182"/>
                </a:cubicBezTo>
                <a:cubicBezTo>
                  <a:pt x="717" y="179"/>
                  <a:pt x="715" y="177"/>
                  <a:pt x="713" y="177"/>
                </a:cubicBezTo>
                <a:cubicBezTo>
                  <a:pt x="710" y="177"/>
                  <a:pt x="708" y="179"/>
                  <a:pt x="708" y="182"/>
                </a:cubicBezTo>
                <a:close/>
                <a:moveTo>
                  <a:pt x="767" y="150"/>
                </a:moveTo>
                <a:cubicBezTo>
                  <a:pt x="765" y="150"/>
                  <a:pt x="763" y="152"/>
                  <a:pt x="763" y="155"/>
                </a:cubicBezTo>
                <a:cubicBezTo>
                  <a:pt x="763" y="157"/>
                  <a:pt x="765" y="159"/>
                  <a:pt x="767" y="159"/>
                </a:cubicBezTo>
                <a:cubicBezTo>
                  <a:pt x="770" y="159"/>
                  <a:pt x="772" y="157"/>
                  <a:pt x="772" y="155"/>
                </a:cubicBezTo>
                <a:cubicBezTo>
                  <a:pt x="772" y="152"/>
                  <a:pt x="770" y="150"/>
                  <a:pt x="767" y="150"/>
                </a:cubicBezTo>
                <a:close/>
                <a:moveTo>
                  <a:pt x="756" y="168"/>
                </a:moveTo>
                <a:cubicBezTo>
                  <a:pt x="756" y="171"/>
                  <a:pt x="758" y="173"/>
                  <a:pt x="761" y="173"/>
                </a:cubicBezTo>
                <a:cubicBezTo>
                  <a:pt x="763" y="173"/>
                  <a:pt x="765" y="171"/>
                  <a:pt x="765" y="168"/>
                </a:cubicBezTo>
                <a:cubicBezTo>
                  <a:pt x="765" y="166"/>
                  <a:pt x="763" y="164"/>
                  <a:pt x="761" y="164"/>
                </a:cubicBezTo>
                <a:cubicBezTo>
                  <a:pt x="758" y="164"/>
                  <a:pt x="756" y="166"/>
                  <a:pt x="756" y="168"/>
                </a:cubicBezTo>
                <a:close/>
                <a:moveTo>
                  <a:pt x="770" y="168"/>
                </a:moveTo>
                <a:cubicBezTo>
                  <a:pt x="770" y="171"/>
                  <a:pt x="772" y="173"/>
                  <a:pt x="774" y="173"/>
                </a:cubicBezTo>
                <a:cubicBezTo>
                  <a:pt x="777" y="173"/>
                  <a:pt x="779" y="171"/>
                  <a:pt x="779" y="168"/>
                </a:cubicBezTo>
                <a:cubicBezTo>
                  <a:pt x="779" y="166"/>
                  <a:pt x="777" y="164"/>
                  <a:pt x="774" y="164"/>
                </a:cubicBezTo>
                <a:cubicBezTo>
                  <a:pt x="772" y="164"/>
                  <a:pt x="770" y="166"/>
                  <a:pt x="770" y="168"/>
                </a:cubicBezTo>
                <a:close/>
                <a:moveTo>
                  <a:pt x="865" y="196"/>
                </a:moveTo>
                <a:cubicBezTo>
                  <a:pt x="865" y="198"/>
                  <a:pt x="867" y="200"/>
                  <a:pt x="869" y="200"/>
                </a:cubicBezTo>
                <a:cubicBezTo>
                  <a:pt x="872" y="200"/>
                  <a:pt x="874" y="198"/>
                  <a:pt x="874" y="196"/>
                </a:cubicBezTo>
                <a:cubicBezTo>
                  <a:pt x="874" y="193"/>
                  <a:pt x="872" y="191"/>
                  <a:pt x="869" y="191"/>
                </a:cubicBezTo>
                <a:cubicBezTo>
                  <a:pt x="867" y="191"/>
                  <a:pt x="865" y="193"/>
                  <a:pt x="865" y="196"/>
                </a:cubicBezTo>
                <a:close/>
                <a:moveTo>
                  <a:pt x="742" y="168"/>
                </a:moveTo>
                <a:cubicBezTo>
                  <a:pt x="742" y="171"/>
                  <a:pt x="744" y="173"/>
                  <a:pt x="747" y="173"/>
                </a:cubicBezTo>
                <a:cubicBezTo>
                  <a:pt x="749" y="173"/>
                  <a:pt x="751" y="171"/>
                  <a:pt x="751" y="168"/>
                </a:cubicBezTo>
                <a:cubicBezTo>
                  <a:pt x="751" y="166"/>
                  <a:pt x="749" y="164"/>
                  <a:pt x="747" y="164"/>
                </a:cubicBezTo>
                <a:cubicBezTo>
                  <a:pt x="744" y="164"/>
                  <a:pt x="742" y="166"/>
                  <a:pt x="742" y="168"/>
                </a:cubicBezTo>
                <a:close/>
                <a:moveTo>
                  <a:pt x="754" y="150"/>
                </a:moveTo>
                <a:cubicBezTo>
                  <a:pt x="751" y="150"/>
                  <a:pt x="749" y="152"/>
                  <a:pt x="749" y="155"/>
                </a:cubicBezTo>
                <a:cubicBezTo>
                  <a:pt x="749" y="157"/>
                  <a:pt x="751" y="159"/>
                  <a:pt x="754" y="159"/>
                </a:cubicBezTo>
                <a:cubicBezTo>
                  <a:pt x="756" y="159"/>
                  <a:pt x="758" y="157"/>
                  <a:pt x="758" y="155"/>
                </a:cubicBezTo>
                <a:cubicBezTo>
                  <a:pt x="758" y="152"/>
                  <a:pt x="756" y="150"/>
                  <a:pt x="754" y="150"/>
                </a:cubicBezTo>
                <a:close/>
                <a:moveTo>
                  <a:pt x="913" y="127"/>
                </a:moveTo>
                <a:cubicBezTo>
                  <a:pt x="913" y="130"/>
                  <a:pt x="915" y="132"/>
                  <a:pt x="917" y="132"/>
                </a:cubicBezTo>
                <a:cubicBezTo>
                  <a:pt x="920" y="132"/>
                  <a:pt x="922" y="130"/>
                  <a:pt x="922" y="127"/>
                </a:cubicBezTo>
                <a:cubicBezTo>
                  <a:pt x="922" y="125"/>
                  <a:pt x="920" y="123"/>
                  <a:pt x="917" y="123"/>
                </a:cubicBezTo>
                <a:cubicBezTo>
                  <a:pt x="915" y="123"/>
                  <a:pt x="913" y="125"/>
                  <a:pt x="913" y="127"/>
                </a:cubicBezTo>
                <a:close/>
                <a:moveTo>
                  <a:pt x="985" y="96"/>
                </a:moveTo>
                <a:cubicBezTo>
                  <a:pt x="983" y="96"/>
                  <a:pt x="981" y="98"/>
                  <a:pt x="981" y="100"/>
                </a:cubicBezTo>
                <a:cubicBezTo>
                  <a:pt x="981" y="103"/>
                  <a:pt x="983" y="105"/>
                  <a:pt x="985" y="105"/>
                </a:cubicBezTo>
                <a:cubicBezTo>
                  <a:pt x="988" y="105"/>
                  <a:pt x="990" y="103"/>
                  <a:pt x="990" y="100"/>
                </a:cubicBezTo>
                <a:cubicBezTo>
                  <a:pt x="990" y="98"/>
                  <a:pt x="988" y="96"/>
                  <a:pt x="985" y="96"/>
                </a:cubicBezTo>
                <a:close/>
                <a:moveTo>
                  <a:pt x="1006" y="109"/>
                </a:moveTo>
                <a:cubicBezTo>
                  <a:pt x="1003" y="109"/>
                  <a:pt x="1001" y="111"/>
                  <a:pt x="1001" y="114"/>
                </a:cubicBezTo>
                <a:cubicBezTo>
                  <a:pt x="1001" y="116"/>
                  <a:pt x="1003" y="118"/>
                  <a:pt x="1006" y="118"/>
                </a:cubicBezTo>
                <a:cubicBezTo>
                  <a:pt x="1008" y="118"/>
                  <a:pt x="1010" y="116"/>
                  <a:pt x="1010" y="114"/>
                </a:cubicBezTo>
                <a:cubicBezTo>
                  <a:pt x="1010" y="111"/>
                  <a:pt x="1008" y="109"/>
                  <a:pt x="1006" y="109"/>
                </a:cubicBezTo>
                <a:close/>
                <a:moveTo>
                  <a:pt x="999" y="96"/>
                </a:moveTo>
                <a:cubicBezTo>
                  <a:pt x="996" y="96"/>
                  <a:pt x="994" y="98"/>
                  <a:pt x="994" y="100"/>
                </a:cubicBezTo>
                <a:cubicBezTo>
                  <a:pt x="994" y="103"/>
                  <a:pt x="996" y="105"/>
                  <a:pt x="999" y="105"/>
                </a:cubicBezTo>
                <a:cubicBezTo>
                  <a:pt x="1001" y="105"/>
                  <a:pt x="1003" y="103"/>
                  <a:pt x="1003" y="100"/>
                </a:cubicBezTo>
                <a:cubicBezTo>
                  <a:pt x="1003" y="98"/>
                  <a:pt x="1001" y="96"/>
                  <a:pt x="999" y="96"/>
                </a:cubicBezTo>
                <a:close/>
                <a:moveTo>
                  <a:pt x="988" y="114"/>
                </a:moveTo>
                <a:cubicBezTo>
                  <a:pt x="988" y="116"/>
                  <a:pt x="990" y="118"/>
                  <a:pt x="992" y="118"/>
                </a:cubicBezTo>
                <a:cubicBezTo>
                  <a:pt x="995" y="118"/>
                  <a:pt x="997" y="116"/>
                  <a:pt x="997" y="114"/>
                </a:cubicBezTo>
                <a:cubicBezTo>
                  <a:pt x="997" y="111"/>
                  <a:pt x="995" y="109"/>
                  <a:pt x="992" y="109"/>
                </a:cubicBezTo>
                <a:cubicBezTo>
                  <a:pt x="990" y="109"/>
                  <a:pt x="988" y="111"/>
                  <a:pt x="988" y="114"/>
                </a:cubicBezTo>
                <a:close/>
                <a:moveTo>
                  <a:pt x="978" y="82"/>
                </a:moveTo>
                <a:cubicBezTo>
                  <a:pt x="976" y="82"/>
                  <a:pt x="974" y="84"/>
                  <a:pt x="974" y="87"/>
                </a:cubicBezTo>
                <a:cubicBezTo>
                  <a:pt x="974" y="89"/>
                  <a:pt x="976" y="91"/>
                  <a:pt x="978" y="91"/>
                </a:cubicBezTo>
                <a:cubicBezTo>
                  <a:pt x="981" y="91"/>
                  <a:pt x="983" y="89"/>
                  <a:pt x="983" y="87"/>
                </a:cubicBezTo>
                <a:cubicBezTo>
                  <a:pt x="983" y="84"/>
                  <a:pt x="981" y="82"/>
                  <a:pt x="978" y="82"/>
                </a:cubicBezTo>
                <a:close/>
                <a:moveTo>
                  <a:pt x="965" y="82"/>
                </a:moveTo>
                <a:cubicBezTo>
                  <a:pt x="962" y="82"/>
                  <a:pt x="960" y="84"/>
                  <a:pt x="960" y="87"/>
                </a:cubicBezTo>
                <a:cubicBezTo>
                  <a:pt x="960" y="89"/>
                  <a:pt x="962" y="91"/>
                  <a:pt x="965" y="91"/>
                </a:cubicBezTo>
                <a:cubicBezTo>
                  <a:pt x="967" y="91"/>
                  <a:pt x="969" y="89"/>
                  <a:pt x="969" y="87"/>
                </a:cubicBezTo>
                <a:cubicBezTo>
                  <a:pt x="969" y="84"/>
                  <a:pt x="967" y="82"/>
                  <a:pt x="965" y="82"/>
                </a:cubicBezTo>
                <a:close/>
                <a:moveTo>
                  <a:pt x="872" y="182"/>
                </a:moveTo>
                <a:cubicBezTo>
                  <a:pt x="872" y="185"/>
                  <a:pt x="874" y="187"/>
                  <a:pt x="876" y="187"/>
                </a:cubicBezTo>
                <a:cubicBezTo>
                  <a:pt x="879" y="187"/>
                  <a:pt x="881" y="185"/>
                  <a:pt x="881" y="182"/>
                </a:cubicBezTo>
                <a:cubicBezTo>
                  <a:pt x="881" y="179"/>
                  <a:pt x="879" y="177"/>
                  <a:pt x="876" y="177"/>
                </a:cubicBezTo>
                <a:cubicBezTo>
                  <a:pt x="874" y="177"/>
                  <a:pt x="872" y="179"/>
                  <a:pt x="872" y="182"/>
                </a:cubicBezTo>
                <a:close/>
                <a:moveTo>
                  <a:pt x="1053" y="123"/>
                </a:moveTo>
                <a:cubicBezTo>
                  <a:pt x="1051" y="123"/>
                  <a:pt x="1049" y="125"/>
                  <a:pt x="1049" y="127"/>
                </a:cubicBezTo>
                <a:cubicBezTo>
                  <a:pt x="1049" y="130"/>
                  <a:pt x="1051" y="132"/>
                  <a:pt x="1053" y="132"/>
                </a:cubicBezTo>
                <a:cubicBezTo>
                  <a:pt x="1056" y="132"/>
                  <a:pt x="1058" y="130"/>
                  <a:pt x="1058" y="127"/>
                </a:cubicBezTo>
                <a:cubicBezTo>
                  <a:pt x="1058" y="125"/>
                  <a:pt x="1056" y="123"/>
                  <a:pt x="1053" y="123"/>
                </a:cubicBezTo>
                <a:close/>
                <a:moveTo>
                  <a:pt x="1042" y="141"/>
                </a:moveTo>
                <a:cubicBezTo>
                  <a:pt x="1042" y="144"/>
                  <a:pt x="1044" y="146"/>
                  <a:pt x="1047" y="146"/>
                </a:cubicBezTo>
                <a:cubicBezTo>
                  <a:pt x="1049" y="146"/>
                  <a:pt x="1051" y="144"/>
                  <a:pt x="1051" y="141"/>
                </a:cubicBezTo>
                <a:cubicBezTo>
                  <a:pt x="1051" y="139"/>
                  <a:pt x="1049" y="137"/>
                  <a:pt x="1047" y="137"/>
                </a:cubicBezTo>
                <a:cubicBezTo>
                  <a:pt x="1044" y="137"/>
                  <a:pt x="1042" y="139"/>
                  <a:pt x="1042" y="141"/>
                </a:cubicBezTo>
                <a:close/>
                <a:moveTo>
                  <a:pt x="1028" y="141"/>
                </a:moveTo>
                <a:cubicBezTo>
                  <a:pt x="1028" y="144"/>
                  <a:pt x="1030" y="146"/>
                  <a:pt x="1033" y="146"/>
                </a:cubicBezTo>
                <a:cubicBezTo>
                  <a:pt x="1035" y="146"/>
                  <a:pt x="1037" y="144"/>
                  <a:pt x="1037" y="141"/>
                </a:cubicBezTo>
                <a:cubicBezTo>
                  <a:pt x="1037" y="139"/>
                  <a:pt x="1035" y="137"/>
                  <a:pt x="1033" y="137"/>
                </a:cubicBezTo>
                <a:cubicBezTo>
                  <a:pt x="1030" y="137"/>
                  <a:pt x="1028" y="139"/>
                  <a:pt x="1028" y="141"/>
                </a:cubicBezTo>
                <a:close/>
                <a:moveTo>
                  <a:pt x="1015" y="141"/>
                </a:moveTo>
                <a:cubicBezTo>
                  <a:pt x="1015" y="144"/>
                  <a:pt x="1017" y="146"/>
                  <a:pt x="1019" y="146"/>
                </a:cubicBezTo>
                <a:cubicBezTo>
                  <a:pt x="1022" y="146"/>
                  <a:pt x="1024" y="144"/>
                  <a:pt x="1024" y="141"/>
                </a:cubicBezTo>
                <a:cubicBezTo>
                  <a:pt x="1024" y="139"/>
                  <a:pt x="1022" y="137"/>
                  <a:pt x="1019" y="137"/>
                </a:cubicBezTo>
                <a:cubicBezTo>
                  <a:pt x="1017" y="137"/>
                  <a:pt x="1015" y="139"/>
                  <a:pt x="1015" y="141"/>
                </a:cubicBezTo>
                <a:close/>
                <a:moveTo>
                  <a:pt x="1013" y="123"/>
                </a:moveTo>
                <a:cubicBezTo>
                  <a:pt x="1010" y="123"/>
                  <a:pt x="1008" y="125"/>
                  <a:pt x="1008" y="127"/>
                </a:cubicBezTo>
                <a:cubicBezTo>
                  <a:pt x="1008" y="130"/>
                  <a:pt x="1010" y="132"/>
                  <a:pt x="1013" y="132"/>
                </a:cubicBezTo>
                <a:cubicBezTo>
                  <a:pt x="1015" y="132"/>
                  <a:pt x="1017" y="130"/>
                  <a:pt x="1017" y="127"/>
                </a:cubicBezTo>
                <a:cubicBezTo>
                  <a:pt x="1017" y="125"/>
                  <a:pt x="1015" y="123"/>
                  <a:pt x="1013" y="123"/>
                </a:cubicBezTo>
                <a:close/>
                <a:moveTo>
                  <a:pt x="1026" y="123"/>
                </a:moveTo>
                <a:cubicBezTo>
                  <a:pt x="1024" y="123"/>
                  <a:pt x="1022" y="125"/>
                  <a:pt x="1022" y="127"/>
                </a:cubicBezTo>
                <a:cubicBezTo>
                  <a:pt x="1022" y="130"/>
                  <a:pt x="1024" y="132"/>
                  <a:pt x="1026" y="132"/>
                </a:cubicBezTo>
                <a:cubicBezTo>
                  <a:pt x="1029" y="132"/>
                  <a:pt x="1031" y="130"/>
                  <a:pt x="1031" y="127"/>
                </a:cubicBezTo>
                <a:cubicBezTo>
                  <a:pt x="1031" y="125"/>
                  <a:pt x="1029" y="123"/>
                  <a:pt x="1026" y="123"/>
                </a:cubicBezTo>
                <a:close/>
                <a:moveTo>
                  <a:pt x="967" y="100"/>
                </a:moveTo>
                <a:cubicBezTo>
                  <a:pt x="967" y="103"/>
                  <a:pt x="969" y="105"/>
                  <a:pt x="972" y="105"/>
                </a:cubicBezTo>
                <a:cubicBezTo>
                  <a:pt x="974" y="105"/>
                  <a:pt x="976" y="103"/>
                  <a:pt x="976" y="100"/>
                </a:cubicBezTo>
                <a:cubicBezTo>
                  <a:pt x="976" y="98"/>
                  <a:pt x="974" y="96"/>
                  <a:pt x="972" y="96"/>
                </a:cubicBezTo>
                <a:cubicBezTo>
                  <a:pt x="969" y="96"/>
                  <a:pt x="967" y="98"/>
                  <a:pt x="967" y="100"/>
                </a:cubicBezTo>
                <a:close/>
                <a:moveTo>
                  <a:pt x="892" y="141"/>
                </a:moveTo>
                <a:cubicBezTo>
                  <a:pt x="892" y="144"/>
                  <a:pt x="894" y="146"/>
                  <a:pt x="897" y="146"/>
                </a:cubicBezTo>
                <a:cubicBezTo>
                  <a:pt x="899" y="146"/>
                  <a:pt x="901" y="144"/>
                  <a:pt x="901" y="141"/>
                </a:cubicBezTo>
                <a:cubicBezTo>
                  <a:pt x="901" y="139"/>
                  <a:pt x="899" y="137"/>
                  <a:pt x="897" y="137"/>
                </a:cubicBezTo>
                <a:cubicBezTo>
                  <a:pt x="894" y="137"/>
                  <a:pt x="892" y="139"/>
                  <a:pt x="892" y="141"/>
                </a:cubicBezTo>
                <a:close/>
                <a:moveTo>
                  <a:pt x="954" y="100"/>
                </a:moveTo>
                <a:cubicBezTo>
                  <a:pt x="954" y="103"/>
                  <a:pt x="956" y="105"/>
                  <a:pt x="958" y="105"/>
                </a:cubicBezTo>
                <a:cubicBezTo>
                  <a:pt x="961" y="105"/>
                  <a:pt x="963" y="103"/>
                  <a:pt x="963" y="100"/>
                </a:cubicBezTo>
                <a:cubicBezTo>
                  <a:pt x="963" y="98"/>
                  <a:pt x="961" y="96"/>
                  <a:pt x="958" y="96"/>
                </a:cubicBezTo>
                <a:cubicBezTo>
                  <a:pt x="956" y="96"/>
                  <a:pt x="954" y="98"/>
                  <a:pt x="954" y="100"/>
                </a:cubicBezTo>
                <a:close/>
                <a:moveTo>
                  <a:pt x="904" y="123"/>
                </a:moveTo>
                <a:cubicBezTo>
                  <a:pt x="901" y="123"/>
                  <a:pt x="899" y="125"/>
                  <a:pt x="899" y="127"/>
                </a:cubicBezTo>
                <a:cubicBezTo>
                  <a:pt x="899" y="130"/>
                  <a:pt x="901" y="132"/>
                  <a:pt x="904" y="132"/>
                </a:cubicBezTo>
                <a:cubicBezTo>
                  <a:pt x="906" y="132"/>
                  <a:pt x="908" y="130"/>
                  <a:pt x="908" y="127"/>
                </a:cubicBezTo>
                <a:cubicBezTo>
                  <a:pt x="908" y="125"/>
                  <a:pt x="906" y="123"/>
                  <a:pt x="904" y="123"/>
                </a:cubicBezTo>
                <a:close/>
                <a:moveTo>
                  <a:pt x="654" y="182"/>
                </a:moveTo>
                <a:cubicBezTo>
                  <a:pt x="654" y="185"/>
                  <a:pt x="656" y="187"/>
                  <a:pt x="658" y="187"/>
                </a:cubicBezTo>
                <a:cubicBezTo>
                  <a:pt x="661" y="187"/>
                  <a:pt x="663" y="185"/>
                  <a:pt x="663" y="182"/>
                </a:cubicBezTo>
                <a:cubicBezTo>
                  <a:pt x="663" y="179"/>
                  <a:pt x="661" y="177"/>
                  <a:pt x="658" y="177"/>
                </a:cubicBezTo>
                <a:cubicBezTo>
                  <a:pt x="656" y="177"/>
                  <a:pt x="654" y="179"/>
                  <a:pt x="654" y="182"/>
                </a:cubicBezTo>
                <a:close/>
                <a:moveTo>
                  <a:pt x="879" y="168"/>
                </a:moveTo>
                <a:cubicBezTo>
                  <a:pt x="879" y="171"/>
                  <a:pt x="881" y="173"/>
                  <a:pt x="883" y="173"/>
                </a:cubicBezTo>
                <a:cubicBezTo>
                  <a:pt x="886" y="173"/>
                  <a:pt x="888" y="171"/>
                  <a:pt x="888" y="168"/>
                </a:cubicBezTo>
                <a:cubicBezTo>
                  <a:pt x="888" y="166"/>
                  <a:pt x="886" y="164"/>
                  <a:pt x="883" y="164"/>
                </a:cubicBezTo>
                <a:cubicBezTo>
                  <a:pt x="881" y="164"/>
                  <a:pt x="879" y="166"/>
                  <a:pt x="879" y="168"/>
                </a:cubicBezTo>
                <a:close/>
                <a:moveTo>
                  <a:pt x="906" y="141"/>
                </a:moveTo>
                <a:cubicBezTo>
                  <a:pt x="906" y="144"/>
                  <a:pt x="908" y="146"/>
                  <a:pt x="910" y="146"/>
                </a:cubicBezTo>
                <a:cubicBezTo>
                  <a:pt x="913" y="146"/>
                  <a:pt x="915" y="144"/>
                  <a:pt x="915" y="141"/>
                </a:cubicBezTo>
                <a:cubicBezTo>
                  <a:pt x="915" y="139"/>
                  <a:pt x="913" y="137"/>
                  <a:pt x="910" y="137"/>
                </a:cubicBezTo>
                <a:cubicBezTo>
                  <a:pt x="908" y="137"/>
                  <a:pt x="906" y="139"/>
                  <a:pt x="906" y="141"/>
                </a:cubicBezTo>
                <a:close/>
                <a:moveTo>
                  <a:pt x="890" y="123"/>
                </a:moveTo>
                <a:cubicBezTo>
                  <a:pt x="887" y="123"/>
                  <a:pt x="885" y="125"/>
                  <a:pt x="885" y="127"/>
                </a:cubicBezTo>
                <a:cubicBezTo>
                  <a:pt x="885" y="130"/>
                  <a:pt x="887" y="132"/>
                  <a:pt x="890" y="132"/>
                </a:cubicBezTo>
                <a:cubicBezTo>
                  <a:pt x="892" y="132"/>
                  <a:pt x="894" y="130"/>
                  <a:pt x="894" y="127"/>
                </a:cubicBezTo>
                <a:cubicBezTo>
                  <a:pt x="894" y="125"/>
                  <a:pt x="892" y="123"/>
                  <a:pt x="890" y="123"/>
                </a:cubicBezTo>
                <a:close/>
                <a:moveTo>
                  <a:pt x="940" y="100"/>
                </a:moveTo>
                <a:cubicBezTo>
                  <a:pt x="940" y="103"/>
                  <a:pt x="942" y="105"/>
                  <a:pt x="944" y="105"/>
                </a:cubicBezTo>
                <a:cubicBezTo>
                  <a:pt x="947" y="105"/>
                  <a:pt x="949" y="103"/>
                  <a:pt x="949" y="100"/>
                </a:cubicBezTo>
                <a:cubicBezTo>
                  <a:pt x="949" y="98"/>
                  <a:pt x="947" y="96"/>
                  <a:pt x="944" y="96"/>
                </a:cubicBezTo>
                <a:cubicBezTo>
                  <a:pt x="942" y="96"/>
                  <a:pt x="940" y="98"/>
                  <a:pt x="940" y="100"/>
                </a:cubicBezTo>
                <a:close/>
                <a:moveTo>
                  <a:pt x="938" y="82"/>
                </a:moveTo>
                <a:cubicBezTo>
                  <a:pt x="935" y="82"/>
                  <a:pt x="933" y="84"/>
                  <a:pt x="933" y="87"/>
                </a:cubicBezTo>
                <a:cubicBezTo>
                  <a:pt x="933" y="89"/>
                  <a:pt x="935" y="91"/>
                  <a:pt x="938" y="91"/>
                </a:cubicBezTo>
                <a:cubicBezTo>
                  <a:pt x="940" y="91"/>
                  <a:pt x="942" y="89"/>
                  <a:pt x="942" y="87"/>
                </a:cubicBezTo>
                <a:cubicBezTo>
                  <a:pt x="942" y="84"/>
                  <a:pt x="940" y="82"/>
                  <a:pt x="938" y="82"/>
                </a:cubicBezTo>
                <a:close/>
                <a:moveTo>
                  <a:pt x="951" y="82"/>
                </a:moveTo>
                <a:cubicBezTo>
                  <a:pt x="949" y="82"/>
                  <a:pt x="947" y="84"/>
                  <a:pt x="947" y="87"/>
                </a:cubicBezTo>
                <a:cubicBezTo>
                  <a:pt x="947" y="89"/>
                  <a:pt x="949" y="91"/>
                  <a:pt x="951" y="91"/>
                </a:cubicBezTo>
                <a:cubicBezTo>
                  <a:pt x="954" y="91"/>
                  <a:pt x="956" y="89"/>
                  <a:pt x="956" y="87"/>
                </a:cubicBezTo>
                <a:cubicBezTo>
                  <a:pt x="956" y="84"/>
                  <a:pt x="954" y="82"/>
                  <a:pt x="951" y="82"/>
                </a:cubicBezTo>
                <a:close/>
                <a:moveTo>
                  <a:pt x="688" y="141"/>
                </a:moveTo>
                <a:cubicBezTo>
                  <a:pt x="688" y="144"/>
                  <a:pt x="690" y="146"/>
                  <a:pt x="692" y="146"/>
                </a:cubicBezTo>
                <a:cubicBezTo>
                  <a:pt x="695" y="146"/>
                  <a:pt x="697" y="144"/>
                  <a:pt x="697" y="141"/>
                </a:cubicBezTo>
                <a:cubicBezTo>
                  <a:pt x="697" y="139"/>
                  <a:pt x="695" y="137"/>
                  <a:pt x="692" y="137"/>
                </a:cubicBezTo>
                <a:cubicBezTo>
                  <a:pt x="690" y="137"/>
                  <a:pt x="688" y="139"/>
                  <a:pt x="688" y="141"/>
                </a:cubicBezTo>
                <a:close/>
                <a:moveTo>
                  <a:pt x="926" y="100"/>
                </a:moveTo>
                <a:cubicBezTo>
                  <a:pt x="926" y="103"/>
                  <a:pt x="928" y="105"/>
                  <a:pt x="931" y="105"/>
                </a:cubicBezTo>
                <a:cubicBezTo>
                  <a:pt x="933" y="105"/>
                  <a:pt x="935" y="103"/>
                  <a:pt x="935" y="100"/>
                </a:cubicBezTo>
                <a:cubicBezTo>
                  <a:pt x="935" y="98"/>
                  <a:pt x="933" y="96"/>
                  <a:pt x="931" y="96"/>
                </a:cubicBezTo>
                <a:cubicBezTo>
                  <a:pt x="928" y="96"/>
                  <a:pt x="926" y="98"/>
                  <a:pt x="926" y="100"/>
                </a:cubicBezTo>
                <a:close/>
                <a:moveTo>
                  <a:pt x="919" y="114"/>
                </a:moveTo>
                <a:cubicBezTo>
                  <a:pt x="919" y="116"/>
                  <a:pt x="921" y="118"/>
                  <a:pt x="924" y="118"/>
                </a:cubicBezTo>
                <a:cubicBezTo>
                  <a:pt x="926" y="118"/>
                  <a:pt x="929" y="116"/>
                  <a:pt x="929" y="114"/>
                </a:cubicBezTo>
                <a:cubicBezTo>
                  <a:pt x="929" y="111"/>
                  <a:pt x="926" y="109"/>
                  <a:pt x="924" y="109"/>
                </a:cubicBezTo>
                <a:cubicBezTo>
                  <a:pt x="921" y="109"/>
                  <a:pt x="919" y="111"/>
                  <a:pt x="919" y="114"/>
                </a:cubicBezTo>
                <a:close/>
                <a:moveTo>
                  <a:pt x="779" y="359"/>
                </a:moveTo>
                <a:cubicBezTo>
                  <a:pt x="779" y="357"/>
                  <a:pt x="777" y="355"/>
                  <a:pt x="774" y="355"/>
                </a:cubicBezTo>
                <a:cubicBezTo>
                  <a:pt x="772" y="355"/>
                  <a:pt x="770" y="357"/>
                  <a:pt x="770" y="359"/>
                </a:cubicBezTo>
                <a:cubicBezTo>
                  <a:pt x="770" y="362"/>
                  <a:pt x="772" y="364"/>
                  <a:pt x="774" y="364"/>
                </a:cubicBezTo>
                <a:cubicBezTo>
                  <a:pt x="777" y="364"/>
                  <a:pt x="779" y="362"/>
                  <a:pt x="779" y="359"/>
                </a:cubicBezTo>
                <a:close/>
                <a:moveTo>
                  <a:pt x="665" y="528"/>
                </a:moveTo>
                <a:cubicBezTo>
                  <a:pt x="668" y="528"/>
                  <a:pt x="670" y="526"/>
                  <a:pt x="670" y="523"/>
                </a:cubicBezTo>
                <a:cubicBezTo>
                  <a:pt x="670" y="521"/>
                  <a:pt x="668" y="519"/>
                  <a:pt x="665" y="519"/>
                </a:cubicBezTo>
                <a:cubicBezTo>
                  <a:pt x="663" y="519"/>
                  <a:pt x="661" y="521"/>
                  <a:pt x="661" y="523"/>
                </a:cubicBezTo>
                <a:cubicBezTo>
                  <a:pt x="661" y="526"/>
                  <a:pt x="663" y="528"/>
                  <a:pt x="665" y="528"/>
                </a:cubicBezTo>
                <a:close/>
                <a:moveTo>
                  <a:pt x="654" y="509"/>
                </a:moveTo>
                <a:cubicBezTo>
                  <a:pt x="654" y="512"/>
                  <a:pt x="656" y="514"/>
                  <a:pt x="658" y="514"/>
                </a:cubicBezTo>
                <a:cubicBezTo>
                  <a:pt x="661" y="514"/>
                  <a:pt x="663" y="512"/>
                  <a:pt x="663" y="509"/>
                </a:cubicBezTo>
                <a:cubicBezTo>
                  <a:pt x="663" y="507"/>
                  <a:pt x="661" y="505"/>
                  <a:pt x="658" y="505"/>
                </a:cubicBezTo>
                <a:cubicBezTo>
                  <a:pt x="656" y="505"/>
                  <a:pt x="654" y="507"/>
                  <a:pt x="654" y="509"/>
                </a:cubicBezTo>
                <a:close/>
                <a:moveTo>
                  <a:pt x="654" y="482"/>
                </a:moveTo>
                <a:cubicBezTo>
                  <a:pt x="654" y="485"/>
                  <a:pt x="656" y="487"/>
                  <a:pt x="658" y="487"/>
                </a:cubicBezTo>
                <a:cubicBezTo>
                  <a:pt x="661" y="487"/>
                  <a:pt x="663" y="485"/>
                  <a:pt x="663" y="482"/>
                </a:cubicBezTo>
                <a:cubicBezTo>
                  <a:pt x="663" y="480"/>
                  <a:pt x="661" y="478"/>
                  <a:pt x="658" y="478"/>
                </a:cubicBezTo>
                <a:cubicBezTo>
                  <a:pt x="656" y="478"/>
                  <a:pt x="654" y="480"/>
                  <a:pt x="654" y="482"/>
                </a:cubicBezTo>
                <a:close/>
                <a:moveTo>
                  <a:pt x="704" y="537"/>
                </a:moveTo>
                <a:cubicBezTo>
                  <a:pt x="704" y="534"/>
                  <a:pt x="702" y="532"/>
                  <a:pt x="699" y="532"/>
                </a:cubicBezTo>
                <a:cubicBezTo>
                  <a:pt x="697" y="532"/>
                  <a:pt x="695" y="534"/>
                  <a:pt x="695" y="537"/>
                </a:cubicBezTo>
                <a:cubicBezTo>
                  <a:pt x="695" y="539"/>
                  <a:pt x="697" y="541"/>
                  <a:pt x="699" y="541"/>
                </a:cubicBezTo>
                <a:cubicBezTo>
                  <a:pt x="702" y="541"/>
                  <a:pt x="704" y="539"/>
                  <a:pt x="704" y="537"/>
                </a:cubicBezTo>
                <a:close/>
                <a:moveTo>
                  <a:pt x="692" y="555"/>
                </a:moveTo>
                <a:cubicBezTo>
                  <a:pt x="695" y="555"/>
                  <a:pt x="697" y="553"/>
                  <a:pt x="697" y="550"/>
                </a:cubicBezTo>
                <a:cubicBezTo>
                  <a:pt x="697" y="548"/>
                  <a:pt x="695" y="546"/>
                  <a:pt x="692" y="546"/>
                </a:cubicBezTo>
                <a:cubicBezTo>
                  <a:pt x="690" y="546"/>
                  <a:pt x="688" y="548"/>
                  <a:pt x="688" y="550"/>
                </a:cubicBezTo>
                <a:cubicBezTo>
                  <a:pt x="688" y="553"/>
                  <a:pt x="690" y="555"/>
                  <a:pt x="692" y="555"/>
                </a:cubicBezTo>
                <a:close/>
                <a:moveTo>
                  <a:pt x="679" y="555"/>
                </a:moveTo>
                <a:cubicBezTo>
                  <a:pt x="681" y="555"/>
                  <a:pt x="683" y="553"/>
                  <a:pt x="683" y="550"/>
                </a:cubicBezTo>
                <a:cubicBezTo>
                  <a:pt x="683" y="548"/>
                  <a:pt x="681" y="546"/>
                  <a:pt x="679" y="546"/>
                </a:cubicBezTo>
                <a:cubicBezTo>
                  <a:pt x="676" y="546"/>
                  <a:pt x="674" y="548"/>
                  <a:pt x="674" y="550"/>
                </a:cubicBezTo>
                <a:cubicBezTo>
                  <a:pt x="674" y="553"/>
                  <a:pt x="676" y="555"/>
                  <a:pt x="679" y="555"/>
                </a:cubicBezTo>
                <a:close/>
                <a:moveTo>
                  <a:pt x="690" y="537"/>
                </a:moveTo>
                <a:cubicBezTo>
                  <a:pt x="690" y="534"/>
                  <a:pt x="688" y="532"/>
                  <a:pt x="686" y="532"/>
                </a:cubicBezTo>
                <a:cubicBezTo>
                  <a:pt x="683" y="532"/>
                  <a:pt x="681" y="534"/>
                  <a:pt x="681" y="537"/>
                </a:cubicBezTo>
                <a:cubicBezTo>
                  <a:pt x="681" y="539"/>
                  <a:pt x="683" y="541"/>
                  <a:pt x="686" y="541"/>
                </a:cubicBezTo>
                <a:cubicBezTo>
                  <a:pt x="688" y="541"/>
                  <a:pt x="690" y="539"/>
                  <a:pt x="690" y="537"/>
                </a:cubicBezTo>
                <a:close/>
                <a:moveTo>
                  <a:pt x="672" y="541"/>
                </a:moveTo>
                <a:cubicBezTo>
                  <a:pt x="675" y="541"/>
                  <a:pt x="677" y="539"/>
                  <a:pt x="677" y="537"/>
                </a:cubicBezTo>
                <a:cubicBezTo>
                  <a:pt x="677" y="534"/>
                  <a:pt x="675" y="532"/>
                  <a:pt x="672" y="532"/>
                </a:cubicBezTo>
                <a:cubicBezTo>
                  <a:pt x="670" y="532"/>
                  <a:pt x="667" y="534"/>
                  <a:pt x="667" y="537"/>
                </a:cubicBezTo>
                <a:cubicBezTo>
                  <a:pt x="667" y="539"/>
                  <a:pt x="670" y="541"/>
                  <a:pt x="672" y="541"/>
                </a:cubicBezTo>
                <a:close/>
                <a:moveTo>
                  <a:pt x="645" y="405"/>
                </a:moveTo>
                <a:cubicBezTo>
                  <a:pt x="647" y="405"/>
                  <a:pt x="649" y="403"/>
                  <a:pt x="649" y="400"/>
                </a:cubicBezTo>
                <a:cubicBezTo>
                  <a:pt x="649" y="398"/>
                  <a:pt x="647" y="396"/>
                  <a:pt x="645" y="396"/>
                </a:cubicBezTo>
                <a:cubicBezTo>
                  <a:pt x="642" y="396"/>
                  <a:pt x="640" y="398"/>
                  <a:pt x="640" y="400"/>
                </a:cubicBezTo>
                <a:cubicBezTo>
                  <a:pt x="640" y="403"/>
                  <a:pt x="642" y="405"/>
                  <a:pt x="645" y="405"/>
                </a:cubicBezTo>
                <a:close/>
                <a:moveTo>
                  <a:pt x="638" y="391"/>
                </a:moveTo>
                <a:cubicBezTo>
                  <a:pt x="640" y="391"/>
                  <a:pt x="643" y="389"/>
                  <a:pt x="643" y="387"/>
                </a:cubicBezTo>
                <a:cubicBezTo>
                  <a:pt x="643" y="384"/>
                  <a:pt x="640" y="382"/>
                  <a:pt x="638" y="382"/>
                </a:cubicBezTo>
                <a:cubicBezTo>
                  <a:pt x="635" y="382"/>
                  <a:pt x="633" y="384"/>
                  <a:pt x="633" y="387"/>
                </a:cubicBezTo>
                <a:cubicBezTo>
                  <a:pt x="633" y="389"/>
                  <a:pt x="635" y="391"/>
                  <a:pt x="638" y="391"/>
                </a:cubicBezTo>
                <a:close/>
                <a:moveTo>
                  <a:pt x="631" y="378"/>
                </a:moveTo>
                <a:cubicBezTo>
                  <a:pt x="634" y="378"/>
                  <a:pt x="636" y="375"/>
                  <a:pt x="636" y="373"/>
                </a:cubicBezTo>
                <a:cubicBezTo>
                  <a:pt x="636" y="370"/>
                  <a:pt x="634" y="368"/>
                  <a:pt x="631" y="368"/>
                </a:cubicBezTo>
                <a:cubicBezTo>
                  <a:pt x="629" y="368"/>
                  <a:pt x="627" y="370"/>
                  <a:pt x="627" y="373"/>
                </a:cubicBezTo>
                <a:cubicBezTo>
                  <a:pt x="627" y="375"/>
                  <a:pt x="629" y="378"/>
                  <a:pt x="631" y="378"/>
                </a:cubicBezTo>
                <a:close/>
                <a:moveTo>
                  <a:pt x="658" y="459"/>
                </a:moveTo>
                <a:cubicBezTo>
                  <a:pt x="661" y="459"/>
                  <a:pt x="663" y="457"/>
                  <a:pt x="663" y="455"/>
                </a:cubicBezTo>
                <a:cubicBezTo>
                  <a:pt x="663" y="452"/>
                  <a:pt x="661" y="450"/>
                  <a:pt x="658" y="450"/>
                </a:cubicBezTo>
                <a:cubicBezTo>
                  <a:pt x="656" y="450"/>
                  <a:pt x="654" y="452"/>
                  <a:pt x="654" y="455"/>
                </a:cubicBezTo>
                <a:cubicBezTo>
                  <a:pt x="654" y="457"/>
                  <a:pt x="656" y="459"/>
                  <a:pt x="658" y="459"/>
                </a:cubicBezTo>
                <a:close/>
                <a:moveTo>
                  <a:pt x="652" y="446"/>
                </a:moveTo>
                <a:cubicBezTo>
                  <a:pt x="654" y="446"/>
                  <a:pt x="656" y="444"/>
                  <a:pt x="656" y="441"/>
                </a:cubicBezTo>
                <a:cubicBezTo>
                  <a:pt x="656" y="439"/>
                  <a:pt x="654" y="437"/>
                  <a:pt x="652" y="437"/>
                </a:cubicBezTo>
                <a:cubicBezTo>
                  <a:pt x="649" y="437"/>
                  <a:pt x="647" y="439"/>
                  <a:pt x="647" y="441"/>
                </a:cubicBezTo>
                <a:cubicBezTo>
                  <a:pt x="647" y="444"/>
                  <a:pt x="649" y="446"/>
                  <a:pt x="652" y="446"/>
                </a:cubicBezTo>
                <a:close/>
                <a:moveTo>
                  <a:pt x="640" y="428"/>
                </a:moveTo>
                <a:cubicBezTo>
                  <a:pt x="640" y="430"/>
                  <a:pt x="642" y="432"/>
                  <a:pt x="645" y="432"/>
                </a:cubicBezTo>
                <a:cubicBezTo>
                  <a:pt x="647" y="432"/>
                  <a:pt x="649" y="430"/>
                  <a:pt x="649" y="428"/>
                </a:cubicBezTo>
                <a:cubicBezTo>
                  <a:pt x="649" y="425"/>
                  <a:pt x="647" y="423"/>
                  <a:pt x="645" y="423"/>
                </a:cubicBezTo>
                <a:cubicBezTo>
                  <a:pt x="642" y="423"/>
                  <a:pt x="640" y="425"/>
                  <a:pt x="640" y="428"/>
                </a:cubicBezTo>
                <a:close/>
                <a:moveTo>
                  <a:pt x="745" y="482"/>
                </a:moveTo>
                <a:cubicBezTo>
                  <a:pt x="745" y="480"/>
                  <a:pt x="743" y="478"/>
                  <a:pt x="740" y="478"/>
                </a:cubicBezTo>
                <a:cubicBezTo>
                  <a:pt x="738" y="478"/>
                  <a:pt x="736" y="480"/>
                  <a:pt x="736" y="482"/>
                </a:cubicBezTo>
                <a:cubicBezTo>
                  <a:pt x="736" y="485"/>
                  <a:pt x="738" y="487"/>
                  <a:pt x="740" y="487"/>
                </a:cubicBezTo>
                <a:cubicBezTo>
                  <a:pt x="743" y="487"/>
                  <a:pt x="745" y="485"/>
                  <a:pt x="745" y="482"/>
                </a:cubicBezTo>
                <a:close/>
                <a:moveTo>
                  <a:pt x="767" y="432"/>
                </a:moveTo>
                <a:cubicBezTo>
                  <a:pt x="770" y="432"/>
                  <a:pt x="772" y="430"/>
                  <a:pt x="772" y="428"/>
                </a:cubicBezTo>
                <a:cubicBezTo>
                  <a:pt x="772" y="425"/>
                  <a:pt x="770" y="423"/>
                  <a:pt x="767" y="423"/>
                </a:cubicBezTo>
                <a:cubicBezTo>
                  <a:pt x="765" y="423"/>
                  <a:pt x="763" y="425"/>
                  <a:pt x="763" y="428"/>
                </a:cubicBezTo>
                <a:cubicBezTo>
                  <a:pt x="763" y="430"/>
                  <a:pt x="765" y="432"/>
                  <a:pt x="767" y="432"/>
                </a:cubicBezTo>
                <a:close/>
                <a:moveTo>
                  <a:pt x="751" y="441"/>
                </a:moveTo>
                <a:cubicBezTo>
                  <a:pt x="751" y="439"/>
                  <a:pt x="749" y="437"/>
                  <a:pt x="747" y="437"/>
                </a:cubicBezTo>
                <a:cubicBezTo>
                  <a:pt x="744" y="437"/>
                  <a:pt x="742" y="439"/>
                  <a:pt x="742" y="441"/>
                </a:cubicBezTo>
                <a:cubicBezTo>
                  <a:pt x="742" y="444"/>
                  <a:pt x="744" y="446"/>
                  <a:pt x="747" y="446"/>
                </a:cubicBezTo>
                <a:cubicBezTo>
                  <a:pt x="749" y="446"/>
                  <a:pt x="751" y="444"/>
                  <a:pt x="751" y="441"/>
                </a:cubicBezTo>
                <a:close/>
                <a:moveTo>
                  <a:pt x="758" y="428"/>
                </a:moveTo>
                <a:cubicBezTo>
                  <a:pt x="758" y="425"/>
                  <a:pt x="756" y="423"/>
                  <a:pt x="754" y="423"/>
                </a:cubicBezTo>
                <a:cubicBezTo>
                  <a:pt x="751" y="423"/>
                  <a:pt x="749" y="425"/>
                  <a:pt x="749" y="428"/>
                </a:cubicBezTo>
                <a:cubicBezTo>
                  <a:pt x="749" y="430"/>
                  <a:pt x="751" y="432"/>
                  <a:pt x="754" y="432"/>
                </a:cubicBezTo>
                <a:cubicBezTo>
                  <a:pt x="756" y="432"/>
                  <a:pt x="758" y="430"/>
                  <a:pt x="758" y="428"/>
                </a:cubicBezTo>
                <a:close/>
                <a:moveTo>
                  <a:pt x="765" y="414"/>
                </a:moveTo>
                <a:cubicBezTo>
                  <a:pt x="765" y="411"/>
                  <a:pt x="763" y="409"/>
                  <a:pt x="761" y="409"/>
                </a:cubicBezTo>
                <a:cubicBezTo>
                  <a:pt x="758" y="409"/>
                  <a:pt x="756" y="411"/>
                  <a:pt x="756" y="414"/>
                </a:cubicBezTo>
                <a:cubicBezTo>
                  <a:pt x="756" y="416"/>
                  <a:pt x="758" y="418"/>
                  <a:pt x="761" y="418"/>
                </a:cubicBezTo>
                <a:cubicBezTo>
                  <a:pt x="763" y="418"/>
                  <a:pt x="765" y="416"/>
                  <a:pt x="765" y="414"/>
                </a:cubicBezTo>
                <a:close/>
                <a:moveTo>
                  <a:pt x="779" y="387"/>
                </a:moveTo>
                <a:cubicBezTo>
                  <a:pt x="779" y="384"/>
                  <a:pt x="777" y="382"/>
                  <a:pt x="774" y="382"/>
                </a:cubicBezTo>
                <a:cubicBezTo>
                  <a:pt x="772" y="382"/>
                  <a:pt x="770" y="384"/>
                  <a:pt x="770" y="387"/>
                </a:cubicBezTo>
                <a:cubicBezTo>
                  <a:pt x="770" y="389"/>
                  <a:pt x="772" y="391"/>
                  <a:pt x="774" y="391"/>
                </a:cubicBezTo>
                <a:cubicBezTo>
                  <a:pt x="777" y="391"/>
                  <a:pt x="779" y="389"/>
                  <a:pt x="779" y="387"/>
                </a:cubicBezTo>
                <a:close/>
                <a:moveTo>
                  <a:pt x="779" y="414"/>
                </a:moveTo>
                <a:cubicBezTo>
                  <a:pt x="779" y="411"/>
                  <a:pt x="777" y="409"/>
                  <a:pt x="774" y="409"/>
                </a:cubicBezTo>
                <a:cubicBezTo>
                  <a:pt x="772" y="409"/>
                  <a:pt x="770" y="411"/>
                  <a:pt x="770" y="414"/>
                </a:cubicBezTo>
                <a:cubicBezTo>
                  <a:pt x="770" y="416"/>
                  <a:pt x="772" y="418"/>
                  <a:pt x="774" y="418"/>
                </a:cubicBezTo>
                <a:cubicBezTo>
                  <a:pt x="777" y="418"/>
                  <a:pt x="779" y="416"/>
                  <a:pt x="779" y="414"/>
                </a:cubicBezTo>
                <a:close/>
                <a:moveTo>
                  <a:pt x="745" y="455"/>
                </a:moveTo>
                <a:cubicBezTo>
                  <a:pt x="745" y="452"/>
                  <a:pt x="743" y="450"/>
                  <a:pt x="740" y="450"/>
                </a:cubicBezTo>
                <a:cubicBezTo>
                  <a:pt x="738" y="450"/>
                  <a:pt x="736" y="452"/>
                  <a:pt x="736" y="455"/>
                </a:cubicBezTo>
                <a:cubicBezTo>
                  <a:pt x="736" y="457"/>
                  <a:pt x="738" y="459"/>
                  <a:pt x="740" y="459"/>
                </a:cubicBezTo>
                <a:cubicBezTo>
                  <a:pt x="743" y="459"/>
                  <a:pt x="745" y="457"/>
                  <a:pt x="745" y="455"/>
                </a:cubicBezTo>
                <a:close/>
                <a:moveTo>
                  <a:pt x="724" y="523"/>
                </a:moveTo>
                <a:cubicBezTo>
                  <a:pt x="724" y="521"/>
                  <a:pt x="722" y="519"/>
                  <a:pt x="720" y="519"/>
                </a:cubicBezTo>
                <a:cubicBezTo>
                  <a:pt x="717" y="519"/>
                  <a:pt x="715" y="521"/>
                  <a:pt x="715" y="523"/>
                </a:cubicBezTo>
                <a:cubicBezTo>
                  <a:pt x="715" y="526"/>
                  <a:pt x="717" y="528"/>
                  <a:pt x="720" y="528"/>
                </a:cubicBezTo>
                <a:cubicBezTo>
                  <a:pt x="722" y="528"/>
                  <a:pt x="724" y="526"/>
                  <a:pt x="724" y="523"/>
                </a:cubicBezTo>
                <a:close/>
                <a:moveTo>
                  <a:pt x="711" y="523"/>
                </a:moveTo>
                <a:cubicBezTo>
                  <a:pt x="711" y="521"/>
                  <a:pt x="709" y="519"/>
                  <a:pt x="706" y="519"/>
                </a:cubicBezTo>
                <a:cubicBezTo>
                  <a:pt x="704" y="519"/>
                  <a:pt x="702" y="521"/>
                  <a:pt x="702" y="523"/>
                </a:cubicBezTo>
                <a:cubicBezTo>
                  <a:pt x="702" y="526"/>
                  <a:pt x="704" y="528"/>
                  <a:pt x="706" y="528"/>
                </a:cubicBezTo>
                <a:cubicBezTo>
                  <a:pt x="709" y="528"/>
                  <a:pt x="711" y="526"/>
                  <a:pt x="711" y="523"/>
                </a:cubicBezTo>
                <a:close/>
                <a:moveTo>
                  <a:pt x="731" y="509"/>
                </a:moveTo>
                <a:cubicBezTo>
                  <a:pt x="731" y="507"/>
                  <a:pt x="729" y="505"/>
                  <a:pt x="727" y="505"/>
                </a:cubicBezTo>
                <a:cubicBezTo>
                  <a:pt x="724" y="505"/>
                  <a:pt x="722" y="507"/>
                  <a:pt x="722" y="509"/>
                </a:cubicBezTo>
                <a:cubicBezTo>
                  <a:pt x="722" y="512"/>
                  <a:pt x="724" y="514"/>
                  <a:pt x="727" y="514"/>
                </a:cubicBezTo>
                <a:cubicBezTo>
                  <a:pt x="729" y="514"/>
                  <a:pt x="731" y="512"/>
                  <a:pt x="731" y="509"/>
                </a:cubicBezTo>
                <a:close/>
                <a:moveTo>
                  <a:pt x="713" y="541"/>
                </a:moveTo>
                <a:cubicBezTo>
                  <a:pt x="715" y="541"/>
                  <a:pt x="717" y="539"/>
                  <a:pt x="717" y="537"/>
                </a:cubicBezTo>
                <a:cubicBezTo>
                  <a:pt x="717" y="534"/>
                  <a:pt x="715" y="532"/>
                  <a:pt x="713" y="532"/>
                </a:cubicBezTo>
                <a:cubicBezTo>
                  <a:pt x="710" y="532"/>
                  <a:pt x="708" y="534"/>
                  <a:pt x="708" y="537"/>
                </a:cubicBezTo>
                <a:cubicBezTo>
                  <a:pt x="708" y="539"/>
                  <a:pt x="710" y="541"/>
                  <a:pt x="713" y="541"/>
                </a:cubicBezTo>
                <a:close/>
                <a:moveTo>
                  <a:pt x="629" y="359"/>
                </a:moveTo>
                <a:cubicBezTo>
                  <a:pt x="629" y="357"/>
                  <a:pt x="627" y="355"/>
                  <a:pt x="624" y="355"/>
                </a:cubicBezTo>
                <a:cubicBezTo>
                  <a:pt x="622" y="355"/>
                  <a:pt x="620" y="357"/>
                  <a:pt x="620" y="359"/>
                </a:cubicBezTo>
                <a:cubicBezTo>
                  <a:pt x="620" y="362"/>
                  <a:pt x="622" y="364"/>
                  <a:pt x="624" y="364"/>
                </a:cubicBezTo>
                <a:cubicBezTo>
                  <a:pt x="627" y="364"/>
                  <a:pt x="629" y="362"/>
                  <a:pt x="629" y="359"/>
                </a:cubicBezTo>
                <a:close/>
                <a:moveTo>
                  <a:pt x="738" y="496"/>
                </a:moveTo>
                <a:cubicBezTo>
                  <a:pt x="738" y="493"/>
                  <a:pt x="736" y="491"/>
                  <a:pt x="733" y="491"/>
                </a:cubicBezTo>
                <a:cubicBezTo>
                  <a:pt x="731" y="491"/>
                  <a:pt x="729" y="493"/>
                  <a:pt x="729" y="496"/>
                </a:cubicBezTo>
                <a:cubicBezTo>
                  <a:pt x="729" y="498"/>
                  <a:pt x="731" y="500"/>
                  <a:pt x="733" y="500"/>
                </a:cubicBezTo>
                <a:cubicBezTo>
                  <a:pt x="736" y="500"/>
                  <a:pt x="738" y="498"/>
                  <a:pt x="738" y="496"/>
                </a:cubicBezTo>
                <a:close/>
                <a:moveTo>
                  <a:pt x="654" y="155"/>
                </a:moveTo>
                <a:cubicBezTo>
                  <a:pt x="654" y="157"/>
                  <a:pt x="656" y="159"/>
                  <a:pt x="658" y="159"/>
                </a:cubicBezTo>
                <a:cubicBezTo>
                  <a:pt x="661" y="159"/>
                  <a:pt x="663" y="157"/>
                  <a:pt x="663" y="155"/>
                </a:cubicBezTo>
                <a:cubicBezTo>
                  <a:pt x="663" y="152"/>
                  <a:pt x="661" y="150"/>
                  <a:pt x="658" y="150"/>
                </a:cubicBezTo>
                <a:cubicBezTo>
                  <a:pt x="656" y="150"/>
                  <a:pt x="654" y="152"/>
                  <a:pt x="654" y="155"/>
                </a:cubicBezTo>
                <a:close/>
                <a:moveTo>
                  <a:pt x="627" y="237"/>
                </a:moveTo>
                <a:cubicBezTo>
                  <a:pt x="627" y="239"/>
                  <a:pt x="629" y="241"/>
                  <a:pt x="631" y="241"/>
                </a:cubicBezTo>
                <a:cubicBezTo>
                  <a:pt x="634" y="241"/>
                  <a:pt x="636" y="239"/>
                  <a:pt x="636" y="237"/>
                </a:cubicBezTo>
                <a:cubicBezTo>
                  <a:pt x="636" y="234"/>
                  <a:pt x="634" y="232"/>
                  <a:pt x="631" y="232"/>
                </a:cubicBezTo>
                <a:cubicBezTo>
                  <a:pt x="629" y="232"/>
                  <a:pt x="627" y="234"/>
                  <a:pt x="627" y="237"/>
                </a:cubicBezTo>
                <a:close/>
                <a:moveTo>
                  <a:pt x="633" y="223"/>
                </a:moveTo>
                <a:cubicBezTo>
                  <a:pt x="633" y="225"/>
                  <a:pt x="635" y="227"/>
                  <a:pt x="638" y="227"/>
                </a:cubicBezTo>
                <a:cubicBezTo>
                  <a:pt x="640" y="227"/>
                  <a:pt x="643" y="225"/>
                  <a:pt x="643" y="223"/>
                </a:cubicBezTo>
                <a:cubicBezTo>
                  <a:pt x="643" y="220"/>
                  <a:pt x="640" y="218"/>
                  <a:pt x="638" y="218"/>
                </a:cubicBezTo>
                <a:cubicBezTo>
                  <a:pt x="635" y="218"/>
                  <a:pt x="633" y="220"/>
                  <a:pt x="633" y="223"/>
                </a:cubicBezTo>
                <a:close/>
                <a:moveTo>
                  <a:pt x="640" y="209"/>
                </a:moveTo>
                <a:cubicBezTo>
                  <a:pt x="640" y="212"/>
                  <a:pt x="642" y="214"/>
                  <a:pt x="645" y="214"/>
                </a:cubicBezTo>
                <a:cubicBezTo>
                  <a:pt x="647" y="214"/>
                  <a:pt x="649" y="212"/>
                  <a:pt x="649" y="209"/>
                </a:cubicBezTo>
                <a:cubicBezTo>
                  <a:pt x="649" y="207"/>
                  <a:pt x="647" y="205"/>
                  <a:pt x="645" y="205"/>
                </a:cubicBezTo>
                <a:cubicBezTo>
                  <a:pt x="642" y="205"/>
                  <a:pt x="640" y="207"/>
                  <a:pt x="640" y="209"/>
                </a:cubicBezTo>
                <a:close/>
                <a:moveTo>
                  <a:pt x="620" y="250"/>
                </a:moveTo>
                <a:cubicBezTo>
                  <a:pt x="620" y="253"/>
                  <a:pt x="622" y="255"/>
                  <a:pt x="624" y="255"/>
                </a:cubicBezTo>
                <a:cubicBezTo>
                  <a:pt x="627" y="255"/>
                  <a:pt x="629" y="253"/>
                  <a:pt x="629" y="250"/>
                </a:cubicBezTo>
                <a:cubicBezTo>
                  <a:pt x="629" y="248"/>
                  <a:pt x="627" y="246"/>
                  <a:pt x="624" y="246"/>
                </a:cubicBezTo>
                <a:cubicBezTo>
                  <a:pt x="622" y="246"/>
                  <a:pt x="620" y="248"/>
                  <a:pt x="620" y="250"/>
                </a:cubicBezTo>
                <a:close/>
                <a:moveTo>
                  <a:pt x="652" y="200"/>
                </a:moveTo>
                <a:cubicBezTo>
                  <a:pt x="654" y="200"/>
                  <a:pt x="656" y="198"/>
                  <a:pt x="656" y="196"/>
                </a:cubicBezTo>
                <a:cubicBezTo>
                  <a:pt x="656" y="193"/>
                  <a:pt x="654" y="191"/>
                  <a:pt x="652" y="191"/>
                </a:cubicBezTo>
                <a:cubicBezTo>
                  <a:pt x="649" y="191"/>
                  <a:pt x="647" y="193"/>
                  <a:pt x="647" y="196"/>
                </a:cubicBezTo>
                <a:cubicBezTo>
                  <a:pt x="647" y="198"/>
                  <a:pt x="649" y="200"/>
                  <a:pt x="652" y="200"/>
                </a:cubicBezTo>
                <a:close/>
                <a:moveTo>
                  <a:pt x="613" y="291"/>
                </a:moveTo>
                <a:cubicBezTo>
                  <a:pt x="613" y="294"/>
                  <a:pt x="615" y="296"/>
                  <a:pt x="618" y="296"/>
                </a:cubicBezTo>
                <a:cubicBezTo>
                  <a:pt x="620" y="296"/>
                  <a:pt x="622" y="294"/>
                  <a:pt x="622" y="291"/>
                </a:cubicBezTo>
                <a:cubicBezTo>
                  <a:pt x="622" y="289"/>
                  <a:pt x="620" y="287"/>
                  <a:pt x="618" y="287"/>
                </a:cubicBezTo>
                <a:cubicBezTo>
                  <a:pt x="615" y="287"/>
                  <a:pt x="613" y="289"/>
                  <a:pt x="613" y="291"/>
                </a:cubicBezTo>
                <a:close/>
                <a:moveTo>
                  <a:pt x="686" y="187"/>
                </a:moveTo>
                <a:cubicBezTo>
                  <a:pt x="688" y="187"/>
                  <a:pt x="690" y="185"/>
                  <a:pt x="690" y="182"/>
                </a:cubicBezTo>
                <a:cubicBezTo>
                  <a:pt x="690" y="179"/>
                  <a:pt x="688" y="177"/>
                  <a:pt x="686" y="177"/>
                </a:cubicBezTo>
                <a:cubicBezTo>
                  <a:pt x="683" y="177"/>
                  <a:pt x="681" y="179"/>
                  <a:pt x="681" y="182"/>
                </a:cubicBezTo>
                <a:cubicBezTo>
                  <a:pt x="681" y="185"/>
                  <a:pt x="683" y="187"/>
                  <a:pt x="686" y="187"/>
                </a:cubicBezTo>
                <a:close/>
                <a:moveTo>
                  <a:pt x="674" y="196"/>
                </a:moveTo>
                <a:cubicBezTo>
                  <a:pt x="674" y="198"/>
                  <a:pt x="676" y="200"/>
                  <a:pt x="679" y="200"/>
                </a:cubicBezTo>
                <a:cubicBezTo>
                  <a:pt x="681" y="200"/>
                  <a:pt x="683" y="198"/>
                  <a:pt x="683" y="196"/>
                </a:cubicBezTo>
                <a:cubicBezTo>
                  <a:pt x="683" y="193"/>
                  <a:pt x="681" y="191"/>
                  <a:pt x="679" y="191"/>
                </a:cubicBezTo>
                <a:cubicBezTo>
                  <a:pt x="676" y="191"/>
                  <a:pt x="674" y="193"/>
                  <a:pt x="674" y="196"/>
                </a:cubicBezTo>
                <a:close/>
                <a:moveTo>
                  <a:pt x="606" y="305"/>
                </a:moveTo>
                <a:cubicBezTo>
                  <a:pt x="606" y="307"/>
                  <a:pt x="608" y="309"/>
                  <a:pt x="611" y="309"/>
                </a:cubicBezTo>
                <a:cubicBezTo>
                  <a:pt x="613" y="309"/>
                  <a:pt x="615" y="307"/>
                  <a:pt x="615" y="305"/>
                </a:cubicBezTo>
                <a:cubicBezTo>
                  <a:pt x="615" y="302"/>
                  <a:pt x="613" y="300"/>
                  <a:pt x="611" y="300"/>
                </a:cubicBezTo>
                <a:cubicBezTo>
                  <a:pt x="608" y="300"/>
                  <a:pt x="606" y="302"/>
                  <a:pt x="606" y="305"/>
                </a:cubicBezTo>
                <a:close/>
                <a:moveTo>
                  <a:pt x="672" y="123"/>
                </a:moveTo>
                <a:cubicBezTo>
                  <a:pt x="670" y="123"/>
                  <a:pt x="667" y="125"/>
                  <a:pt x="667" y="127"/>
                </a:cubicBezTo>
                <a:cubicBezTo>
                  <a:pt x="667" y="130"/>
                  <a:pt x="670" y="132"/>
                  <a:pt x="672" y="132"/>
                </a:cubicBezTo>
                <a:cubicBezTo>
                  <a:pt x="675" y="132"/>
                  <a:pt x="677" y="130"/>
                  <a:pt x="677" y="127"/>
                </a:cubicBezTo>
                <a:cubicBezTo>
                  <a:pt x="677" y="125"/>
                  <a:pt x="675" y="123"/>
                  <a:pt x="672" y="123"/>
                </a:cubicBezTo>
                <a:close/>
                <a:moveTo>
                  <a:pt x="647" y="168"/>
                </a:moveTo>
                <a:cubicBezTo>
                  <a:pt x="647" y="171"/>
                  <a:pt x="649" y="173"/>
                  <a:pt x="652" y="173"/>
                </a:cubicBezTo>
                <a:cubicBezTo>
                  <a:pt x="654" y="173"/>
                  <a:pt x="656" y="171"/>
                  <a:pt x="656" y="168"/>
                </a:cubicBezTo>
                <a:cubicBezTo>
                  <a:pt x="656" y="166"/>
                  <a:pt x="654" y="164"/>
                  <a:pt x="652" y="164"/>
                </a:cubicBezTo>
                <a:cubicBezTo>
                  <a:pt x="649" y="164"/>
                  <a:pt x="647" y="166"/>
                  <a:pt x="647" y="168"/>
                </a:cubicBezTo>
                <a:close/>
                <a:moveTo>
                  <a:pt x="681" y="155"/>
                </a:moveTo>
                <a:cubicBezTo>
                  <a:pt x="681" y="157"/>
                  <a:pt x="683" y="159"/>
                  <a:pt x="686" y="159"/>
                </a:cubicBezTo>
                <a:cubicBezTo>
                  <a:pt x="688" y="159"/>
                  <a:pt x="690" y="157"/>
                  <a:pt x="690" y="155"/>
                </a:cubicBezTo>
                <a:cubicBezTo>
                  <a:pt x="690" y="152"/>
                  <a:pt x="688" y="150"/>
                  <a:pt x="686" y="150"/>
                </a:cubicBezTo>
                <a:cubicBezTo>
                  <a:pt x="683" y="150"/>
                  <a:pt x="681" y="152"/>
                  <a:pt x="681" y="155"/>
                </a:cubicBezTo>
                <a:close/>
                <a:moveTo>
                  <a:pt x="661" y="141"/>
                </a:moveTo>
                <a:cubicBezTo>
                  <a:pt x="661" y="144"/>
                  <a:pt x="663" y="146"/>
                  <a:pt x="665" y="146"/>
                </a:cubicBezTo>
                <a:cubicBezTo>
                  <a:pt x="668" y="146"/>
                  <a:pt x="670" y="144"/>
                  <a:pt x="670" y="141"/>
                </a:cubicBezTo>
                <a:cubicBezTo>
                  <a:pt x="670" y="139"/>
                  <a:pt x="668" y="137"/>
                  <a:pt x="665" y="137"/>
                </a:cubicBezTo>
                <a:cubicBezTo>
                  <a:pt x="663" y="137"/>
                  <a:pt x="661" y="139"/>
                  <a:pt x="661" y="141"/>
                </a:cubicBezTo>
                <a:close/>
                <a:moveTo>
                  <a:pt x="590" y="378"/>
                </a:moveTo>
                <a:cubicBezTo>
                  <a:pt x="593" y="378"/>
                  <a:pt x="595" y="375"/>
                  <a:pt x="595" y="373"/>
                </a:cubicBezTo>
                <a:cubicBezTo>
                  <a:pt x="595" y="370"/>
                  <a:pt x="593" y="368"/>
                  <a:pt x="590" y="368"/>
                </a:cubicBezTo>
                <a:cubicBezTo>
                  <a:pt x="588" y="368"/>
                  <a:pt x="586" y="370"/>
                  <a:pt x="586" y="373"/>
                </a:cubicBezTo>
                <a:cubicBezTo>
                  <a:pt x="586" y="375"/>
                  <a:pt x="588" y="378"/>
                  <a:pt x="590" y="378"/>
                </a:cubicBezTo>
                <a:close/>
                <a:moveTo>
                  <a:pt x="577" y="378"/>
                </a:moveTo>
                <a:cubicBezTo>
                  <a:pt x="579" y="378"/>
                  <a:pt x="581" y="375"/>
                  <a:pt x="581" y="373"/>
                </a:cubicBezTo>
                <a:cubicBezTo>
                  <a:pt x="581" y="370"/>
                  <a:pt x="579" y="368"/>
                  <a:pt x="577" y="368"/>
                </a:cubicBezTo>
                <a:cubicBezTo>
                  <a:pt x="574" y="368"/>
                  <a:pt x="572" y="370"/>
                  <a:pt x="572" y="373"/>
                </a:cubicBezTo>
                <a:cubicBezTo>
                  <a:pt x="572" y="375"/>
                  <a:pt x="574" y="378"/>
                  <a:pt x="577" y="378"/>
                </a:cubicBezTo>
                <a:close/>
                <a:moveTo>
                  <a:pt x="618" y="378"/>
                </a:moveTo>
                <a:cubicBezTo>
                  <a:pt x="620" y="378"/>
                  <a:pt x="622" y="375"/>
                  <a:pt x="622" y="373"/>
                </a:cubicBezTo>
                <a:cubicBezTo>
                  <a:pt x="622" y="370"/>
                  <a:pt x="620" y="368"/>
                  <a:pt x="618" y="368"/>
                </a:cubicBezTo>
                <a:cubicBezTo>
                  <a:pt x="615" y="368"/>
                  <a:pt x="613" y="370"/>
                  <a:pt x="613" y="373"/>
                </a:cubicBezTo>
                <a:cubicBezTo>
                  <a:pt x="613" y="375"/>
                  <a:pt x="615" y="378"/>
                  <a:pt x="618" y="378"/>
                </a:cubicBezTo>
                <a:close/>
                <a:moveTo>
                  <a:pt x="588" y="359"/>
                </a:moveTo>
                <a:cubicBezTo>
                  <a:pt x="588" y="357"/>
                  <a:pt x="586" y="355"/>
                  <a:pt x="583" y="355"/>
                </a:cubicBezTo>
                <a:cubicBezTo>
                  <a:pt x="581" y="355"/>
                  <a:pt x="579" y="357"/>
                  <a:pt x="579" y="359"/>
                </a:cubicBezTo>
                <a:cubicBezTo>
                  <a:pt x="579" y="362"/>
                  <a:pt x="581" y="364"/>
                  <a:pt x="583" y="364"/>
                </a:cubicBezTo>
                <a:cubicBezTo>
                  <a:pt x="586" y="364"/>
                  <a:pt x="588" y="362"/>
                  <a:pt x="588" y="359"/>
                </a:cubicBezTo>
                <a:close/>
                <a:moveTo>
                  <a:pt x="602" y="359"/>
                </a:moveTo>
                <a:cubicBezTo>
                  <a:pt x="602" y="357"/>
                  <a:pt x="600" y="355"/>
                  <a:pt x="597" y="355"/>
                </a:cubicBezTo>
                <a:cubicBezTo>
                  <a:pt x="595" y="355"/>
                  <a:pt x="593" y="357"/>
                  <a:pt x="593" y="359"/>
                </a:cubicBezTo>
                <a:cubicBezTo>
                  <a:pt x="593" y="362"/>
                  <a:pt x="595" y="364"/>
                  <a:pt x="597" y="364"/>
                </a:cubicBezTo>
                <a:cubicBezTo>
                  <a:pt x="600" y="364"/>
                  <a:pt x="602" y="362"/>
                  <a:pt x="602" y="359"/>
                </a:cubicBezTo>
                <a:close/>
                <a:moveTo>
                  <a:pt x="615" y="359"/>
                </a:moveTo>
                <a:cubicBezTo>
                  <a:pt x="615" y="357"/>
                  <a:pt x="613" y="355"/>
                  <a:pt x="611" y="355"/>
                </a:cubicBezTo>
                <a:cubicBezTo>
                  <a:pt x="608" y="355"/>
                  <a:pt x="606" y="357"/>
                  <a:pt x="606" y="359"/>
                </a:cubicBezTo>
                <a:cubicBezTo>
                  <a:pt x="606" y="362"/>
                  <a:pt x="608" y="364"/>
                  <a:pt x="611" y="364"/>
                </a:cubicBezTo>
                <a:cubicBezTo>
                  <a:pt x="613" y="364"/>
                  <a:pt x="615" y="362"/>
                  <a:pt x="615" y="359"/>
                </a:cubicBezTo>
                <a:close/>
                <a:moveTo>
                  <a:pt x="604" y="378"/>
                </a:moveTo>
                <a:cubicBezTo>
                  <a:pt x="606" y="378"/>
                  <a:pt x="608" y="375"/>
                  <a:pt x="608" y="373"/>
                </a:cubicBezTo>
                <a:cubicBezTo>
                  <a:pt x="608" y="370"/>
                  <a:pt x="606" y="368"/>
                  <a:pt x="604" y="368"/>
                </a:cubicBezTo>
                <a:cubicBezTo>
                  <a:pt x="601" y="368"/>
                  <a:pt x="599" y="370"/>
                  <a:pt x="599" y="373"/>
                </a:cubicBezTo>
                <a:cubicBezTo>
                  <a:pt x="599" y="375"/>
                  <a:pt x="601" y="378"/>
                  <a:pt x="604" y="378"/>
                </a:cubicBezTo>
                <a:close/>
                <a:moveTo>
                  <a:pt x="597" y="246"/>
                </a:moveTo>
                <a:cubicBezTo>
                  <a:pt x="595" y="246"/>
                  <a:pt x="593" y="248"/>
                  <a:pt x="593" y="250"/>
                </a:cubicBezTo>
                <a:cubicBezTo>
                  <a:pt x="593" y="253"/>
                  <a:pt x="595" y="255"/>
                  <a:pt x="597" y="255"/>
                </a:cubicBezTo>
                <a:cubicBezTo>
                  <a:pt x="600" y="255"/>
                  <a:pt x="602" y="253"/>
                  <a:pt x="602" y="250"/>
                </a:cubicBezTo>
                <a:cubicBezTo>
                  <a:pt x="602" y="248"/>
                  <a:pt x="600" y="246"/>
                  <a:pt x="597" y="246"/>
                </a:cubicBezTo>
                <a:close/>
                <a:moveTo>
                  <a:pt x="586" y="264"/>
                </a:moveTo>
                <a:cubicBezTo>
                  <a:pt x="586" y="266"/>
                  <a:pt x="588" y="268"/>
                  <a:pt x="590" y="268"/>
                </a:cubicBezTo>
                <a:cubicBezTo>
                  <a:pt x="593" y="268"/>
                  <a:pt x="595" y="266"/>
                  <a:pt x="595" y="264"/>
                </a:cubicBezTo>
                <a:cubicBezTo>
                  <a:pt x="595" y="261"/>
                  <a:pt x="593" y="259"/>
                  <a:pt x="590" y="259"/>
                </a:cubicBezTo>
                <a:cubicBezTo>
                  <a:pt x="588" y="259"/>
                  <a:pt x="586" y="261"/>
                  <a:pt x="586" y="264"/>
                </a:cubicBezTo>
                <a:close/>
                <a:moveTo>
                  <a:pt x="604" y="259"/>
                </a:moveTo>
                <a:cubicBezTo>
                  <a:pt x="601" y="259"/>
                  <a:pt x="599" y="261"/>
                  <a:pt x="599" y="264"/>
                </a:cubicBezTo>
                <a:cubicBezTo>
                  <a:pt x="599" y="266"/>
                  <a:pt x="601" y="268"/>
                  <a:pt x="604" y="268"/>
                </a:cubicBezTo>
                <a:cubicBezTo>
                  <a:pt x="606" y="268"/>
                  <a:pt x="608" y="266"/>
                  <a:pt x="608" y="264"/>
                </a:cubicBezTo>
                <a:cubicBezTo>
                  <a:pt x="608" y="261"/>
                  <a:pt x="606" y="259"/>
                  <a:pt x="604" y="259"/>
                </a:cubicBezTo>
                <a:close/>
                <a:moveTo>
                  <a:pt x="579" y="278"/>
                </a:moveTo>
                <a:cubicBezTo>
                  <a:pt x="579" y="280"/>
                  <a:pt x="581" y="282"/>
                  <a:pt x="583" y="282"/>
                </a:cubicBezTo>
                <a:cubicBezTo>
                  <a:pt x="586" y="282"/>
                  <a:pt x="588" y="280"/>
                  <a:pt x="588" y="278"/>
                </a:cubicBezTo>
                <a:cubicBezTo>
                  <a:pt x="588" y="275"/>
                  <a:pt x="586" y="273"/>
                  <a:pt x="583" y="273"/>
                </a:cubicBezTo>
                <a:cubicBezTo>
                  <a:pt x="581" y="273"/>
                  <a:pt x="579" y="275"/>
                  <a:pt x="579" y="278"/>
                </a:cubicBezTo>
                <a:close/>
                <a:moveTo>
                  <a:pt x="572" y="318"/>
                </a:moveTo>
                <a:cubicBezTo>
                  <a:pt x="572" y="321"/>
                  <a:pt x="574" y="323"/>
                  <a:pt x="577" y="323"/>
                </a:cubicBezTo>
                <a:cubicBezTo>
                  <a:pt x="579" y="323"/>
                  <a:pt x="581" y="321"/>
                  <a:pt x="581" y="318"/>
                </a:cubicBezTo>
                <a:cubicBezTo>
                  <a:pt x="581" y="316"/>
                  <a:pt x="579" y="314"/>
                  <a:pt x="577" y="314"/>
                </a:cubicBezTo>
                <a:cubicBezTo>
                  <a:pt x="574" y="314"/>
                  <a:pt x="572" y="316"/>
                  <a:pt x="572" y="318"/>
                </a:cubicBezTo>
                <a:close/>
                <a:moveTo>
                  <a:pt x="572" y="291"/>
                </a:moveTo>
                <a:cubicBezTo>
                  <a:pt x="572" y="294"/>
                  <a:pt x="574" y="296"/>
                  <a:pt x="577" y="296"/>
                </a:cubicBezTo>
                <a:cubicBezTo>
                  <a:pt x="579" y="296"/>
                  <a:pt x="581" y="294"/>
                  <a:pt x="581" y="291"/>
                </a:cubicBezTo>
                <a:cubicBezTo>
                  <a:pt x="581" y="289"/>
                  <a:pt x="579" y="287"/>
                  <a:pt x="577" y="287"/>
                </a:cubicBezTo>
                <a:cubicBezTo>
                  <a:pt x="574" y="287"/>
                  <a:pt x="572" y="289"/>
                  <a:pt x="572" y="291"/>
                </a:cubicBezTo>
                <a:close/>
                <a:moveTo>
                  <a:pt x="572" y="346"/>
                </a:moveTo>
                <a:cubicBezTo>
                  <a:pt x="572" y="348"/>
                  <a:pt x="574" y="350"/>
                  <a:pt x="577" y="350"/>
                </a:cubicBezTo>
                <a:cubicBezTo>
                  <a:pt x="579" y="350"/>
                  <a:pt x="581" y="348"/>
                  <a:pt x="581" y="346"/>
                </a:cubicBezTo>
                <a:cubicBezTo>
                  <a:pt x="581" y="343"/>
                  <a:pt x="579" y="341"/>
                  <a:pt x="577" y="341"/>
                </a:cubicBezTo>
                <a:cubicBezTo>
                  <a:pt x="574" y="341"/>
                  <a:pt x="572" y="343"/>
                  <a:pt x="572" y="346"/>
                </a:cubicBezTo>
                <a:close/>
                <a:moveTo>
                  <a:pt x="1040" y="123"/>
                </a:moveTo>
                <a:cubicBezTo>
                  <a:pt x="1037" y="123"/>
                  <a:pt x="1035" y="125"/>
                  <a:pt x="1035" y="127"/>
                </a:cubicBezTo>
                <a:cubicBezTo>
                  <a:pt x="1035" y="130"/>
                  <a:pt x="1037" y="132"/>
                  <a:pt x="1040" y="132"/>
                </a:cubicBezTo>
                <a:cubicBezTo>
                  <a:pt x="1042" y="132"/>
                  <a:pt x="1044" y="130"/>
                  <a:pt x="1044" y="127"/>
                </a:cubicBezTo>
                <a:cubicBezTo>
                  <a:pt x="1044" y="125"/>
                  <a:pt x="1042" y="123"/>
                  <a:pt x="1040" y="123"/>
                </a:cubicBezTo>
                <a:close/>
                <a:moveTo>
                  <a:pt x="779" y="332"/>
                </a:moveTo>
                <a:cubicBezTo>
                  <a:pt x="779" y="330"/>
                  <a:pt x="777" y="328"/>
                  <a:pt x="774" y="328"/>
                </a:cubicBezTo>
                <a:cubicBezTo>
                  <a:pt x="772" y="328"/>
                  <a:pt x="770" y="330"/>
                  <a:pt x="770" y="332"/>
                </a:cubicBezTo>
                <a:cubicBezTo>
                  <a:pt x="770" y="335"/>
                  <a:pt x="772" y="337"/>
                  <a:pt x="774" y="337"/>
                </a:cubicBezTo>
                <a:cubicBezTo>
                  <a:pt x="777" y="337"/>
                  <a:pt x="779" y="335"/>
                  <a:pt x="779" y="332"/>
                </a:cubicBezTo>
                <a:close/>
                <a:moveTo>
                  <a:pt x="779" y="305"/>
                </a:moveTo>
                <a:cubicBezTo>
                  <a:pt x="779" y="302"/>
                  <a:pt x="777" y="300"/>
                  <a:pt x="774" y="300"/>
                </a:cubicBezTo>
                <a:cubicBezTo>
                  <a:pt x="772" y="300"/>
                  <a:pt x="770" y="302"/>
                  <a:pt x="770" y="305"/>
                </a:cubicBezTo>
                <a:cubicBezTo>
                  <a:pt x="770" y="307"/>
                  <a:pt x="772" y="309"/>
                  <a:pt x="774" y="309"/>
                </a:cubicBezTo>
                <a:cubicBezTo>
                  <a:pt x="777" y="309"/>
                  <a:pt x="779" y="307"/>
                  <a:pt x="779" y="305"/>
                </a:cubicBezTo>
                <a:close/>
                <a:moveTo>
                  <a:pt x="772" y="346"/>
                </a:moveTo>
                <a:cubicBezTo>
                  <a:pt x="772" y="343"/>
                  <a:pt x="770" y="341"/>
                  <a:pt x="767" y="341"/>
                </a:cubicBezTo>
                <a:cubicBezTo>
                  <a:pt x="765" y="341"/>
                  <a:pt x="763" y="343"/>
                  <a:pt x="763" y="346"/>
                </a:cubicBezTo>
                <a:cubicBezTo>
                  <a:pt x="763" y="348"/>
                  <a:pt x="765" y="350"/>
                  <a:pt x="767" y="350"/>
                </a:cubicBezTo>
                <a:cubicBezTo>
                  <a:pt x="770" y="350"/>
                  <a:pt x="772" y="348"/>
                  <a:pt x="772" y="346"/>
                </a:cubicBezTo>
                <a:close/>
                <a:moveTo>
                  <a:pt x="786" y="291"/>
                </a:moveTo>
                <a:cubicBezTo>
                  <a:pt x="786" y="289"/>
                  <a:pt x="784" y="287"/>
                  <a:pt x="781" y="287"/>
                </a:cubicBezTo>
                <a:cubicBezTo>
                  <a:pt x="778" y="287"/>
                  <a:pt x="776" y="289"/>
                  <a:pt x="776" y="291"/>
                </a:cubicBezTo>
                <a:cubicBezTo>
                  <a:pt x="776" y="294"/>
                  <a:pt x="778" y="296"/>
                  <a:pt x="781" y="296"/>
                </a:cubicBezTo>
                <a:cubicBezTo>
                  <a:pt x="784" y="296"/>
                  <a:pt x="786" y="294"/>
                  <a:pt x="786" y="291"/>
                </a:cubicBezTo>
                <a:close/>
                <a:moveTo>
                  <a:pt x="781" y="259"/>
                </a:moveTo>
                <a:cubicBezTo>
                  <a:pt x="778" y="259"/>
                  <a:pt x="776" y="261"/>
                  <a:pt x="776" y="264"/>
                </a:cubicBezTo>
                <a:cubicBezTo>
                  <a:pt x="776" y="266"/>
                  <a:pt x="778" y="268"/>
                  <a:pt x="781" y="268"/>
                </a:cubicBezTo>
                <a:cubicBezTo>
                  <a:pt x="784" y="268"/>
                  <a:pt x="786" y="266"/>
                  <a:pt x="786" y="264"/>
                </a:cubicBezTo>
                <a:cubicBezTo>
                  <a:pt x="786" y="261"/>
                  <a:pt x="784" y="259"/>
                  <a:pt x="781" y="259"/>
                </a:cubicBezTo>
                <a:close/>
                <a:moveTo>
                  <a:pt x="767" y="378"/>
                </a:moveTo>
                <a:cubicBezTo>
                  <a:pt x="770" y="378"/>
                  <a:pt x="772" y="375"/>
                  <a:pt x="772" y="373"/>
                </a:cubicBezTo>
                <a:cubicBezTo>
                  <a:pt x="772" y="370"/>
                  <a:pt x="770" y="368"/>
                  <a:pt x="767" y="368"/>
                </a:cubicBezTo>
                <a:cubicBezTo>
                  <a:pt x="765" y="368"/>
                  <a:pt x="763" y="370"/>
                  <a:pt x="763" y="373"/>
                </a:cubicBezTo>
                <a:cubicBezTo>
                  <a:pt x="763" y="375"/>
                  <a:pt x="765" y="378"/>
                  <a:pt x="767" y="378"/>
                </a:cubicBezTo>
                <a:close/>
                <a:moveTo>
                  <a:pt x="758" y="400"/>
                </a:moveTo>
                <a:cubicBezTo>
                  <a:pt x="758" y="398"/>
                  <a:pt x="756" y="396"/>
                  <a:pt x="754" y="396"/>
                </a:cubicBezTo>
                <a:cubicBezTo>
                  <a:pt x="751" y="396"/>
                  <a:pt x="749" y="398"/>
                  <a:pt x="749" y="400"/>
                </a:cubicBezTo>
                <a:cubicBezTo>
                  <a:pt x="749" y="403"/>
                  <a:pt x="751" y="405"/>
                  <a:pt x="754" y="405"/>
                </a:cubicBezTo>
                <a:cubicBezTo>
                  <a:pt x="756" y="405"/>
                  <a:pt x="758" y="403"/>
                  <a:pt x="758" y="400"/>
                </a:cubicBezTo>
                <a:close/>
                <a:moveTo>
                  <a:pt x="745" y="428"/>
                </a:moveTo>
                <a:cubicBezTo>
                  <a:pt x="745" y="425"/>
                  <a:pt x="743" y="423"/>
                  <a:pt x="740" y="423"/>
                </a:cubicBezTo>
                <a:cubicBezTo>
                  <a:pt x="738" y="423"/>
                  <a:pt x="736" y="425"/>
                  <a:pt x="736" y="428"/>
                </a:cubicBezTo>
                <a:cubicBezTo>
                  <a:pt x="736" y="430"/>
                  <a:pt x="738" y="432"/>
                  <a:pt x="740" y="432"/>
                </a:cubicBezTo>
                <a:cubicBezTo>
                  <a:pt x="743" y="432"/>
                  <a:pt x="745" y="430"/>
                  <a:pt x="745" y="428"/>
                </a:cubicBezTo>
                <a:close/>
                <a:moveTo>
                  <a:pt x="731" y="482"/>
                </a:moveTo>
                <a:cubicBezTo>
                  <a:pt x="731" y="480"/>
                  <a:pt x="729" y="478"/>
                  <a:pt x="727" y="478"/>
                </a:cubicBezTo>
                <a:cubicBezTo>
                  <a:pt x="724" y="478"/>
                  <a:pt x="722" y="480"/>
                  <a:pt x="722" y="482"/>
                </a:cubicBezTo>
                <a:cubicBezTo>
                  <a:pt x="722" y="485"/>
                  <a:pt x="724" y="487"/>
                  <a:pt x="727" y="487"/>
                </a:cubicBezTo>
                <a:cubicBezTo>
                  <a:pt x="729" y="487"/>
                  <a:pt x="731" y="485"/>
                  <a:pt x="731" y="482"/>
                </a:cubicBezTo>
                <a:close/>
                <a:moveTo>
                  <a:pt x="738" y="468"/>
                </a:moveTo>
                <a:cubicBezTo>
                  <a:pt x="738" y="466"/>
                  <a:pt x="736" y="464"/>
                  <a:pt x="733" y="464"/>
                </a:cubicBezTo>
                <a:cubicBezTo>
                  <a:pt x="731" y="464"/>
                  <a:pt x="729" y="466"/>
                  <a:pt x="729" y="468"/>
                </a:cubicBezTo>
                <a:cubicBezTo>
                  <a:pt x="729" y="471"/>
                  <a:pt x="731" y="473"/>
                  <a:pt x="733" y="473"/>
                </a:cubicBezTo>
                <a:cubicBezTo>
                  <a:pt x="736" y="473"/>
                  <a:pt x="738" y="471"/>
                  <a:pt x="738" y="468"/>
                </a:cubicBezTo>
                <a:close/>
                <a:moveTo>
                  <a:pt x="751" y="414"/>
                </a:moveTo>
                <a:cubicBezTo>
                  <a:pt x="751" y="411"/>
                  <a:pt x="749" y="409"/>
                  <a:pt x="747" y="409"/>
                </a:cubicBezTo>
                <a:cubicBezTo>
                  <a:pt x="744" y="409"/>
                  <a:pt x="742" y="411"/>
                  <a:pt x="742" y="414"/>
                </a:cubicBezTo>
                <a:cubicBezTo>
                  <a:pt x="742" y="416"/>
                  <a:pt x="744" y="418"/>
                  <a:pt x="747" y="418"/>
                </a:cubicBezTo>
                <a:cubicBezTo>
                  <a:pt x="749" y="418"/>
                  <a:pt x="751" y="416"/>
                  <a:pt x="751" y="414"/>
                </a:cubicBezTo>
                <a:close/>
                <a:moveTo>
                  <a:pt x="765" y="359"/>
                </a:moveTo>
                <a:cubicBezTo>
                  <a:pt x="765" y="357"/>
                  <a:pt x="763" y="355"/>
                  <a:pt x="761" y="355"/>
                </a:cubicBezTo>
                <a:cubicBezTo>
                  <a:pt x="758" y="355"/>
                  <a:pt x="756" y="357"/>
                  <a:pt x="756" y="359"/>
                </a:cubicBezTo>
                <a:cubicBezTo>
                  <a:pt x="756" y="362"/>
                  <a:pt x="758" y="364"/>
                  <a:pt x="761" y="364"/>
                </a:cubicBezTo>
                <a:cubicBezTo>
                  <a:pt x="763" y="364"/>
                  <a:pt x="765" y="362"/>
                  <a:pt x="765" y="359"/>
                </a:cubicBezTo>
                <a:close/>
                <a:moveTo>
                  <a:pt x="792" y="223"/>
                </a:moveTo>
                <a:cubicBezTo>
                  <a:pt x="792" y="220"/>
                  <a:pt x="790" y="218"/>
                  <a:pt x="788" y="218"/>
                </a:cubicBezTo>
                <a:cubicBezTo>
                  <a:pt x="785" y="218"/>
                  <a:pt x="783" y="220"/>
                  <a:pt x="783" y="223"/>
                </a:cubicBezTo>
                <a:cubicBezTo>
                  <a:pt x="783" y="225"/>
                  <a:pt x="785" y="227"/>
                  <a:pt x="788" y="227"/>
                </a:cubicBezTo>
                <a:cubicBezTo>
                  <a:pt x="790" y="227"/>
                  <a:pt x="792" y="225"/>
                  <a:pt x="792" y="223"/>
                </a:cubicBezTo>
                <a:close/>
                <a:moveTo>
                  <a:pt x="738" y="441"/>
                </a:moveTo>
                <a:cubicBezTo>
                  <a:pt x="738" y="439"/>
                  <a:pt x="736" y="437"/>
                  <a:pt x="733" y="437"/>
                </a:cubicBezTo>
                <a:cubicBezTo>
                  <a:pt x="731" y="437"/>
                  <a:pt x="729" y="439"/>
                  <a:pt x="729" y="441"/>
                </a:cubicBezTo>
                <a:cubicBezTo>
                  <a:pt x="729" y="444"/>
                  <a:pt x="731" y="446"/>
                  <a:pt x="733" y="446"/>
                </a:cubicBezTo>
                <a:cubicBezTo>
                  <a:pt x="736" y="446"/>
                  <a:pt x="738" y="444"/>
                  <a:pt x="738" y="441"/>
                </a:cubicBezTo>
                <a:close/>
                <a:moveTo>
                  <a:pt x="849" y="268"/>
                </a:moveTo>
                <a:cubicBezTo>
                  <a:pt x="852" y="268"/>
                  <a:pt x="854" y="266"/>
                  <a:pt x="854" y="264"/>
                </a:cubicBezTo>
                <a:cubicBezTo>
                  <a:pt x="854" y="261"/>
                  <a:pt x="852" y="259"/>
                  <a:pt x="849" y="259"/>
                </a:cubicBezTo>
                <a:cubicBezTo>
                  <a:pt x="847" y="259"/>
                  <a:pt x="845" y="261"/>
                  <a:pt x="845" y="264"/>
                </a:cubicBezTo>
                <a:cubicBezTo>
                  <a:pt x="845" y="266"/>
                  <a:pt x="847" y="268"/>
                  <a:pt x="849" y="268"/>
                </a:cubicBezTo>
                <a:close/>
                <a:moveTo>
                  <a:pt x="840" y="237"/>
                </a:moveTo>
                <a:cubicBezTo>
                  <a:pt x="840" y="234"/>
                  <a:pt x="838" y="232"/>
                  <a:pt x="835" y="232"/>
                </a:cubicBezTo>
                <a:cubicBezTo>
                  <a:pt x="833" y="232"/>
                  <a:pt x="831" y="234"/>
                  <a:pt x="831" y="237"/>
                </a:cubicBezTo>
                <a:cubicBezTo>
                  <a:pt x="831" y="239"/>
                  <a:pt x="833" y="241"/>
                  <a:pt x="835" y="241"/>
                </a:cubicBezTo>
                <a:cubicBezTo>
                  <a:pt x="838" y="241"/>
                  <a:pt x="840" y="239"/>
                  <a:pt x="840" y="237"/>
                </a:cubicBezTo>
                <a:close/>
                <a:moveTo>
                  <a:pt x="856" y="282"/>
                </a:moveTo>
                <a:cubicBezTo>
                  <a:pt x="858" y="282"/>
                  <a:pt x="860" y="280"/>
                  <a:pt x="860" y="278"/>
                </a:cubicBezTo>
                <a:cubicBezTo>
                  <a:pt x="860" y="275"/>
                  <a:pt x="858" y="273"/>
                  <a:pt x="856" y="273"/>
                </a:cubicBezTo>
                <a:cubicBezTo>
                  <a:pt x="853" y="273"/>
                  <a:pt x="851" y="275"/>
                  <a:pt x="851" y="278"/>
                </a:cubicBezTo>
                <a:cubicBezTo>
                  <a:pt x="851" y="280"/>
                  <a:pt x="853" y="282"/>
                  <a:pt x="856" y="282"/>
                </a:cubicBezTo>
                <a:close/>
                <a:moveTo>
                  <a:pt x="842" y="255"/>
                </a:moveTo>
                <a:cubicBezTo>
                  <a:pt x="845" y="255"/>
                  <a:pt x="847" y="253"/>
                  <a:pt x="847" y="250"/>
                </a:cubicBezTo>
                <a:cubicBezTo>
                  <a:pt x="847" y="248"/>
                  <a:pt x="845" y="246"/>
                  <a:pt x="842" y="246"/>
                </a:cubicBezTo>
                <a:cubicBezTo>
                  <a:pt x="840" y="246"/>
                  <a:pt x="838" y="248"/>
                  <a:pt x="838" y="250"/>
                </a:cubicBezTo>
                <a:cubicBezTo>
                  <a:pt x="838" y="253"/>
                  <a:pt x="840" y="255"/>
                  <a:pt x="842" y="255"/>
                </a:cubicBezTo>
                <a:close/>
                <a:moveTo>
                  <a:pt x="869" y="282"/>
                </a:moveTo>
                <a:cubicBezTo>
                  <a:pt x="872" y="282"/>
                  <a:pt x="874" y="280"/>
                  <a:pt x="874" y="278"/>
                </a:cubicBezTo>
                <a:cubicBezTo>
                  <a:pt x="874" y="275"/>
                  <a:pt x="872" y="273"/>
                  <a:pt x="869" y="273"/>
                </a:cubicBezTo>
                <a:cubicBezTo>
                  <a:pt x="867" y="273"/>
                  <a:pt x="865" y="275"/>
                  <a:pt x="865" y="278"/>
                </a:cubicBezTo>
                <a:cubicBezTo>
                  <a:pt x="865" y="280"/>
                  <a:pt x="867" y="282"/>
                  <a:pt x="869" y="282"/>
                </a:cubicBezTo>
                <a:close/>
                <a:moveTo>
                  <a:pt x="795" y="296"/>
                </a:moveTo>
                <a:cubicBezTo>
                  <a:pt x="797" y="296"/>
                  <a:pt x="799" y="294"/>
                  <a:pt x="799" y="291"/>
                </a:cubicBezTo>
                <a:cubicBezTo>
                  <a:pt x="799" y="289"/>
                  <a:pt x="797" y="287"/>
                  <a:pt x="795" y="287"/>
                </a:cubicBezTo>
                <a:cubicBezTo>
                  <a:pt x="792" y="287"/>
                  <a:pt x="790" y="289"/>
                  <a:pt x="790" y="291"/>
                </a:cubicBezTo>
                <a:cubicBezTo>
                  <a:pt x="790" y="294"/>
                  <a:pt x="792" y="296"/>
                  <a:pt x="795" y="296"/>
                </a:cubicBezTo>
                <a:close/>
                <a:moveTo>
                  <a:pt x="867" y="264"/>
                </a:moveTo>
                <a:cubicBezTo>
                  <a:pt x="867" y="261"/>
                  <a:pt x="865" y="259"/>
                  <a:pt x="863" y="259"/>
                </a:cubicBezTo>
                <a:cubicBezTo>
                  <a:pt x="860" y="259"/>
                  <a:pt x="858" y="261"/>
                  <a:pt x="858" y="264"/>
                </a:cubicBezTo>
                <a:cubicBezTo>
                  <a:pt x="858" y="266"/>
                  <a:pt x="860" y="268"/>
                  <a:pt x="863" y="268"/>
                </a:cubicBezTo>
                <a:cubicBezTo>
                  <a:pt x="865" y="268"/>
                  <a:pt x="867" y="266"/>
                  <a:pt x="867" y="264"/>
                </a:cubicBezTo>
                <a:close/>
                <a:moveTo>
                  <a:pt x="813" y="264"/>
                </a:moveTo>
                <a:cubicBezTo>
                  <a:pt x="813" y="261"/>
                  <a:pt x="811" y="259"/>
                  <a:pt x="808" y="259"/>
                </a:cubicBezTo>
                <a:cubicBezTo>
                  <a:pt x="806" y="259"/>
                  <a:pt x="804" y="261"/>
                  <a:pt x="804" y="264"/>
                </a:cubicBezTo>
                <a:cubicBezTo>
                  <a:pt x="804" y="266"/>
                  <a:pt x="806" y="268"/>
                  <a:pt x="808" y="268"/>
                </a:cubicBezTo>
                <a:cubicBezTo>
                  <a:pt x="811" y="268"/>
                  <a:pt x="813" y="266"/>
                  <a:pt x="813" y="264"/>
                </a:cubicBezTo>
                <a:close/>
                <a:moveTo>
                  <a:pt x="806" y="278"/>
                </a:moveTo>
                <a:cubicBezTo>
                  <a:pt x="806" y="275"/>
                  <a:pt x="804" y="273"/>
                  <a:pt x="801" y="273"/>
                </a:cubicBezTo>
                <a:cubicBezTo>
                  <a:pt x="799" y="273"/>
                  <a:pt x="797" y="275"/>
                  <a:pt x="797" y="278"/>
                </a:cubicBezTo>
                <a:cubicBezTo>
                  <a:pt x="797" y="280"/>
                  <a:pt x="799" y="282"/>
                  <a:pt x="801" y="282"/>
                </a:cubicBezTo>
                <a:cubicBezTo>
                  <a:pt x="804" y="282"/>
                  <a:pt x="806" y="280"/>
                  <a:pt x="806" y="278"/>
                </a:cubicBezTo>
                <a:close/>
                <a:moveTo>
                  <a:pt x="820" y="250"/>
                </a:moveTo>
                <a:cubicBezTo>
                  <a:pt x="820" y="248"/>
                  <a:pt x="818" y="246"/>
                  <a:pt x="815" y="246"/>
                </a:cubicBezTo>
                <a:cubicBezTo>
                  <a:pt x="813" y="246"/>
                  <a:pt x="810" y="248"/>
                  <a:pt x="810" y="250"/>
                </a:cubicBezTo>
                <a:cubicBezTo>
                  <a:pt x="810" y="253"/>
                  <a:pt x="813" y="255"/>
                  <a:pt x="815" y="255"/>
                </a:cubicBezTo>
                <a:cubicBezTo>
                  <a:pt x="818" y="255"/>
                  <a:pt x="820" y="253"/>
                  <a:pt x="820" y="250"/>
                </a:cubicBezTo>
                <a:close/>
                <a:moveTo>
                  <a:pt x="815" y="218"/>
                </a:moveTo>
                <a:cubicBezTo>
                  <a:pt x="813" y="218"/>
                  <a:pt x="810" y="220"/>
                  <a:pt x="810" y="223"/>
                </a:cubicBezTo>
                <a:cubicBezTo>
                  <a:pt x="810" y="225"/>
                  <a:pt x="813" y="227"/>
                  <a:pt x="815" y="227"/>
                </a:cubicBezTo>
                <a:cubicBezTo>
                  <a:pt x="818" y="227"/>
                  <a:pt x="820" y="225"/>
                  <a:pt x="820" y="223"/>
                </a:cubicBezTo>
                <a:cubicBezTo>
                  <a:pt x="820" y="220"/>
                  <a:pt x="818" y="218"/>
                  <a:pt x="815" y="218"/>
                </a:cubicBezTo>
                <a:close/>
                <a:moveTo>
                  <a:pt x="829" y="255"/>
                </a:moveTo>
                <a:cubicBezTo>
                  <a:pt x="831" y="255"/>
                  <a:pt x="833" y="253"/>
                  <a:pt x="833" y="250"/>
                </a:cubicBezTo>
                <a:cubicBezTo>
                  <a:pt x="833" y="248"/>
                  <a:pt x="831" y="246"/>
                  <a:pt x="829" y="246"/>
                </a:cubicBezTo>
                <a:cubicBezTo>
                  <a:pt x="826" y="246"/>
                  <a:pt x="824" y="248"/>
                  <a:pt x="824" y="250"/>
                </a:cubicBezTo>
                <a:cubicBezTo>
                  <a:pt x="824" y="253"/>
                  <a:pt x="826" y="255"/>
                  <a:pt x="829" y="255"/>
                </a:cubicBezTo>
                <a:close/>
                <a:moveTo>
                  <a:pt x="826" y="209"/>
                </a:moveTo>
                <a:cubicBezTo>
                  <a:pt x="826" y="207"/>
                  <a:pt x="824" y="205"/>
                  <a:pt x="822" y="205"/>
                </a:cubicBezTo>
                <a:cubicBezTo>
                  <a:pt x="819" y="205"/>
                  <a:pt x="817" y="207"/>
                  <a:pt x="817" y="209"/>
                </a:cubicBezTo>
                <a:cubicBezTo>
                  <a:pt x="817" y="212"/>
                  <a:pt x="819" y="214"/>
                  <a:pt x="822" y="214"/>
                </a:cubicBezTo>
                <a:cubicBezTo>
                  <a:pt x="824" y="214"/>
                  <a:pt x="826" y="212"/>
                  <a:pt x="826" y="209"/>
                </a:cubicBezTo>
                <a:close/>
                <a:moveTo>
                  <a:pt x="647" y="414"/>
                </a:moveTo>
                <a:cubicBezTo>
                  <a:pt x="647" y="416"/>
                  <a:pt x="649" y="418"/>
                  <a:pt x="652" y="418"/>
                </a:cubicBezTo>
                <a:cubicBezTo>
                  <a:pt x="654" y="418"/>
                  <a:pt x="656" y="416"/>
                  <a:pt x="656" y="414"/>
                </a:cubicBezTo>
                <a:cubicBezTo>
                  <a:pt x="656" y="411"/>
                  <a:pt x="654" y="409"/>
                  <a:pt x="652" y="409"/>
                </a:cubicBezTo>
                <a:cubicBezTo>
                  <a:pt x="649" y="409"/>
                  <a:pt x="647" y="411"/>
                  <a:pt x="647" y="414"/>
                </a:cubicBezTo>
                <a:close/>
                <a:moveTo>
                  <a:pt x="618" y="350"/>
                </a:moveTo>
                <a:cubicBezTo>
                  <a:pt x="620" y="350"/>
                  <a:pt x="622" y="348"/>
                  <a:pt x="622" y="346"/>
                </a:cubicBezTo>
                <a:cubicBezTo>
                  <a:pt x="622" y="343"/>
                  <a:pt x="620" y="341"/>
                  <a:pt x="618" y="341"/>
                </a:cubicBezTo>
                <a:cubicBezTo>
                  <a:pt x="615" y="341"/>
                  <a:pt x="613" y="343"/>
                  <a:pt x="613" y="346"/>
                </a:cubicBezTo>
                <a:cubicBezTo>
                  <a:pt x="613" y="348"/>
                  <a:pt x="615" y="350"/>
                  <a:pt x="618" y="350"/>
                </a:cubicBezTo>
                <a:close/>
                <a:moveTo>
                  <a:pt x="613" y="318"/>
                </a:moveTo>
                <a:cubicBezTo>
                  <a:pt x="613" y="321"/>
                  <a:pt x="615" y="323"/>
                  <a:pt x="618" y="323"/>
                </a:cubicBezTo>
                <a:cubicBezTo>
                  <a:pt x="620" y="323"/>
                  <a:pt x="622" y="321"/>
                  <a:pt x="622" y="318"/>
                </a:cubicBezTo>
                <a:cubicBezTo>
                  <a:pt x="622" y="316"/>
                  <a:pt x="620" y="314"/>
                  <a:pt x="618" y="314"/>
                </a:cubicBezTo>
                <a:cubicBezTo>
                  <a:pt x="615" y="314"/>
                  <a:pt x="613" y="316"/>
                  <a:pt x="613" y="318"/>
                </a:cubicBezTo>
                <a:close/>
                <a:moveTo>
                  <a:pt x="620" y="305"/>
                </a:moveTo>
                <a:cubicBezTo>
                  <a:pt x="620" y="307"/>
                  <a:pt x="622" y="309"/>
                  <a:pt x="624" y="309"/>
                </a:cubicBezTo>
                <a:cubicBezTo>
                  <a:pt x="627" y="309"/>
                  <a:pt x="629" y="307"/>
                  <a:pt x="629" y="305"/>
                </a:cubicBezTo>
                <a:cubicBezTo>
                  <a:pt x="629" y="302"/>
                  <a:pt x="627" y="300"/>
                  <a:pt x="624" y="300"/>
                </a:cubicBezTo>
                <a:cubicBezTo>
                  <a:pt x="622" y="300"/>
                  <a:pt x="620" y="302"/>
                  <a:pt x="620" y="305"/>
                </a:cubicBezTo>
                <a:close/>
                <a:moveTo>
                  <a:pt x="629" y="332"/>
                </a:moveTo>
                <a:cubicBezTo>
                  <a:pt x="629" y="330"/>
                  <a:pt x="627" y="328"/>
                  <a:pt x="624" y="328"/>
                </a:cubicBezTo>
                <a:cubicBezTo>
                  <a:pt x="622" y="328"/>
                  <a:pt x="620" y="330"/>
                  <a:pt x="620" y="332"/>
                </a:cubicBezTo>
                <a:cubicBezTo>
                  <a:pt x="620" y="335"/>
                  <a:pt x="622" y="337"/>
                  <a:pt x="624" y="337"/>
                </a:cubicBezTo>
                <a:cubicBezTo>
                  <a:pt x="627" y="337"/>
                  <a:pt x="629" y="335"/>
                  <a:pt x="629" y="332"/>
                </a:cubicBezTo>
                <a:close/>
                <a:moveTo>
                  <a:pt x="631" y="350"/>
                </a:moveTo>
                <a:cubicBezTo>
                  <a:pt x="634" y="350"/>
                  <a:pt x="636" y="348"/>
                  <a:pt x="636" y="346"/>
                </a:cubicBezTo>
                <a:cubicBezTo>
                  <a:pt x="636" y="343"/>
                  <a:pt x="634" y="341"/>
                  <a:pt x="631" y="341"/>
                </a:cubicBezTo>
                <a:cubicBezTo>
                  <a:pt x="629" y="341"/>
                  <a:pt x="627" y="343"/>
                  <a:pt x="627" y="346"/>
                </a:cubicBezTo>
                <a:cubicBezTo>
                  <a:pt x="627" y="348"/>
                  <a:pt x="629" y="350"/>
                  <a:pt x="631" y="350"/>
                </a:cubicBezTo>
                <a:close/>
                <a:moveTo>
                  <a:pt x="638" y="364"/>
                </a:moveTo>
                <a:cubicBezTo>
                  <a:pt x="640" y="364"/>
                  <a:pt x="643" y="362"/>
                  <a:pt x="643" y="359"/>
                </a:cubicBezTo>
                <a:cubicBezTo>
                  <a:pt x="643" y="357"/>
                  <a:pt x="640" y="355"/>
                  <a:pt x="638" y="355"/>
                </a:cubicBezTo>
                <a:cubicBezTo>
                  <a:pt x="635" y="355"/>
                  <a:pt x="633" y="357"/>
                  <a:pt x="633" y="359"/>
                </a:cubicBezTo>
                <a:cubicBezTo>
                  <a:pt x="633" y="362"/>
                  <a:pt x="635" y="364"/>
                  <a:pt x="638" y="364"/>
                </a:cubicBezTo>
                <a:close/>
                <a:moveTo>
                  <a:pt x="647" y="223"/>
                </a:moveTo>
                <a:cubicBezTo>
                  <a:pt x="647" y="225"/>
                  <a:pt x="649" y="227"/>
                  <a:pt x="652" y="227"/>
                </a:cubicBezTo>
                <a:cubicBezTo>
                  <a:pt x="654" y="227"/>
                  <a:pt x="656" y="225"/>
                  <a:pt x="656" y="223"/>
                </a:cubicBezTo>
                <a:cubicBezTo>
                  <a:pt x="656" y="220"/>
                  <a:pt x="654" y="218"/>
                  <a:pt x="652" y="218"/>
                </a:cubicBezTo>
                <a:cubicBezTo>
                  <a:pt x="649" y="218"/>
                  <a:pt x="647" y="220"/>
                  <a:pt x="647" y="223"/>
                </a:cubicBezTo>
                <a:close/>
                <a:moveTo>
                  <a:pt x="627" y="291"/>
                </a:moveTo>
                <a:cubicBezTo>
                  <a:pt x="627" y="294"/>
                  <a:pt x="629" y="296"/>
                  <a:pt x="631" y="296"/>
                </a:cubicBezTo>
                <a:cubicBezTo>
                  <a:pt x="634" y="296"/>
                  <a:pt x="636" y="294"/>
                  <a:pt x="636" y="291"/>
                </a:cubicBezTo>
                <a:cubicBezTo>
                  <a:pt x="636" y="289"/>
                  <a:pt x="634" y="287"/>
                  <a:pt x="631" y="287"/>
                </a:cubicBezTo>
                <a:cubicBezTo>
                  <a:pt x="629" y="287"/>
                  <a:pt x="627" y="289"/>
                  <a:pt x="627" y="291"/>
                </a:cubicBezTo>
                <a:close/>
                <a:moveTo>
                  <a:pt x="654" y="209"/>
                </a:moveTo>
                <a:cubicBezTo>
                  <a:pt x="654" y="212"/>
                  <a:pt x="656" y="214"/>
                  <a:pt x="658" y="214"/>
                </a:cubicBezTo>
                <a:cubicBezTo>
                  <a:pt x="661" y="214"/>
                  <a:pt x="663" y="212"/>
                  <a:pt x="663" y="209"/>
                </a:cubicBezTo>
                <a:cubicBezTo>
                  <a:pt x="663" y="207"/>
                  <a:pt x="661" y="205"/>
                  <a:pt x="658" y="205"/>
                </a:cubicBezTo>
                <a:cubicBezTo>
                  <a:pt x="656" y="205"/>
                  <a:pt x="654" y="207"/>
                  <a:pt x="654" y="209"/>
                </a:cubicBezTo>
                <a:close/>
                <a:moveTo>
                  <a:pt x="640" y="237"/>
                </a:moveTo>
                <a:cubicBezTo>
                  <a:pt x="640" y="239"/>
                  <a:pt x="642" y="241"/>
                  <a:pt x="645" y="241"/>
                </a:cubicBezTo>
                <a:cubicBezTo>
                  <a:pt x="647" y="241"/>
                  <a:pt x="649" y="239"/>
                  <a:pt x="649" y="237"/>
                </a:cubicBezTo>
                <a:cubicBezTo>
                  <a:pt x="649" y="234"/>
                  <a:pt x="647" y="232"/>
                  <a:pt x="645" y="232"/>
                </a:cubicBezTo>
                <a:cubicBezTo>
                  <a:pt x="642" y="232"/>
                  <a:pt x="640" y="234"/>
                  <a:pt x="640" y="237"/>
                </a:cubicBezTo>
                <a:close/>
                <a:moveTo>
                  <a:pt x="645" y="378"/>
                </a:moveTo>
                <a:cubicBezTo>
                  <a:pt x="647" y="378"/>
                  <a:pt x="649" y="375"/>
                  <a:pt x="649" y="373"/>
                </a:cubicBezTo>
                <a:cubicBezTo>
                  <a:pt x="649" y="370"/>
                  <a:pt x="647" y="368"/>
                  <a:pt x="645" y="368"/>
                </a:cubicBezTo>
                <a:cubicBezTo>
                  <a:pt x="642" y="368"/>
                  <a:pt x="640" y="370"/>
                  <a:pt x="640" y="373"/>
                </a:cubicBezTo>
                <a:cubicBezTo>
                  <a:pt x="640" y="375"/>
                  <a:pt x="642" y="378"/>
                  <a:pt x="645" y="378"/>
                </a:cubicBezTo>
                <a:close/>
                <a:moveTo>
                  <a:pt x="638" y="282"/>
                </a:moveTo>
                <a:cubicBezTo>
                  <a:pt x="640" y="282"/>
                  <a:pt x="643" y="280"/>
                  <a:pt x="643" y="278"/>
                </a:cubicBezTo>
                <a:cubicBezTo>
                  <a:pt x="643" y="275"/>
                  <a:pt x="640" y="273"/>
                  <a:pt x="638" y="273"/>
                </a:cubicBezTo>
                <a:cubicBezTo>
                  <a:pt x="635" y="273"/>
                  <a:pt x="633" y="275"/>
                  <a:pt x="633" y="278"/>
                </a:cubicBezTo>
                <a:cubicBezTo>
                  <a:pt x="633" y="280"/>
                  <a:pt x="635" y="282"/>
                  <a:pt x="638" y="282"/>
                </a:cubicBezTo>
                <a:close/>
                <a:moveTo>
                  <a:pt x="633" y="250"/>
                </a:moveTo>
                <a:cubicBezTo>
                  <a:pt x="633" y="253"/>
                  <a:pt x="635" y="255"/>
                  <a:pt x="638" y="255"/>
                </a:cubicBezTo>
                <a:cubicBezTo>
                  <a:pt x="640" y="255"/>
                  <a:pt x="643" y="253"/>
                  <a:pt x="643" y="250"/>
                </a:cubicBezTo>
                <a:cubicBezTo>
                  <a:pt x="643" y="248"/>
                  <a:pt x="640" y="246"/>
                  <a:pt x="638" y="246"/>
                </a:cubicBezTo>
                <a:cubicBezTo>
                  <a:pt x="635" y="246"/>
                  <a:pt x="633" y="248"/>
                  <a:pt x="633" y="250"/>
                </a:cubicBezTo>
                <a:close/>
                <a:moveTo>
                  <a:pt x="661" y="468"/>
                </a:moveTo>
                <a:cubicBezTo>
                  <a:pt x="661" y="471"/>
                  <a:pt x="663" y="473"/>
                  <a:pt x="665" y="473"/>
                </a:cubicBezTo>
                <a:cubicBezTo>
                  <a:pt x="668" y="473"/>
                  <a:pt x="670" y="471"/>
                  <a:pt x="670" y="468"/>
                </a:cubicBezTo>
                <a:cubicBezTo>
                  <a:pt x="670" y="466"/>
                  <a:pt x="668" y="464"/>
                  <a:pt x="665" y="464"/>
                </a:cubicBezTo>
                <a:cubicBezTo>
                  <a:pt x="663" y="464"/>
                  <a:pt x="661" y="466"/>
                  <a:pt x="661" y="468"/>
                </a:cubicBezTo>
                <a:close/>
                <a:moveTo>
                  <a:pt x="692" y="528"/>
                </a:moveTo>
                <a:cubicBezTo>
                  <a:pt x="695" y="528"/>
                  <a:pt x="697" y="526"/>
                  <a:pt x="697" y="523"/>
                </a:cubicBezTo>
                <a:cubicBezTo>
                  <a:pt x="697" y="521"/>
                  <a:pt x="695" y="519"/>
                  <a:pt x="692" y="519"/>
                </a:cubicBezTo>
                <a:cubicBezTo>
                  <a:pt x="690" y="519"/>
                  <a:pt x="688" y="521"/>
                  <a:pt x="688" y="523"/>
                </a:cubicBezTo>
                <a:cubicBezTo>
                  <a:pt x="688" y="526"/>
                  <a:pt x="690" y="528"/>
                  <a:pt x="692" y="528"/>
                </a:cubicBezTo>
                <a:close/>
                <a:moveTo>
                  <a:pt x="679" y="528"/>
                </a:moveTo>
                <a:cubicBezTo>
                  <a:pt x="681" y="528"/>
                  <a:pt x="683" y="526"/>
                  <a:pt x="683" y="523"/>
                </a:cubicBezTo>
                <a:cubicBezTo>
                  <a:pt x="683" y="521"/>
                  <a:pt x="681" y="519"/>
                  <a:pt x="679" y="519"/>
                </a:cubicBezTo>
                <a:cubicBezTo>
                  <a:pt x="676" y="519"/>
                  <a:pt x="674" y="521"/>
                  <a:pt x="674" y="523"/>
                </a:cubicBezTo>
                <a:cubicBezTo>
                  <a:pt x="674" y="526"/>
                  <a:pt x="676" y="528"/>
                  <a:pt x="679" y="528"/>
                </a:cubicBezTo>
                <a:close/>
                <a:moveTo>
                  <a:pt x="690" y="509"/>
                </a:moveTo>
                <a:cubicBezTo>
                  <a:pt x="690" y="507"/>
                  <a:pt x="688" y="505"/>
                  <a:pt x="686" y="505"/>
                </a:cubicBezTo>
                <a:cubicBezTo>
                  <a:pt x="683" y="505"/>
                  <a:pt x="681" y="507"/>
                  <a:pt x="681" y="509"/>
                </a:cubicBezTo>
                <a:cubicBezTo>
                  <a:pt x="681" y="512"/>
                  <a:pt x="683" y="514"/>
                  <a:pt x="686" y="514"/>
                </a:cubicBezTo>
                <a:cubicBezTo>
                  <a:pt x="688" y="514"/>
                  <a:pt x="690" y="512"/>
                  <a:pt x="690" y="509"/>
                </a:cubicBezTo>
                <a:close/>
                <a:moveTo>
                  <a:pt x="704" y="509"/>
                </a:moveTo>
                <a:cubicBezTo>
                  <a:pt x="704" y="507"/>
                  <a:pt x="702" y="505"/>
                  <a:pt x="699" y="505"/>
                </a:cubicBezTo>
                <a:cubicBezTo>
                  <a:pt x="697" y="505"/>
                  <a:pt x="695" y="507"/>
                  <a:pt x="695" y="509"/>
                </a:cubicBezTo>
                <a:cubicBezTo>
                  <a:pt x="695" y="512"/>
                  <a:pt x="697" y="514"/>
                  <a:pt x="699" y="514"/>
                </a:cubicBezTo>
                <a:cubicBezTo>
                  <a:pt x="702" y="514"/>
                  <a:pt x="704" y="512"/>
                  <a:pt x="704" y="509"/>
                </a:cubicBezTo>
                <a:close/>
                <a:moveTo>
                  <a:pt x="711" y="496"/>
                </a:moveTo>
                <a:cubicBezTo>
                  <a:pt x="711" y="493"/>
                  <a:pt x="709" y="491"/>
                  <a:pt x="706" y="491"/>
                </a:cubicBezTo>
                <a:cubicBezTo>
                  <a:pt x="704" y="491"/>
                  <a:pt x="702" y="493"/>
                  <a:pt x="702" y="496"/>
                </a:cubicBezTo>
                <a:cubicBezTo>
                  <a:pt x="702" y="498"/>
                  <a:pt x="704" y="500"/>
                  <a:pt x="706" y="500"/>
                </a:cubicBezTo>
                <a:cubicBezTo>
                  <a:pt x="709" y="500"/>
                  <a:pt x="711" y="498"/>
                  <a:pt x="711" y="496"/>
                </a:cubicBezTo>
                <a:close/>
                <a:moveTo>
                  <a:pt x="713" y="514"/>
                </a:moveTo>
                <a:cubicBezTo>
                  <a:pt x="715" y="514"/>
                  <a:pt x="717" y="512"/>
                  <a:pt x="717" y="509"/>
                </a:cubicBezTo>
                <a:cubicBezTo>
                  <a:pt x="717" y="507"/>
                  <a:pt x="715" y="505"/>
                  <a:pt x="713" y="505"/>
                </a:cubicBezTo>
                <a:cubicBezTo>
                  <a:pt x="710" y="505"/>
                  <a:pt x="708" y="507"/>
                  <a:pt x="708" y="509"/>
                </a:cubicBezTo>
                <a:cubicBezTo>
                  <a:pt x="708" y="512"/>
                  <a:pt x="710" y="514"/>
                  <a:pt x="713" y="514"/>
                </a:cubicBezTo>
                <a:close/>
                <a:moveTo>
                  <a:pt x="652" y="391"/>
                </a:moveTo>
                <a:cubicBezTo>
                  <a:pt x="654" y="391"/>
                  <a:pt x="656" y="389"/>
                  <a:pt x="656" y="387"/>
                </a:cubicBezTo>
                <a:cubicBezTo>
                  <a:pt x="656" y="384"/>
                  <a:pt x="654" y="382"/>
                  <a:pt x="652" y="382"/>
                </a:cubicBezTo>
                <a:cubicBezTo>
                  <a:pt x="649" y="382"/>
                  <a:pt x="647" y="384"/>
                  <a:pt x="647" y="387"/>
                </a:cubicBezTo>
                <a:cubicBezTo>
                  <a:pt x="647" y="389"/>
                  <a:pt x="649" y="391"/>
                  <a:pt x="652" y="391"/>
                </a:cubicBezTo>
                <a:close/>
                <a:moveTo>
                  <a:pt x="658" y="432"/>
                </a:moveTo>
                <a:cubicBezTo>
                  <a:pt x="661" y="432"/>
                  <a:pt x="663" y="430"/>
                  <a:pt x="663" y="428"/>
                </a:cubicBezTo>
                <a:cubicBezTo>
                  <a:pt x="663" y="425"/>
                  <a:pt x="661" y="423"/>
                  <a:pt x="658" y="423"/>
                </a:cubicBezTo>
                <a:cubicBezTo>
                  <a:pt x="656" y="423"/>
                  <a:pt x="654" y="425"/>
                  <a:pt x="654" y="428"/>
                </a:cubicBezTo>
                <a:cubicBezTo>
                  <a:pt x="654" y="430"/>
                  <a:pt x="656" y="432"/>
                  <a:pt x="658" y="432"/>
                </a:cubicBezTo>
                <a:close/>
                <a:moveTo>
                  <a:pt x="665" y="446"/>
                </a:moveTo>
                <a:cubicBezTo>
                  <a:pt x="668" y="446"/>
                  <a:pt x="670" y="444"/>
                  <a:pt x="670" y="441"/>
                </a:cubicBezTo>
                <a:cubicBezTo>
                  <a:pt x="670" y="439"/>
                  <a:pt x="668" y="437"/>
                  <a:pt x="665" y="437"/>
                </a:cubicBezTo>
                <a:cubicBezTo>
                  <a:pt x="663" y="437"/>
                  <a:pt x="661" y="439"/>
                  <a:pt x="661" y="441"/>
                </a:cubicBezTo>
                <a:cubicBezTo>
                  <a:pt x="661" y="444"/>
                  <a:pt x="663" y="446"/>
                  <a:pt x="665" y="446"/>
                </a:cubicBezTo>
                <a:close/>
                <a:moveTo>
                  <a:pt x="672" y="514"/>
                </a:moveTo>
                <a:cubicBezTo>
                  <a:pt x="675" y="514"/>
                  <a:pt x="677" y="512"/>
                  <a:pt x="677" y="509"/>
                </a:cubicBezTo>
                <a:cubicBezTo>
                  <a:pt x="677" y="507"/>
                  <a:pt x="675" y="505"/>
                  <a:pt x="672" y="505"/>
                </a:cubicBezTo>
                <a:cubicBezTo>
                  <a:pt x="670" y="505"/>
                  <a:pt x="667" y="507"/>
                  <a:pt x="667" y="509"/>
                </a:cubicBezTo>
                <a:cubicBezTo>
                  <a:pt x="667" y="512"/>
                  <a:pt x="670" y="514"/>
                  <a:pt x="672" y="514"/>
                </a:cubicBezTo>
                <a:close/>
                <a:moveTo>
                  <a:pt x="876" y="296"/>
                </a:moveTo>
                <a:cubicBezTo>
                  <a:pt x="879" y="296"/>
                  <a:pt x="881" y="294"/>
                  <a:pt x="881" y="291"/>
                </a:cubicBezTo>
                <a:cubicBezTo>
                  <a:pt x="881" y="289"/>
                  <a:pt x="879" y="287"/>
                  <a:pt x="876" y="287"/>
                </a:cubicBezTo>
                <a:cubicBezTo>
                  <a:pt x="874" y="287"/>
                  <a:pt x="872" y="289"/>
                  <a:pt x="872" y="291"/>
                </a:cubicBezTo>
                <a:cubicBezTo>
                  <a:pt x="872" y="294"/>
                  <a:pt x="874" y="296"/>
                  <a:pt x="876" y="296"/>
                </a:cubicBezTo>
                <a:close/>
                <a:moveTo>
                  <a:pt x="661" y="496"/>
                </a:moveTo>
                <a:cubicBezTo>
                  <a:pt x="661" y="498"/>
                  <a:pt x="663" y="500"/>
                  <a:pt x="665" y="500"/>
                </a:cubicBezTo>
                <a:cubicBezTo>
                  <a:pt x="668" y="500"/>
                  <a:pt x="670" y="498"/>
                  <a:pt x="670" y="496"/>
                </a:cubicBezTo>
                <a:cubicBezTo>
                  <a:pt x="670" y="493"/>
                  <a:pt x="668" y="491"/>
                  <a:pt x="665" y="491"/>
                </a:cubicBezTo>
                <a:cubicBezTo>
                  <a:pt x="663" y="491"/>
                  <a:pt x="661" y="493"/>
                  <a:pt x="661" y="496"/>
                </a:cubicBezTo>
                <a:close/>
                <a:moveTo>
                  <a:pt x="724" y="496"/>
                </a:moveTo>
                <a:cubicBezTo>
                  <a:pt x="724" y="493"/>
                  <a:pt x="722" y="491"/>
                  <a:pt x="720" y="491"/>
                </a:cubicBezTo>
                <a:cubicBezTo>
                  <a:pt x="717" y="491"/>
                  <a:pt x="715" y="493"/>
                  <a:pt x="715" y="496"/>
                </a:cubicBezTo>
                <a:cubicBezTo>
                  <a:pt x="715" y="498"/>
                  <a:pt x="717" y="500"/>
                  <a:pt x="720" y="500"/>
                </a:cubicBezTo>
                <a:cubicBezTo>
                  <a:pt x="722" y="500"/>
                  <a:pt x="724" y="498"/>
                  <a:pt x="724" y="496"/>
                </a:cubicBezTo>
                <a:close/>
                <a:moveTo>
                  <a:pt x="1067" y="259"/>
                </a:moveTo>
                <a:cubicBezTo>
                  <a:pt x="1064" y="259"/>
                  <a:pt x="1062" y="261"/>
                  <a:pt x="1062" y="264"/>
                </a:cubicBezTo>
                <a:cubicBezTo>
                  <a:pt x="1062" y="266"/>
                  <a:pt x="1064" y="268"/>
                  <a:pt x="1067" y="268"/>
                </a:cubicBezTo>
                <a:cubicBezTo>
                  <a:pt x="1070" y="268"/>
                  <a:pt x="1072" y="266"/>
                  <a:pt x="1072" y="264"/>
                </a:cubicBezTo>
                <a:cubicBezTo>
                  <a:pt x="1072" y="261"/>
                  <a:pt x="1070" y="259"/>
                  <a:pt x="1067" y="259"/>
                </a:cubicBezTo>
                <a:close/>
                <a:moveTo>
                  <a:pt x="1092" y="468"/>
                </a:moveTo>
                <a:cubicBezTo>
                  <a:pt x="1092" y="466"/>
                  <a:pt x="1090" y="464"/>
                  <a:pt x="1087" y="464"/>
                </a:cubicBezTo>
                <a:cubicBezTo>
                  <a:pt x="1085" y="464"/>
                  <a:pt x="1083" y="466"/>
                  <a:pt x="1083" y="468"/>
                </a:cubicBezTo>
                <a:cubicBezTo>
                  <a:pt x="1083" y="471"/>
                  <a:pt x="1085" y="473"/>
                  <a:pt x="1087" y="473"/>
                </a:cubicBezTo>
                <a:cubicBezTo>
                  <a:pt x="1090" y="473"/>
                  <a:pt x="1092" y="471"/>
                  <a:pt x="1092" y="468"/>
                </a:cubicBezTo>
                <a:close/>
                <a:moveTo>
                  <a:pt x="1094" y="514"/>
                </a:moveTo>
                <a:cubicBezTo>
                  <a:pt x="1097" y="514"/>
                  <a:pt x="1099" y="512"/>
                  <a:pt x="1099" y="509"/>
                </a:cubicBezTo>
                <a:cubicBezTo>
                  <a:pt x="1099" y="507"/>
                  <a:pt x="1097" y="505"/>
                  <a:pt x="1094" y="505"/>
                </a:cubicBezTo>
                <a:cubicBezTo>
                  <a:pt x="1092" y="505"/>
                  <a:pt x="1090" y="507"/>
                  <a:pt x="1090" y="509"/>
                </a:cubicBezTo>
                <a:cubicBezTo>
                  <a:pt x="1090" y="512"/>
                  <a:pt x="1092" y="514"/>
                  <a:pt x="1094" y="514"/>
                </a:cubicBezTo>
                <a:close/>
                <a:moveTo>
                  <a:pt x="1108" y="541"/>
                </a:moveTo>
                <a:cubicBezTo>
                  <a:pt x="1110" y="541"/>
                  <a:pt x="1112" y="539"/>
                  <a:pt x="1112" y="537"/>
                </a:cubicBezTo>
                <a:cubicBezTo>
                  <a:pt x="1112" y="534"/>
                  <a:pt x="1110" y="532"/>
                  <a:pt x="1108" y="532"/>
                </a:cubicBezTo>
                <a:cubicBezTo>
                  <a:pt x="1105" y="532"/>
                  <a:pt x="1103" y="534"/>
                  <a:pt x="1103" y="537"/>
                </a:cubicBezTo>
                <a:cubicBezTo>
                  <a:pt x="1103" y="539"/>
                  <a:pt x="1105" y="541"/>
                  <a:pt x="1108" y="541"/>
                </a:cubicBezTo>
                <a:close/>
                <a:moveTo>
                  <a:pt x="1101" y="528"/>
                </a:moveTo>
                <a:cubicBezTo>
                  <a:pt x="1104" y="528"/>
                  <a:pt x="1106" y="526"/>
                  <a:pt x="1106" y="523"/>
                </a:cubicBezTo>
                <a:cubicBezTo>
                  <a:pt x="1106" y="521"/>
                  <a:pt x="1104" y="519"/>
                  <a:pt x="1101" y="519"/>
                </a:cubicBezTo>
                <a:cubicBezTo>
                  <a:pt x="1099" y="519"/>
                  <a:pt x="1096" y="521"/>
                  <a:pt x="1096" y="523"/>
                </a:cubicBezTo>
                <a:cubicBezTo>
                  <a:pt x="1096" y="526"/>
                  <a:pt x="1099" y="528"/>
                  <a:pt x="1101" y="528"/>
                </a:cubicBezTo>
                <a:close/>
                <a:moveTo>
                  <a:pt x="1119" y="523"/>
                </a:moveTo>
                <a:cubicBezTo>
                  <a:pt x="1119" y="521"/>
                  <a:pt x="1117" y="519"/>
                  <a:pt x="1115" y="519"/>
                </a:cubicBezTo>
                <a:cubicBezTo>
                  <a:pt x="1112" y="519"/>
                  <a:pt x="1110" y="521"/>
                  <a:pt x="1110" y="523"/>
                </a:cubicBezTo>
                <a:cubicBezTo>
                  <a:pt x="1110" y="526"/>
                  <a:pt x="1112" y="528"/>
                  <a:pt x="1115" y="528"/>
                </a:cubicBezTo>
                <a:cubicBezTo>
                  <a:pt x="1117" y="528"/>
                  <a:pt x="1119" y="526"/>
                  <a:pt x="1119" y="523"/>
                </a:cubicBezTo>
                <a:close/>
                <a:moveTo>
                  <a:pt x="1121" y="541"/>
                </a:moveTo>
                <a:cubicBezTo>
                  <a:pt x="1124" y="541"/>
                  <a:pt x="1126" y="539"/>
                  <a:pt x="1126" y="537"/>
                </a:cubicBezTo>
                <a:cubicBezTo>
                  <a:pt x="1126" y="534"/>
                  <a:pt x="1124" y="532"/>
                  <a:pt x="1121" y="532"/>
                </a:cubicBezTo>
                <a:cubicBezTo>
                  <a:pt x="1119" y="532"/>
                  <a:pt x="1117" y="534"/>
                  <a:pt x="1117" y="537"/>
                </a:cubicBezTo>
                <a:cubicBezTo>
                  <a:pt x="1117" y="539"/>
                  <a:pt x="1119" y="541"/>
                  <a:pt x="1121" y="541"/>
                </a:cubicBezTo>
                <a:close/>
                <a:moveTo>
                  <a:pt x="1067" y="423"/>
                </a:moveTo>
                <a:cubicBezTo>
                  <a:pt x="1064" y="423"/>
                  <a:pt x="1062" y="425"/>
                  <a:pt x="1062" y="428"/>
                </a:cubicBezTo>
                <a:cubicBezTo>
                  <a:pt x="1062" y="430"/>
                  <a:pt x="1064" y="432"/>
                  <a:pt x="1067" y="432"/>
                </a:cubicBezTo>
                <a:cubicBezTo>
                  <a:pt x="1070" y="432"/>
                  <a:pt x="1072" y="430"/>
                  <a:pt x="1072" y="428"/>
                </a:cubicBezTo>
                <a:cubicBezTo>
                  <a:pt x="1072" y="425"/>
                  <a:pt x="1070" y="423"/>
                  <a:pt x="1067" y="423"/>
                </a:cubicBezTo>
                <a:close/>
                <a:moveTo>
                  <a:pt x="1128" y="555"/>
                </a:moveTo>
                <a:cubicBezTo>
                  <a:pt x="1131" y="555"/>
                  <a:pt x="1133" y="553"/>
                  <a:pt x="1133" y="550"/>
                </a:cubicBezTo>
                <a:cubicBezTo>
                  <a:pt x="1133" y="548"/>
                  <a:pt x="1131" y="546"/>
                  <a:pt x="1128" y="546"/>
                </a:cubicBezTo>
                <a:cubicBezTo>
                  <a:pt x="1126" y="546"/>
                  <a:pt x="1124" y="548"/>
                  <a:pt x="1124" y="550"/>
                </a:cubicBezTo>
                <a:cubicBezTo>
                  <a:pt x="1124" y="553"/>
                  <a:pt x="1126" y="555"/>
                  <a:pt x="1128" y="555"/>
                </a:cubicBezTo>
                <a:close/>
                <a:moveTo>
                  <a:pt x="1081" y="514"/>
                </a:moveTo>
                <a:cubicBezTo>
                  <a:pt x="1083" y="514"/>
                  <a:pt x="1085" y="512"/>
                  <a:pt x="1085" y="509"/>
                </a:cubicBezTo>
                <a:cubicBezTo>
                  <a:pt x="1085" y="507"/>
                  <a:pt x="1083" y="505"/>
                  <a:pt x="1081" y="505"/>
                </a:cubicBezTo>
                <a:cubicBezTo>
                  <a:pt x="1078" y="505"/>
                  <a:pt x="1076" y="507"/>
                  <a:pt x="1076" y="509"/>
                </a:cubicBezTo>
                <a:cubicBezTo>
                  <a:pt x="1076" y="512"/>
                  <a:pt x="1078" y="514"/>
                  <a:pt x="1081" y="514"/>
                </a:cubicBezTo>
                <a:close/>
                <a:moveTo>
                  <a:pt x="1067" y="505"/>
                </a:moveTo>
                <a:cubicBezTo>
                  <a:pt x="1064" y="505"/>
                  <a:pt x="1062" y="507"/>
                  <a:pt x="1062" y="509"/>
                </a:cubicBezTo>
                <a:cubicBezTo>
                  <a:pt x="1062" y="512"/>
                  <a:pt x="1064" y="514"/>
                  <a:pt x="1067" y="514"/>
                </a:cubicBezTo>
                <a:cubicBezTo>
                  <a:pt x="1070" y="514"/>
                  <a:pt x="1072" y="512"/>
                  <a:pt x="1072" y="509"/>
                </a:cubicBezTo>
                <a:cubicBezTo>
                  <a:pt x="1072" y="507"/>
                  <a:pt x="1070" y="505"/>
                  <a:pt x="1067" y="505"/>
                </a:cubicBezTo>
                <a:close/>
                <a:moveTo>
                  <a:pt x="1067" y="287"/>
                </a:moveTo>
                <a:cubicBezTo>
                  <a:pt x="1064" y="287"/>
                  <a:pt x="1062" y="289"/>
                  <a:pt x="1062" y="291"/>
                </a:cubicBezTo>
                <a:cubicBezTo>
                  <a:pt x="1062" y="294"/>
                  <a:pt x="1064" y="296"/>
                  <a:pt x="1067" y="296"/>
                </a:cubicBezTo>
                <a:cubicBezTo>
                  <a:pt x="1070" y="296"/>
                  <a:pt x="1072" y="294"/>
                  <a:pt x="1072" y="291"/>
                </a:cubicBezTo>
                <a:cubicBezTo>
                  <a:pt x="1072" y="289"/>
                  <a:pt x="1070" y="287"/>
                  <a:pt x="1067" y="287"/>
                </a:cubicBezTo>
                <a:close/>
                <a:moveTo>
                  <a:pt x="1060" y="137"/>
                </a:moveTo>
                <a:cubicBezTo>
                  <a:pt x="1058" y="137"/>
                  <a:pt x="1056" y="139"/>
                  <a:pt x="1056" y="141"/>
                </a:cubicBezTo>
                <a:cubicBezTo>
                  <a:pt x="1056" y="144"/>
                  <a:pt x="1058" y="146"/>
                  <a:pt x="1060" y="146"/>
                </a:cubicBezTo>
                <a:cubicBezTo>
                  <a:pt x="1063" y="146"/>
                  <a:pt x="1065" y="144"/>
                  <a:pt x="1065" y="141"/>
                </a:cubicBezTo>
                <a:cubicBezTo>
                  <a:pt x="1065" y="139"/>
                  <a:pt x="1063" y="137"/>
                  <a:pt x="1060" y="137"/>
                </a:cubicBezTo>
                <a:close/>
                <a:moveTo>
                  <a:pt x="1078" y="250"/>
                </a:moveTo>
                <a:cubicBezTo>
                  <a:pt x="1078" y="248"/>
                  <a:pt x="1076" y="246"/>
                  <a:pt x="1074" y="246"/>
                </a:cubicBezTo>
                <a:cubicBezTo>
                  <a:pt x="1071" y="246"/>
                  <a:pt x="1069" y="248"/>
                  <a:pt x="1069" y="250"/>
                </a:cubicBezTo>
                <a:cubicBezTo>
                  <a:pt x="1069" y="253"/>
                  <a:pt x="1071" y="255"/>
                  <a:pt x="1074" y="255"/>
                </a:cubicBezTo>
                <a:cubicBezTo>
                  <a:pt x="1076" y="255"/>
                  <a:pt x="1078" y="253"/>
                  <a:pt x="1078" y="250"/>
                </a:cubicBezTo>
                <a:close/>
                <a:moveTo>
                  <a:pt x="1103" y="127"/>
                </a:moveTo>
                <a:cubicBezTo>
                  <a:pt x="1103" y="130"/>
                  <a:pt x="1105" y="132"/>
                  <a:pt x="1108" y="132"/>
                </a:cubicBezTo>
                <a:cubicBezTo>
                  <a:pt x="1110" y="132"/>
                  <a:pt x="1112" y="130"/>
                  <a:pt x="1112" y="127"/>
                </a:cubicBezTo>
                <a:cubicBezTo>
                  <a:pt x="1112" y="125"/>
                  <a:pt x="1110" y="123"/>
                  <a:pt x="1108" y="123"/>
                </a:cubicBezTo>
                <a:cubicBezTo>
                  <a:pt x="1105" y="123"/>
                  <a:pt x="1103" y="125"/>
                  <a:pt x="1103" y="127"/>
                </a:cubicBezTo>
                <a:close/>
                <a:moveTo>
                  <a:pt x="1096" y="141"/>
                </a:moveTo>
                <a:cubicBezTo>
                  <a:pt x="1096" y="144"/>
                  <a:pt x="1099" y="146"/>
                  <a:pt x="1101" y="146"/>
                </a:cubicBezTo>
                <a:cubicBezTo>
                  <a:pt x="1104" y="146"/>
                  <a:pt x="1106" y="144"/>
                  <a:pt x="1106" y="141"/>
                </a:cubicBezTo>
                <a:cubicBezTo>
                  <a:pt x="1106" y="139"/>
                  <a:pt x="1104" y="137"/>
                  <a:pt x="1101" y="137"/>
                </a:cubicBezTo>
                <a:cubicBezTo>
                  <a:pt x="1099" y="137"/>
                  <a:pt x="1096" y="139"/>
                  <a:pt x="1096" y="141"/>
                </a:cubicBezTo>
                <a:close/>
                <a:moveTo>
                  <a:pt x="1087" y="137"/>
                </a:moveTo>
                <a:cubicBezTo>
                  <a:pt x="1085" y="137"/>
                  <a:pt x="1083" y="139"/>
                  <a:pt x="1083" y="141"/>
                </a:cubicBezTo>
                <a:cubicBezTo>
                  <a:pt x="1083" y="144"/>
                  <a:pt x="1085" y="146"/>
                  <a:pt x="1087" y="146"/>
                </a:cubicBezTo>
                <a:cubicBezTo>
                  <a:pt x="1090" y="146"/>
                  <a:pt x="1092" y="144"/>
                  <a:pt x="1092" y="141"/>
                </a:cubicBezTo>
                <a:cubicBezTo>
                  <a:pt x="1092" y="139"/>
                  <a:pt x="1090" y="137"/>
                  <a:pt x="1087" y="137"/>
                </a:cubicBezTo>
                <a:close/>
                <a:moveTo>
                  <a:pt x="1140" y="537"/>
                </a:moveTo>
                <a:cubicBezTo>
                  <a:pt x="1140" y="534"/>
                  <a:pt x="1138" y="532"/>
                  <a:pt x="1135" y="532"/>
                </a:cubicBezTo>
                <a:cubicBezTo>
                  <a:pt x="1133" y="532"/>
                  <a:pt x="1131" y="534"/>
                  <a:pt x="1131" y="537"/>
                </a:cubicBezTo>
                <a:cubicBezTo>
                  <a:pt x="1131" y="539"/>
                  <a:pt x="1133" y="541"/>
                  <a:pt x="1135" y="541"/>
                </a:cubicBezTo>
                <a:cubicBezTo>
                  <a:pt x="1138" y="541"/>
                  <a:pt x="1140" y="539"/>
                  <a:pt x="1140" y="537"/>
                </a:cubicBezTo>
                <a:close/>
                <a:moveTo>
                  <a:pt x="1076" y="155"/>
                </a:moveTo>
                <a:cubicBezTo>
                  <a:pt x="1076" y="157"/>
                  <a:pt x="1078" y="159"/>
                  <a:pt x="1081" y="159"/>
                </a:cubicBezTo>
                <a:cubicBezTo>
                  <a:pt x="1083" y="159"/>
                  <a:pt x="1085" y="157"/>
                  <a:pt x="1085" y="155"/>
                </a:cubicBezTo>
                <a:cubicBezTo>
                  <a:pt x="1085" y="152"/>
                  <a:pt x="1083" y="150"/>
                  <a:pt x="1081" y="150"/>
                </a:cubicBezTo>
                <a:cubicBezTo>
                  <a:pt x="1078" y="150"/>
                  <a:pt x="1076" y="152"/>
                  <a:pt x="1076" y="155"/>
                </a:cubicBezTo>
                <a:close/>
                <a:moveTo>
                  <a:pt x="1074" y="137"/>
                </a:moveTo>
                <a:cubicBezTo>
                  <a:pt x="1071" y="137"/>
                  <a:pt x="1069" y="139"/>
                  <a:pt x="1069" y="141"/>
                </a:cubicBezTo>
                <a:cubicBezTo>
                  <a:pt x="1069" y="144"/>
                  <a:pt x="1071" y="146"/>
                  <a:pt x="1074" y="146"/>
                </a:cubicBezTo>
                <a:cubicBezTo>
                  <a:pt x="1076" y="146"/>
                  <a:pt x="1078" y="144"/>
                  <a:pt x="1078" y="141"/>
                </a:cubicBezTo>
                <a:cubicBezTo>
                  <a:pt x="1078" y="139"/>
                  <a:pt x="1076" y="137"/>
                  <a:pt x="1074" y="137"/>
                </a:cubicBezTo>
                <a:close/>
                <a:moveTo>
                  <a:pt x="1062" y="155"/>
                </a:moveTo>
                <a:cubicBezTo>
                  <a:pt x="1062" y="157"/>
                  <a:pt x="1064" y="159"/>
                  <a:pt x="1067" y="159"/>
                </a:cubicBezTo>
                <a:cubicBezTo>
                  <a:pt x="1070" y="159"/>
                  <a:pt x="1072" y="157"/>
                  <a:pt x="1072" y="155"/>
                </a:cubicBezTo>
                <a:cubicBezTo>
                  <a:pt x="1072" y="152"/>
                  <a:pt x="1070" y="150"/>
                  <a:pt x="1067" y="150"/>
                </a:cubicBezTo>
                <a:cubicBezTo>
                  <a:pt x="1064" y="150"/>
                  <a:pt x="1062" y="152"/>
                  <a:pt x="1062" y="155"/>
                </a:cubicBezTo>
                <a:close/>
                <a:moveTo>
                  <a:pt x="1090" y="155"/>
                </a:moveTo>
                <a:cubicBezTo>
                  <a:pt x="1090" y="157"/>
                  <a:pt x="1092" y="159"/>
                  <a:pt x="1094" y="159"/>
                </a:cubicBezTo>
                <a:cubicBezTo>
                  <a:pt x="1097" y="159"/>
                  <a:pt x="1099" y="157"/>
                  <a:pt x="1099" y="155"/>
                </a:cubicBezTo>
                <a:cubicBezTo>
                  <a:pt x="1099" y="152"/>
                  <a:pt x="1097" y="150"/>
                  <a:pt x="1094" y="150"/>
                </a:cubicBezTo>
                <a:cubicBezTo>
                  <a:pt x="1092" y="150"/>
                  <a:pt x="1090" y="152"/>
                  <a:pt x="1090" y="155"/>
                </a:cubicBezTo>
                <a:close/>
                <a:moveTo>
                  <a:pt x="1135" y="150"/>
                </a:moveTo>
                <a:cubicBezTo>
                  <a:pt x="1133" y="150"/>
                  <a:pt x="1131" y="152"/>
                  <a:pt x="1131" y="155"/>
                </a:cubicBezTo>
                <a:cubicBezTo>
                  <a:pt x="1131" y="157"/>
                  <a:pt x="1133" y="159"/>
                  <a:pt x="1135" y="159"/>
                </a:cubicBezTo>
                <a:cubicBezTo>
                  <a:pt x="1138" y="159"/>
                  <a:pt x="1140" y="157"/>
                  <a:pt x="1140" y="155"/>
                </a:cubicBezTo>
                <a:cubicBezTo>
                  <a:pt x="1140" y="152"/>
                  <a:pt x="1138" y="150"/>
                  <a:pt x="1135" y="150"/>
                </a:cubicBezTo>
                <a:close/>
                <a:moveTo>
                  <a:pt x="1128" y="137"/>
                </a:moveTo>
                <a:cubicBezTo>
                  <a:pt x="1126" y="137"/>
                  <a:pt x="1124" y="139"/>
                  <a:pt x="1124" y="141"/>
                </a:cubicBezTo>
                <a:cubicBezTo>
                  <a:pt x="1124" y="144"/>
                  <a:pt x="1126" y="146"/>
                  <a:pt x="1128" y="146"/>
                </a:cubicBezTo>
                <a:cubicBezTo>
                  <a:pt x="1131" y="146"/>
                  <a:pt x="1133" y="144"/>
                  <a:pt x="1133" y="141"/>
                </a:cubicBezTo>
                <a:cubicBezTo>
                  <a:pt x="1133" y="139"/>
                  <a:pt x="1131" y="137"/>
                  <a:pt x="1128" y="137"/>
                </a:cubicBezTo>
                <a:close/>
                <a:moveTo>
                  <a:pt x="1140" y="482"/>
                </a:moveTo>
                <a:cubicBezTo>
                  <a:pt x="1140" y="480"/>
                  <a:pt x="1138" y="478"/>
                  <a:pt x="1135" y="478"/>
                </a:cubicBezTo>
                <a:cubicBezTo>
                  <a:pt x="1133" y="478"/>
                  <a:pt x="1131" y="480"/>
                  <a:pt x="1131" y="482"/>
                </a:cubicBezTo>
                <a:cubicBezTo>
                  <a:pt x="1131" y="485"/>
                  <a:pt x="1133" y="487"/>
                  <a:pt x="1135" y="487"/>
                </a:cubicBezTo>
                <a:cubicBezTo>
                  <a:pt x="1138" y="487"/>
                  <a:pt x="1140" y="485"/>
                  <a:pt x="1140" y="482"/>
                </a:cubicBezTo>
                <a:close/>
                <a:moveTo>
                  <a:pt x="883" y="309"/>
                </a:moveTo>
                <a:cubicBezTo>
                  <a:pt x="886" y="309"/>
                  <a:pt x="888" y="307"/>
                  <a:pt x="888" y="305"/>
                </a:cubicBezTo>
                <a:cubicBezTo>
                  <a:pt x="888" y="302"/>
                  <a:pt x="886" y="300"/>
                  <a:pt x="883" y="300"/>
                </a:cubicBezTo>
                <a:cubicBezTo>
                  <a:pt x="881" y="300"/>
                  <a:pt x="879" y="302"/>
                  <a:pt x="879" y="305"/>
                </a:cubicBezTo>
                <a:cubicBezTo>
                  <a:pt x="879" y="307"/>
                  <a:pt x="881" y="309"/>
                  <a:pt x="883" y="309"/>
                </a:cubicBezTo>
                <a:close/>
                <a:moveTo>
                  <a:pt x="1121" y="123"/>
                </a:moveTo>
                <a:cubicBezTo>
                  <a:pt x="1119" y="123"/>
                  <a:pt x="1117" y="125"/>
                  <a:pt x="1117" y="127"/>
                </a:cubicBezTo>
                <a:cubicBezTo>
                  <a:pt x="1117" y="130"/>
                  <a:pt x="1119" y="132"/>
                  <a:pt x="1121" y="132"/>
                </a:cubicBezTo>
                <a:cubicBezTo>
                  <a:pt x="1124" y="132"/>
                  <a:pt x="1126" y="130"/>
                  <a:pt x="1126" y="127"/>
                </a:cubicBezTo>
                <a:cubicBezTo>
                  <a:pt x="1126" y="125"/>
                  <a:pt x="1124" y="123"/>
                  <a:pt x="1121" y="123"/>
                </a:cubicBezTo>
                <a:close/>
                <a:moveTo>
                  <a:pt x="1067" y="478"/>
                </a:moveTo>
                <a:cubicBezTo>
                  <a:pt x="1064" y="478"/>
                  <a:pt x="1062" y="480"/>
                  <a:pt x="1062" y="482"/>
                </a:cubicBezTo>
                <a:cubicBezTo>
                  <a:pt x="1062" y="485"/>
                  <a:pt x="1064" y="487"/>
                  <a:pt x="1067" y="487"/>
                </a:cubicBezTo>
                <a:cubicBezTo>
                  <a:pt x="1070" y="487"/>
                  <a:pt x="1072" y="485"/>
                  <a:pt x="1072" y="482"/>
                </a:cubicBezTo>
                <a:cubicBezTo>
                  <a:pt x="1072" y="480"/>
                  <a:pt x="1070" y="478"/>
                  <a:pt x="1067" y="478"/>
                </a:cubicBezTo>
                <a:close/>
                <a:moveTo>
                  <a:pt x="1115" y="109"/>
                </a:moveTo>
                <a:cubicBezTo>
                  <a:pt x="1112" y="109"/>
                  <a:pt x="1110" y="111"/>
                  <a:pt x="1110" y="114"/>
                </a:cubicBezTo>
                <a:cubicBezTo>
                  <a:pt x="1110" y="116"/>
                  <a:pt x="1112" y="118"/>
                  <a:pt x="1115" y="118"/>
                </a:cubicBezTo>
                <a:cubicBezTo>
                  <a:pt x="1117" y="118"/>
                  <a:pt x="1119" y="116"/>
                  <a:pt x="1119" y="114"/>
                </a:cubicBezTo>
                <a:cubicBezTo>
                  <a:pt x="1119" y="111"/>
                  <a:pt x="1117" y="109"/>
                  <a:pt x="1115" y="109"/>
                </a:cubicBezTo>
                <a:close/>
                <a:moveTo>
                  <a:pt x="944" y="296"/>
                </a:moveTo>
                <a:cubicBezTo>
                  <a:pt x="947" y="296"/>
                  <a:pt x="949" y="294"/>
                  <a:pt x="949" y="291"/>
                </a:cubicBezTo>
                <a:cubicBezTo>
                  <a:pt x="949" y="289"/>
                  <a:pt x="947" y="287"/>
                  <a:pt x="944" y="287"/>
                </a:cubicBezTo>
                <a:cubicBezTo>
                  <a:pt x="942" y="287"/>
                  <a:pt x="940" y="289"/>
                  <a:pt x="940" y="291"/>
                </a:cubicBezTo>
                <a:cubicBezTo>
                  <a:pt x="940" y="294"/>
                  <a:pt x="942" y="296"/>
                  <a:pt x="944" y="296"/>
                </a:cubicBezTo>
                <a:close/>
                <a:moveTo>
                  <a:pt x="938" y="282"/>
                </a:moveTo>
                <a:cubicBezTo>
                  <a:pt x="940" y="282"/>
                  <a:pt x="942" y="280"/>
                  <a:pt x="942" y="278"/>
                </a:cubicBezTo>
                <a:cubicBezTo>
                  <a:pt x="942" y="275"/>
                  <a:pt x="940" y="273"/>
                  <a:pt x="938" y="273"/>
                </a:cubicBezTo>
                <a:cubicBezTo>
                  <a:pt x="935" y="273"/>
                  <a:pt x="933" y="275"/>
                  <a:pt x="933" y="278"/>
                </a:cubicBezTo>
                <a:cubicBezTo>
                  <a:pt x="933" y="280"/>
                  <a:pt x="935" y="282"/>
                  <a:pt x="938" y="282"/>
                </a:cubicBezTo>
                <a:close/>
                <a:moveTo>
                  <a:pt x="972" y="350"/>
                </a:moveTo>
                <a:cubicBezTo>
                  <a:pt x="974" y="350"/>
                  <a:pt x="976" y="348"/>
                  <a:pt x="976" y="346"/>
                </a:cubicBezTo>
                <a:cubicBezTo>
                  <a:pt x="976" y="343"/>
                  <a:pt x="974" y="341"/>
                  <a:pt x="972" y="341"/>
                </a:cubicBezTo>
                <a:cubicBezTo>
                  <a:pt x="969" y="341"/>
                  <a:pt x="967" y="343"/>
                  <a:pt x="967" y="346"/>
                </a:cubicBezTo>
                <a:cubicBezTo>
                  <a:pt x="967" y="348"/>
                  <a:pt x="969" y="350"/>
                  <a:pt x="972" y="350"/>
                </a:cubicBezTo>
                <a:close/>
                <a:moveTo>
                  <a:pt x="965" y="337"/>
                </a:moveTo>
                <a:cubicBezTo>
                  <a:pt x="967" y="337"/>
                  <a:pt x="969" y="335"/>
                  <a:pt x="969" y="332"/>
                </a:cubicBezTo>
                <a:cubicBezTo>
                  <a:pt x="969" y="330"/>
                  <a:pt x="967" y="328"/>
                  <a:pt x="965" y="328"/>
                </a:cubicBezTo>
                <a:cubicBezTo>
                  <a:pt x="962" y="328"/>
                  <a:pt x="960" y="330"/>
                  <a:pt x="960" y="332"/>
                </a:cubicBezTo>
                <a:cubicBezTo>
                  <a:pt x="960" y="335"/>
                  <a:pt x="962" y="337"/>
                  <a:pt x="965" y="337"/>
                </a:cubicBezTo>
                <a:close/>
                <a:moveTo>
                  <a:pt x="958" y="323"/>
                </a:moveTo>
                <a:cubicBezTo>
                  <a:pt x="961" y="323"/>
                  <a:pt x="963" y="321"/>
                  <a:pt x="963" y="318"/>
                </a:cubicBezTo>
                <a:cubicBezTo>
                  <a:pt x="963" y="316"/>
                  <a:pt x="961" y="314"/>
                  <a:pt x="958" y="314"/>
                </a:cubicBezTo>
                <a:cubicBezTo>
                  <a:pt x="956" y="314"/>
                  <a:pt x="954" y="316"/>
                  <a:pt x="954" y="318"/>
                </a:cubicBezTo>
                <a:cubicBezTo>
                  <a:pt x="954" y="321"/>
                  <a:pt x="956" y="323"/>
                  <a:pt x="958" y="323"/>
                </a:cubicBezTo>
                <a:close/>
                <a:moveTo>
                  <a:pt x="931" y="268"/>
                </a:moveTo>
                <a:cubicBezTo>
                  <a:pt x="933" y="268"/>
                  <a:pt x="935" y="266"/>
                  <a:pt x="935" y="264"/>
                </a:cubicBezTo>
                <a:cubicBezTo>
                  <a:pt x="935" y="261"/>
                  <a:pt x="933" y="259"/>
                  <a:pt x="931" y="259"/>
                </a:cubicBezTo>
                <a:cubicBezTo>
                  <a:pt x="928" y="259"/>
                  <a:pt x="926" y="261"/>
                  <a:pt x="926" y="264"/>
                </a:cubicBezTo>
                <a:cubicBezTo>
                  <a:pt x="926" y="266"/>
                  <a:pt x="928" y="268"/>
                  <a:pt x="931" y="268"/>
                </a:cubicBezTo>
                <a:close/>
                <a:moveTo>
                  <a:pt x="951" y="309"/>
                </a:moveTo>
                <a:cubicBezTo>
                  <a:pt x="954" y="309"/>
                  <a:pt x="956" y="307"/>
                  <a:pt x="956" y="305"/>
                </a:cubicBezTo>
                <a:cubicBezTo>
                  <a:pt x="956" y="302"/>
                  <a:pt x="954" y="300"/>
                  <a:pt x="951" y="300"/>
                </a:cubicBezTo>
                <a:cubicBezTo>
                  <a:pt x="949" y="300"/>
                  <a:pt x="947" y="302"/>
                  <a:pt x="947" y="305"/>
                </a:cubicBezTo>
                <a:cubicBezTo>
                  <a:pt x="947" y="307"/>
                  <a:pt x="949" y="309"/>
                  <a:pt x="951" y="309"/>
                </a:cubicBezTo>
                <a:close/>
                <a:moveTo>
                  <a:pt x="929" y="250"/>
                </a:moveTo>
                <a:cubicBezTo>
                  <a:pt x="929" y="248"/>
                  <a:pt x="926" y="246"/>
                  <a:pt x="924" y="246"/>
                </a:cubicBezTo>
                <a:cubicBezTo>
                  <a:pt x="921" y="246"/>
                  <a:pt x="919" y="248"/>
                  <a:pt x="919" y="250"/>
                </a:cubicBezTo>
                <a:cubicBezTo>
                  <a:pt x="919" y="253"/>
                  <a:pt x="921" y="255"/>
                  <a:pt x="924" y="255"/>
                </a:cubicBezTo>
                <a:cubicBezTo>
                  <a:pt x="926" y="255"/>
                  <a:pt x="929" y="253"/>
                  <a:pt x="929" y="250"/>
                </a:cubicBezTo>
                <a:close/>
                <a:moveTo>
                  <a:pt x="901" y="305"/>
                </a:moveTo>
                <a:cubicBezTo>
                  <a:pt x="901" y="302"/>
                  <a:pt x="899" y="300"/>
                  <a:pt x="897" y="300"/>
                </a:cubicBezTo>
                <a:cubicBezTo>
                  <a:pt x="894" y="300"/>
                  <a:pt x="892" y="302"/>
                  <a:pt x="892" y="305"/>
                </a:cubicBezTo>
                <a:cubicBezTo>
                  <a:pt x="892" y="307"/>
                  <a:pt x="894" y="309"/>
                  <a:pt x="897" y="309"/>
                </a:cubicBezTo>
                <a:cubicBezTo>
                  <a:pt x="899" y="309"/>
                  <a:pt x="901" y="307"/>
                  <a:pt x="901" y="305"/>
                </a:cubicBezTo>
                <a:close/>
                <a:moveTo>
                  <a:pt x="890" y="323"/>
                </a:moveTo>
                <a:cubicBezTo>
                  <a:pt x="892" y="323"/>
                  <a:pt x="894" y="321"/>
                  <a:pt x="894" y="318"/>
                </a:cubicBezTo>
                <a:cubicBezTo>
                  <a:pt x="894" y="316"/>
                  <a:pt x="892" y="314"/>
                  <a:pt x="890" y="314"/>
                </a:cubicBezTo>
                <a:cubicBezTo>
                  <a:pt x="887" y="314"/>
                  <a:pt x="885" y="316"/>
                  <a:pt x="885" y="318"/>
                </a:cubicBezTo>
                <a:cubicBezTo>
                  <a:pt x="885" y="321"/>
                  <a:pt x="887" y="323"/>
                  <a:pt x="890" y="323"/>
                </a:cubicBezTo>
                <a:close/>
                <a:moveTo>
                  <a:pt x="908" y="291"/>
                </a:moveTo>
                <a:cubicBezTo>
                  <a:pt x="908" y="289"/>
                  <a:pt x="906" y="287"/>
                  <a:pt x="904" y="287"/>
                </a:cubicBezTo>
                <a:cubicBezTo>
                  <a:pt x="901" y="287"/>
                  <a:pt x="899" y="289"/>
                  <a:pt x="899" y="291"/>
                </a:cubicBezTo>
                <a:cubicBezTo>
                  <a:pt x="899" y="294"/>
                  <a:pt x="901" y="296"/>
                  <a:pt x="904" y="296"/>
                </a:cubicBezTo>
                <a:cubicBezTo>
                  <a:pt x="906" y="296"/>
                  <a:pt x="908" y="294"/>
                  <a:pt x="908" y="291"/>
                </a:cubicBezTo>
                <a:close/>
                <a:moveTo>
                  <a:pt x="1065" y="441"/>
                </a:moveTo>
                <a:cubicBezTo>
                  <a:pt x="1065" y="439"/>
                  <a:pt x="1063" y="437"/>
                  <a:pt x="1060" y="437"/>
                </a:cubicBezTo>
                <a:cubicBezTo>
                  <a:pt x="1058" y="437"/>
                  <a:pt x="1056" y="439"/>
                  <a:pt x="1056" y="441"/>
                </a:cubicBezTo>
                <a:cubicBezTo>
                  <a:pt x="1056" y="444"/>
                  <a:pt x="1058" y="446"/>
                  <a:pt x="1060" y="446"/>
                </a:cubicBezTo>
                <a:cubicBezTo>
                  <a:pt x="1063" y="446"/>
                  <a:pt x="1065" y="444"/>
                  <a:pt x="1065" y="441"/>
                </a:cubicBezTo>
                <a:close/>
                <a:moveTo>
                  <a:pt x="915" y="278"/>
                </a:moveTo>
                <a:cubicBezTo>
                  <a:pt x="915" y="275"/>
                  <a:pt x="913" y="273"/>
                  <a:pt x="910" y="273"/>
                </a:cubicBezTo>
                <a:cubicBezTo>
                  <a:pt x="908" y="273"/>
                  <a:pt x="906" y="275"/>
                  <a:pt x="906" y="278"/>
                </a:cubicBezTo>
                <a:cubicBezTo>
                  <a:pt x="906" y="280"/>
                  <a:pt x="908" y="282"/>
                  <a:pt x="910" y="282"/>
                </a:cubicBezTo>
                <a:cubicBezTo>
                  <a:pt x="913" y="282"/>
                  <a:pt x="915" y="280"/>
                  <a:pt x="915" y="278"/>
                </a:cubicBezTo>
                <a:close/>
                <a:moveTo>
                  <a:pt x="922" y="264"/>
                </a:moveTo>
                <a:cubicBezTo>
                  <a:pt x="922" y="261"/>
                  <a:pt x="920" y="259"/>
                  <a:pt x="917" y="259"/>
                </a:cubicBezTo>
                <a:cubicBezTo>
                  <a:pt x="915" y="259"/>
                  <a:pt x="913" y="261"/>
                  <a:pt x="913" y="264"/>
                </a:cubicBezTo>
                <a:cubicBezTo>
                  <a:pt x="913" y="266"/>
                  <a:pt x="915" y="268"/>
                  <a:pt x="917" y="268"/>
                </a:cubicBezTo>
                <a:cubicBezTo>
                  <a:pt x="920" y="268"/>
                  <a:pt x="922" y="266"/>
                  <a:pt x="922" y="264"/>
                </a:cubicBezTo>
                <a:close/>
                <a:moveTo>
                  <a:pt x="1037" y="332"/>
                </a:moveTo>
                <a:cubicBezTo>
                  <a:pt x="1037" y="330"/>
                  <a:pt x="1035" y="328"/>
                  <a:pt x="1033" y="328"/>
                </a:cubicBezTo>
                <a:cubicBezTo>
                  <a:pt x="1030" y="328"/>
                  <a:pt x="1028" y="330"/>
                  <a:pt x="1028" y="332"/>
                </a:cubicBezTo>
                <a:cubicBezTo>
                  <a:pt x="1028" y="335"/>
                  <a:pt x="1030" y="337"/>
                  <a:pt x="1033" y="337"/>
                </a:cubicBezTo>
                <a:cubicBezTo>
                  <a:pt x="1035" y="337"/>
                  <a:pt x="1037" y="335"/>
                  <a:pt x="1037" y="332"/>
                </a:cubicBezTo>
                <a:close/>
                <a:moveTo>
                  <a:pt x="978" y="364"/>
                </a:moveTo>
                <a:cubicBezTo>
                  <a:pt x="981" y="364"/>
                  <a:pt x="983" y="362"/>
                  <a:pt x="983" y="359"/>
                </a:cubicBezTo>
                <a:cubicBezTo>
                  <a:pt x="983" y="357"/>
                  <a:pt x="981" y="355"/>
                  <a:pt x="978" y="355"/>
                </a:cubicBezTo>
                <a:cubicBezTo>
                  <a:pt x="976" y="355"/>
                  <a:pt x="974" y="357"/>
                  <a:pt x="974" y="359"/>
                </a:cubicBezTo>
                <a:cubicBezTo>
                  <a:pt x="974" y="362"/>
                  <a:pt x="976" y="364"/>
                  <a:pt x="978" y="364"/>
                </a:cubicBezTo>
                <a:close/>
                <a:moveTo>
                  <a:pt x="1040" y="432"/>
                </a:moveTo>
                <a:cubicBezTo>
                  <a:pt x="1042" y="432"/>
                  <a:pt x="1044" y="430"/>
                  <a:pt x="1044" y="428"/>
                </a:cubicBezTo>
                <a:cubicBezTo>
                  <a:pt x="1044" y="425"/>
                  <a:pt x="1042" y="423"/>
                  <a:pt x="1040" y="423"/>
                </a:cubicBezTo>
                <a:cubicBezTo>
                  <a:pt x="1037" y="423"/>
                  <a:pt x="1035" y="425"/>
                  <a:pt x="1035" y="428"/>
                </a:cubicBezTo>
                <a:cubicBezTo>
                  <a:pt x="1035" y="430"/>
                  <a:pt x="1037" y="432"/>
                  <a:pt x="1040" y="432"/>
                </a:cubicBezTo>
                <a:close/>
                <a:moveTo>
                  <a:pt x="1051" y="414"/>
                </a:moveTo>
                <a:cubicBezTo>
                  <a:pt x="1051" y="411"/>
                  <a:pt x="1049" y="409"/>
                  <a:pt x="1047" y="409"/>
                </a:cubicBezTo>
                <a:cubicBezTo>
                  <a:pt x="1044" y="409"/>
                  <a:pt x="1042" y="411"/>
                  <a:pt x="1042" y="414"/>
                </a:cubicBezTo>
                <a:cubicBezTo>
                  <a:pt x="1042" y="416"/>
                  <a:pt x="1044" y="418"/>
                  <a:pt x="1047" y="418"/>
                </a:cubicBezTo>
                <a:cubicBezTo>
                  <a:pt x="1049" y="418"/>
                  <a:pt x="1051" y="416"/>
                  <a:pt x="1051" y="414"/>
                </a:cubicBezTo>
                <a:close/>
                <a:moveTo>
                  <a:pt x="1026" y="432"/>
                </a:moveTo>
                <a:cubicBezTo>
                  <a:pt x="1029" y="432"/>
                  <a:pt x="1031" y="430"/>
                  <a:pt x="1031" y="428"/>
                </a:cubicBezTo>
                <a:cubicBezTo>
                  <a:pt x="1031" y="425"/>
                  <a:pt x="1029" y="423"/>
                  <a:pt x="1026" y="423"/>
                </a:cubicBezTo>
                <a:cubicBezTo>
                  <a:pt x="1024" y="423"/>
                  <a:pt x="1022" y="425"/>
                  <a:pt x="1022" y="428"/>
                </a:cubicBezTo>
                <a:cubicBezTo>
                  <a:pt x="1022" y="430"/>
                  <a:pt x="1024" y="432"/>
                  <a:pt x="1026" y="432"/>
                </a:cubicBezTo>
                <a:close/>
                <a:moveTo>
                  <a:pt x="1049" y="482"/>
                </a:moveTo>
                <a:cubicBezTo>
                  <a:pt x="1049" y="485"/>
                  <a:pt x="1051" y="487"/>
                  <a:pt x="1053" y="487"/>
                </a:cubicBezTo>
                <a:cubicBezTo>
                  <a:pt x="1056" y="487"/>
                  <a:pt x="1058" y="485"/>
                  <a:pt x="1058" y="482"/>
                </a:cubicBezTo>
                <a:cubicBezTo>
                  <a:pt x="1058" y="480"/>
                  <a:pt x="1056" y="478"/>
                  <a:pt x="1053" y="478"/>
                </a:cubicBezTo>
                <a:cubicBezTo>
                  <a:pt x="1051" y="478"/>
                  <a:pt x="1049" y="480"/>
                  <a:pt x="1049" y="482"/>
                </a:cubicBezTo>
                <a:close/>
                <a:moveTo>
                  <a:pt x="1028" y="468"/>
                </a:moveTo>
                <a:cubicBezTo>
                  <a:pt x="1028" y="471"/>
                  <a:pt x="1030" y="473"/>
                  <a:pt x="1033" y="473"/>
                </a:cubicBezTo>
                <a:cubicBezTo>
                  <a:pt x="1035" y="473"/>
                  <a:pt x="1037" y="471"/>
                  <a:pt x="1037" y="468"/>
                </a:cubicBezTo>
                <a:cubicBezTo>
                  <a:pt x="1037" y="466"/>
                  <a:pt x="1035" y="464"/>
                  <a:pt x="1033" y="464"/>
                </a:cubicBezTo>
                <a:cubicBezTo>
                  <a:pt x="1030" y="464"/>
                  <a:pt x="1028" y="466"/>
                  <a:pt x="1028" y="468"/>
                </a:cubicBezTo>
                <a:close/>
                <a:moveTo>
                  <a:pt x="997" y="332"/>
                </a:moveTo>
                <a:cubicBezTo>
                  <a:pt x="997" y="330"/>
                  <a:pt x="995" y="328"/>
                  <a:pt x="992" y="328"/>
                </a:cubicBezTo>
                <a:cubicBezTo>
                  <a:pt x="990" y="328"/>
                  <a:pt x="988" y="330"/>
                  <a:pt x="988" y="332"/>
                </a:cubicBezTo>
                <a:cubicBezTo>
                  <a:pt x="988" y="335"/>
                  <a:pt x="990" y="337"/>
                  <a:pt x="992" y="337"/>
                </a:cubicBezTo>
                <a:cubicBezTo>
                  <a:pt x="995" y="337"/>
                  <a:pt x="997" y="335"/>
                  <a:pt x="997" y="332"/>
                </a:cubicBezTo>
                <a:close/>
                <a:moveTo>
                  <a:pt x="1019" y="337"/>
                </a:moveTo>
                <a:cubicBezTo>
                  <a:pt x="1022" y="337"/>
                  <a:pt x="1024" y="335"/>
                  <a:pt x="1024" y="332"/>
                </a:cubicBezTo>
                <a:cubicBezTo>
                  <a:pt x="1024" y="330"/>
                  <a:pt x="1022" y="328"/>
                  <a:pt x="1019" y="328"/>
                </a:cubicBezTo>
                <a:cubicBezTo>
                  <a:pt x="1017" y="328"/>
                  <a:pt x="1015" y="330"/>
                  <a:pt x="1015" y="332"/>
                </a:cubicBezTo>
                <a:cubicBezTo>
                  <a:pt x="1015" y="335"/>
                  <a:pt x="1017" y="337"/>
                  <a:pt x="1019" y="337"/>
                </a:cubicBezTo>
                <a:close/>
                <a:moveTo>
                  <a:pt x="990" y="346"/>
                </a:moveTo>
                <a:cubicBezTo>
                  <a:pt x="990" y="343"/>
                  <a:pt x="988" y="341"/>
                  <a:pt x="985" y="341"/>
                </a:cubicBezTo>
                <a:cubicBezTo>
                  <a:pt x="983" y="341"/>
                  <a:pt x="981" y="343"/>
                  <a:pt x="981" y="346"/>
                </a:cubicBezTo>
                <a:cubicBezTo>
                  <a:pt x="981" y="348"/>
                  <a:pt x="983" y="350"/>
                  <a:pt x="985" y="350"/>
                </a:cubicBezTo>
                <a:cubicBezTo>
                  <a:pt x="988" y="350"/>
                  <a:pt x="990" y="348"/>
                  <a:pt x="990" y="346"/>
                </a:cubicBezTo>
                <a:close/>
                <a:moveTo>
                  <a:pt x="1003" y="318"/>
                </a:moveTo>
                <a:cubicBezTo>
                  <a:pt x="1003" y="316"/>
                  <a:pt x="1001" y="314"/>
                  <a:pt x="999" y="314"/>
                </a:cubicBezTo>
                <a:cubicBezTo>
                  <a:pt x="996" y="314"/>
                  <a:pt x="994" y="316"/>
                  <a:pt x="994" y="318"/>
                </a:cubicBezTo>
                <a:cubicBezTo>
                  <a:pt x="994" y="321"/>
                  <a:pt x="996" y="323"/>
                  <a:pt x="999" y="323"/>
                </a:cubicBezTo>
                <a:cubicBezTo>
                  <a:pt x="1001" y="323"/>
                  <a:pt x="1003" y="321"/>
                  <a:pt x="1003" y="318"/>
                </a:cubicBezTo>
                <a:close/>
                <a:moveTo>
                  <a:pt x="1010" y="305"/>
                </a:moveTo>
                <a:cubicBezTo>
                  <a:pt x="1010" y="302"/>
                  <a:pt x="1008" y="300"/>
                  <a:pt x="1006" y="300"/>
                </a:cubicBezTo>
                <a:cubicBezTo>
                  <a:pt x="1003" y="300"/>
                  <a:pt x="1001" y="302"/>
                  <a:pt x="1001" y="305"/>
                </a:cubicBezTo>
                <a:cubicBezTo>
                  <a:pt x="1001" y="307"/>
                  <a:pt x="1003" y="309"/>
                  <a:pt x="1006" y="309"/>
                </a:cubicBezTo>
                <a:cubicBezTo>
                  <a:pt x="1008" y="309"/>
                  <a:pt x="1010" y="307"/>
                  <a:pt x="1010" y="305"/>
                </a:cubicBezTo>
                <a:close/>
                <a:moveTo>
                  <a:pt x="1013" y="323"/>
                </a:moveTo>
                <a:cubicBezTo>
                  <a:pt x="1015" y="323"/>
                  <a:pt x="1017" y="321"/>
                  <a:pt x="1017" y="318"/>
                </a:cubicBezTo>
                <a:cubicBezTo>
                  <a:pt x="1017" y="316"/>
                  <a:pt x="1015" y="314"/>
                  <a:pt x="1013" y="314"/>
                </a:cubicBezTo>
                <a:cubicBezTo>
                  <a:pt x="1010" y="314"/>
                  <a:pt x="1008" y="316"/>
                  <a:pt x="1008" y="318"/>
                </a:cubicBezTo>
                <a:cubicBezTo>
                  <a:pt x="1008" y="321"/>
                  <a:pt x="1010" y="323"/>
                  <a:pt x="1013" y="323"/>
                </a:cubicBezTo>
                <a:close/>
                <a:moveTo>
                  <a:pt x="885" y="155"/>
                </a:moveTo>
                <a:cubicBezTo>
                  <a:pt x="885" y="157"/>
                  <a:pt x="887" y="159"/>
                  <a:pt x="890" y="159"/>
                </a:cubicBezTo>
                <a:cubicBezTo>
                  <a:pt x="892" y="159"/>
                  <a:pt x="894" y="157"/>
                  <a:pt x="894" y="155"/>
                </a:cubicBezTo>
                <a:cubicBezTo>
                  <a:pt x="894" y="152"/>
                  <a:pt x="892" y="150"/>
                  <a:pt x="890" y="150"/>
                </a:cubicBezTo>
                <a:cubicBezTo>
                  <a:pt x="887" y="150"/>
                  <a:pt x="885" y="152"/>
                  <a:pt x="885" y="155"/>
                </a:cubicBezTo>
                <a:close/>
                <a:moveTo>
                  <a:pt x="633" y="196"/>
                </a:moveTo>
                <a:cubicBezTo>
                  <a:pt x="633" y="198"/>
                  <a:pt x="635" y="200"/>
                  <a:pt x="638" y="200"/>
                </a:cubicBezTo>
                <a:cubicBezTo>
                  <a:pt x="640" y="200"/>
                  <a:pt x="643" y="198"/>
                  <a:pt x="643" y="196"/>
                </a:cubicBezTo>
                <a:cubicBezTo>
                  <a:pt x="643" y="193"/>
                  <a:pt x="640" y="191"/>
                  <a:pt x="638" y="191"/>
                </a:cubicBezTo>
                <a:cubicBezTo>
                  <a:pt x="635" y="191"/>
                  <a:pt x="633" y="193"/>
                  <a:pt x="633" y="196"/>
                </a:cubicBezTo>
                <a:close/>
                <a:moveTo>
                  <a:pt x="627" y="209"/>
                </a:moveTo>
                <a:cubicBezTo>
                  <a:pt x="627" y="212"/>
                  <a:pt x="629" y="214"/>
                  <a:pt x="631" y="214"/>
                </a:cubicBezTo>
                <a:cubicBezTo>
                  <a:pt x="634" y="214"/>
                  <a:pt x="636" y="212"/>
                  <a:pt x="636" y="209"/>
                </a:cubicBezTo>
                <a:cubicBezTo>
                  <a:pt x="636" y="207"/>
                  <a:pt x="634" y="205"/>
                  <a:pt x="631" y="205"/>
                </a:cubicBezTo>
                <a:cubicBezTo>
                  <a:pt x="629" y="205"/>
                  <a:pt x="627" y="207"/>
                  <a:pt x="627" y="209"/>
                </a:cubicBezTo>
                <a:close/>
                <a:moveTo>
                  <a:pt x="633" y="168"/>
                </a:moveTo>
                <a:cubicBezTo>
                  <a:pt x="633" y="171"/>
                  <a:pt x="635" y="173"/>
                  <a:pt x="638" y="173"/>
                </a:cubicBezTo>
                <a:cubicBezTo>
                  <a:pt x="640" y="173"/>
                  <a:pt x="643" y="171"/>
                  <a:pt x="643" y="168"/>
                </a:cubicBezTo>
                <a:cubicBezTo>
                  <a:pt x="643" y="166"/>
                  <a:pt x="640" y="164"/>
                  <a:pt x="638" y="164"/>
                </a:cubicBezTo>
                <a:cubicBezTo>
                  <a:pt x="635" y="164"/>
                  <a:pt x="633" y="166"/>
                  <a:pt x="633" y="168"/>
                </a:cubicBezTo>
                <a:close/>
                <a:moveTo>
                  <a:pt x="620" y="223"/>
                </a:moveTo>
                <a:cubicBezTo>
                  <a:pt x="620" y="225"/>
                  <a:pt x="622" y="227"/>
                  <a:pt x="624" y="227"/>
                </a:cubicBezTo>
                <a:cubicBezTo>
                  <a:pt x="627" y="227"/>
                  <a:pt x="629" y="225"/>
                  <a:pt x="629" y="223"/>
                </a:cubicBezTo>
                <a:cubicBezTo>
                  <a:pt x="629" y="220"/>
                  <a:pt x="627" y="218"/>
                  <a:pt x="624" y="218"/>
                </a:cubicBezTo>
                <a:cubicBezTo>
                  <a:pt x="622" y="218"/>
                  <a:pt x="620" y="220"/>
                  <a:pt x="620" y="223"/>
                </a:cubicBezTo>
                <a:close/>
                <a:moveTo>
                  <a:pt x="606" y="250"/>
                </a:moveTo>
                <a:cubicBezTo>
                  <a:pt x="606" y="253"/>
                  <a:pt x="608" y="255"/>
                  <a:pt x="611" y="255"/>
                </a:cubicBezTo>
                <a:cubicBezTo>
                  <a:pt x="613" y="255"/>
                  <a:pt x="615" y="253"/>
                  <a:pt x="615" y="250"/>
                </a:cubicBezTo>
                <a:cubicBezTo>
                  <a:pt x="615" y="248"/>
                  <a:pt x="613" y="246"/>
                  <a:pt x="611" y="246"/>
                </a:cubicBezTo>
                <a:cubicBezTo>
                  <a:pt x="608" y="246"/>
                  <a:pt x="606" y="248"/>
                  <a:pt x="606" y="250"/>
                </a:cubicBezTo>
                <a:close/>
                <a:moveTo>
                  <a:pt x="613" y="237"/>
                </a:moveTo>
                <a:cubicBezTo>
                  <a:pt x="613" y="239"/>
                  <a:pt x="615" y="241"/>
                  <a:pt x="618" y="241"/>
                </a:cubicBezTo>
                <a:cubicBezTo>
                  <a:pt x="620" y="241"/>
                  <a:pt x="622" y="239"/>
                  <a:pt x="622" y="237"/>
                </a:cubicBezTo>
                <a:cubicBezTo>
                  <a:pt x="622" y="234"/>
                  <a:pt x="620" y="232"/>
                  <a:pt x="618" y="232"/>
                </a:cubicBezTo>
                <a:cubicBezTo>
                  <a:pt x="615" y="232"/>
                  <a:pt x="613" y="234"/>
                  <a:pt x="613" y="237"/>
                </a:cubicBezTo>
                <a:close/>
                <a:moveTo>
                  <a:pt x="604" y="232"/>
                </a:moveTo>
                <a:cubicBezTo>
                  <a:pt x="601" y="232"/>
                  <a:pt x="599" y="234"/>
                  <a:pt x="599" y="237"/>
                </a:cubicBezTo>
                <a:cubicBezTo>
                  <a:pt x="599" y="239"/>
                  <a:pt x="601" y="241"/>
                  <a:pt x="604" y="241"/>
                </a:cubicBezTo>
                <a:cubicBezTo>
                  <a:pt x="606" y="241"/>
                  <a:pt x="608" y="239"/>
                  <a:pt x="608" y="237"/>
                </a:cubicBezTo>
                <a:cubicBezTo>
                  <a:pt x="608" y="234"/>
                  <a:pt x="606" y="232"/>
                  <a:pt x="604" y="232"/>
                </a:cubicBezTo>
                <a:close/>
                <a:moveTo>
                  <a:pt x="640" y="155"/>
                </a:moveTo>
                <a:cubicBezTo>
                  <a:pt x="640" y="157"/>
                  <a:pt x="642" y="159"/>
                  <a:pt x="645" y="159"/>
                </a:cubicBezTo>
                <a:cubicBezTo>
                  <a:pt x="647" y="159"/>
                  <a:pt x="649" y="157"/>
                  <a:pt x="649" y="155"/>
                </a:cubicBezTo>
                <a:cubicBezTo>
                  <a:pt x="649" y="152"/>
                  <a:pt x="647" y="150"/>
                  <a:pt x="645" y="150"/>
                </a:cubicBezTo>
                <a:cubicBezTo>
                  <a:pt x="642" y="150"/>
                  <a:pt x="640" y="152"/>
                  <a:pt x="640" y="155"/>
                </a:cubicBezTo>
                <a:close/>
                <a:moveTo>
                  <a:pt x="672" y="50"/>
                </a:moveTo>
                <a:cubicBezTo>
                  <a:pt x="675" y="50"/>
                  <a:pt x="677" y="48"/>
                  <a:pt x="677" y="46"/>
                </a:cubicBezTo>
                <a:cubicBezTo>
                  <a:pt x="677" y="43"/>
                  <a:pt x="675" y="41"/>
                  <a:pt x="672" y="41"/>
                </a:cubicBezTo>
                <a:cubicBezTo>
                  <a:pt x="670" y="41"/>
                  <a:pt x="667" y="43"/>
                  <a:pt x="667" y="46"/>
                </a:cubicBezTo>
                <a:cubicBezTo>
                  <a:pt x="667" y="48"/>
                  <a:pt x="670" y="50"/>
                  <a:pt x="672" y="50"/>
                </a:cubicBezTo>
                <a:close/>
                <a:moveTo>
                  <a:pt x="647" y="141"/>
                </a:moveTo>
                <a:cubicBezTo>
                  <a:pt x="647" y="144"/>
                  <a:pt x="649" y="146"/>
                  <a:pt x="652" y="146"/>
                </a:cubicBezTo>
                <a:cubicBezTo>
                  <a:pt x="654" y="146"/>
                  <a:pt x="656" y="144"/>
                  <a:pt x="656" y="141"/>
                </a:cubicBezTo>
                <a:cubicBezTo>
                  <a:pt x="656" y="139"/>
                  <a:pt x="654" y="137"/>
                  <a:pt x="652" y="137"/>
                </a:cubicBezTo>
                <a:cubicBezTo>
                  <a:pt x="649" y="137"/>
                  <a:pt x="647" y="139"/>
                  <a:pt x="647" y="141"/>
                </a:cubicBezTo>
                <a:close/>
                <a:moveTo>
                  <a:pt x="661" y="114"/>
                </a:moveTo>
                <a:cubicBezTo>
                  <a:pt x="661" y="116"/>
                  <a:pt x="663" y="118"/>
                  <a:pt x="665" y="118"/>
                </a:cubicBezTo>
                <a:cubicBezTo>
                  <a:pt x="668" y="118"/>
                  <a:pt x="670" y="116"/>
                  <a:pt x="670" y="114"/>
                </a:cubicBezTo>
                <a:cubicBezTo>
                  <a:pt x="670" y="111"/>
                  <a:pt x="668" y="109"/>
                  <a:pt x="665" y="109"/>
                </a:cubicBezTo>
                <a:cubicBezTo>
                  <a:pt x="663" y="109"/>
                  <a:pt x="661" y="111"/>
                  <a:pt x="661" y="114"/>
                </a:cubicBezTo>
                <a:close/>
                <a:moveTo>
                  <a:pt x="672" y="105"/>
                </a:moveTo>
                <a:cubicBezTo>
                  <a:pt x="675" y="105"/>
                  <a:pt x="677" y="103"/>
                  <a:pt x="677" y="100"/>
                </a:cubicBezTo>
                <a:cubicBezTo>
                  <a:pt x="677" y="98"/>
                  <a:pt x="675" y="96"/>
                  <a:pt x="672" y="96"/>
                </a:cubicBezTo>
                <a:cubicBezTo>
                  <a:pt x="670" y="96"/>
                  <a:pt x="667" y="98"/>
                  <a:pt x="667" y="100"/>
                </a:cubicBezTo>
                <a:cubicBezTo>
                  <a:pt x="667" y="103"/>
                  <a:pt x="670" y="105"/>
                  <a:pt x="672" y="105"/>
                </a:cubicBezTo>
                <a:close/>
                <a:moveTo>
                  <a:pt x="658" y="96"/>
                </a:moveTo>
                <a:cubicBezTo>
                  <a:pt x="656" y="96"/>
                  <a:pt x="654" y="98"/>
                  <a:pt x="654" y="100"/>
                </a:cubicBezTo>
                <a:cubicBezTo>
                  <a:pt x="654" y="103"/>
                  <a:pt x="656" y="105"/>
                  <a:pt x="658" y="105"/>
                </a:cubicBezTo>
                <a:cubicBezTo>
                  <a:pt x="661" y="105"/>
                  <a:pt x="663" y="103"/>
                  <a:pt x="663" y="100"/>
                </a:cubicBezTo>
                <a:cubicBezTo>
                  <a:pt x="663" y="98"/>
                  <a:pt x="661" y="96"/>
                  <a:pt x="658" y="96"/>
                </a:cubicBezTo>
                <a:close/>
                <a:moveTo>
                  <a:pt x="654" y="127"/>
                </a:moveTo>
                <a:cubicBezTo>
                  <a:pt x="654" y="130"/>
                  <a:pt x="656" y="132"/>
                  <a:pt x="658" y="132"/>
                </a:cubicBezTo>
                <a:cubicBezTo>
                  <a:pt x="661" y="132"/>
                  <a:pt x="663" y="130"/>
                  <a:pt x="663" y="127"/>
                </a:cubicBezTo>
                <a:cubicBezTo>
                  <a:pt x="663" y="125"/>
                  <a:pt x="661" y="123"/>
                  <a:pt x="658" y="123"/>
                </a:cubicBezTo>
                <a:cubicBezTo>
                  <a:pt x="656" y="123"/>
                  <a:pt x="654" y="125"/>
                  <a:pt x="654" y="127"/>
                </a:cubicBezTo>
                <a:close/>
                <a:moveTo>
                  <a:pt x="583" y="255"/>
                </a:moveTo>
                <a:cubicBezTo>
                  <a:pt x="586" y="255"/>
                  <a:pt x="588" y="253"/>
                  <a:pt x="588" y="250"/>
                </a:cubicBezTo>
                <a:cubicBezTo>
                  <a:pt x="588" y="248"/>
                  <a:pt x="586" y="246"/>
                  <a:pt x="583" y="246"/>
                </a:cubicBezTo>
                <a:cubicBezTo>
                  <a:pt x="581" y="246"/>
                  <a:pt x="579" y="248"/>
                  <a:pt x="579" y="250"/>
                </a:cubicBezTo>
                <a:cubicBezTo>
                  <a:pt x="579" y="253"/>
                  <a:pt x="581" y="255"/>
                  <a:pt x="583" y="255"/>
                </a:cubicBezTo>
                <a:close/>
                <a:moveTo>
                  <a:pt x="559" y="346"/>
                </a:moveTo>
                <a:cubicBezTo>
                  <a:pt x="559" y="348"/>
                  <a:pt x="561" y="350"/>
                  <a:pt x="563" y="350"/>
                </a:cubicBezTo>
                <a:cubicBezTo>
                  <a:pt x="566" y="350"/>
                  <a:pt x="568" y="348"/>
                  <a:pt x="568" y="346"/>
                </a:cubicBezTo>
                <a:cubicBezTo>
                  <a:pt x="568" y="343"/>
                  <a:pt x="566" y="341"/>
                  <a:pt x="563" y="341"/>
                </a:cubicBezTo>
                <a:cubicBezTo>
                  <a:pt x="561" y="341"/>
                  <a:pt x="559" y="343"/>
                  <a:pt x="559" y="346"/>
                </a:cubicBezTo>
                <a:close/>
                <a:moveTo>
                  <a:pt x="552" y="359"/>
                </a:moveTo>
                <a:cubicBezTo>
                  <a:pt x="552" y="362"/>
                  <a:pt x="554" y="364"/>
                  <a:pt x="556" y="364"/>
                </a:cubicBezTo>
                <a:cubicBezTo>
                  <a:pt x="559" y="364"/>
                  <a:pt x="561" y="362"/>
                  <a:pt x="561" y="359"/>
                </a:cubicBezTo>
                <a:cubicBezTo>
                  <a:pt x="561" y="357"/>
                  <a:pt x="559" y="355"/>
                  <a:pt x="556" y="355"/>
                </a:cubicBezTo>
                <a:cubicBezTo>
                  <a:pt x="554" y="355"/>
                  <a:pt x="552" y="357"/>
                  <a:pt x="552" y="359"/>
                </a:cubicBezTo>
                <a:close/>
                <a:moveTo>
                  <a:pt x="570" y="309"/>
                </a:moveTo>
                <a:cubicBezTo>
                  <a:pt x="572" y="309"/>
                  <a:pt x="574" y="307"/>
                  <a:pt x="574" y="305"/>
                </a:cubicBezTo>
                <a:cubicBezTo>
                  <a:pt x="574" y="302"/>
                  <a:pt x="572" y="300"/>
                  <a:pt x="570" y="300"/>
                </a:cubicBezTo>
                <a:cubicBezTo>
                  <a:pt x="567" y="300"/>
                  <a:pt x="565" y="302"/>
                  <a:pt x="565" y="305"/>
                </a:cubicBezTo>
                <a:cubicBezTo>
                  <a:pt x="565" y="307"/>
                  <a:pt x="567" y="309"/>
                  <a:pt x="570" y="309"/>
                </a:cubicBezTo>
                <a:close/>
                <a:moveTo>
                  <a:pt x="565" y="332"/>
                </a:moveTo>
                <a:cubicBezTo>
                  <a:pt x="565" y="335"/>
                  <a:pt x="567" y="337"/>
                  <a:pt x="570" y="337"/>
                </a:cubicBezTo>
                <a:cubicBezTo>
                  <a:pt x="572" y="337"/>
                  <a:pt x="574" y="335"/>
                  <a:pt x="574" y="332"/>
                </a:cubicBezTo>
                <a:cubicBezTo>
                  <a:pt x="574" y="330"/>
                  <a:pt x="572" y="328"/>
                  <a:pt x="570" y="328"/>
                </a:cubicBezTo>
                <a:cubicBezTo>
                  <a:pt x="567" y="328"/>
                  <a:pt x="565" y="330"/>
                  <a:pt x="565" y="332"/>
                </a:cubicBezTo>
                <a:close/>
                <a:moveTo>
                  <a:pt x="545" y="373"/>
                </a:moveTo>
                <a:cubicBezTo>
                  <a:pt x="545" y="375"/>
                  <a:pt x="547" y="378"/>
                  <a:pt x="549" y="378"/>
                </a:cubicBezTo>
                <a:cubicBezTo>
                  <a:pt x="552" y="378"/>
                  <a:pt x="554" y="375"/>
                  <a:pt x="554" y="373"/>
                </a:cubicBezTo>
                <a:cubicBezTo>
                  <a:pt x="554" y="370"/>
                  <a:pt x="552" y="368"/>
                  <a:pt x="549" y="368"/>
                </a:cubicBezTo>
                <a:cubicBezTo>
                  <a:pt x="547" y="368"/>
                  <a:pt x="545" y="370"/>
                  <a:pt x="545" y="373"/>
                </a:cubicBezTo>
                <a:close/>
                <a:moveTo>
                  <a:pt x="556" y="391"/>
                </a:moveTo>
                <a:cubicBezTo>
                  <a:pt x="559" y="391"/>
                  <a:pt x="561" y="389"/>
                  <a:pt x="561" y="387"/>
                </a:cubicBezTo>
                <a:cubicBezTo>
                  <a:pt x="561" y="384"/>
                  <a:pt x="559" y="382"/>
                  <a:pt x="556" y="382"/>
                </a:cubicBezTo>
                <a:cubicBezTo>
                  <a:pt x="554" y="382"/>
                  <a:pt x="552" y="384"/>
                  <a:pt x="552" y="387"/>
                </a:cubicBezTo>
                <a:cubicBezTo>
                  <a:pt x="552" y="389"/>
                  <a:pt x="554" y="391"/>
                  <a:pt x="556" y="391"/>
                </a:cubicBezTo>
                <a:close/>
                <a:moveTo>
                  <a:pt x="674" y="114"/>
                </a:moveTo>
                <a:cubicBezTo>
                  <a:pt x="674" y="116"/>
                  <a:pt x="676" y="118"/>
                  <a:pt x="679" y="118"/>
                </a:cubicBezTo>
                <a:cubicBezTo>
                  <a:pt x="681" y="118"/>
                  <a:pt x="683" y="116"/>
                  <a:pt x="683" y="114"/>
                </a:cubicBezTo>
                <a:cubicBezTo>
                  <a:pt x="683" y="111"/>
                  <a:pt x="681" y="109"/>
                  <a:pt x="679" y="109"/>
                </a:cubicBezTo>
                <a:cubicBezTo>
                  <a:pt x="676" y="109"/>
                  <a:pt x="674" y="111"/>
                  <a:pt x="674" y="114"/>
                </a:cubicBezTo>
                <a:close/>
                <a:moveTo>
                  <a:pt x="563" y="405"/>
                </a:moveTo>
                <a:cubicBezTo>
                  <a:pt x="566" y="405"/>
                  <a:pt x="568" y="403"/>
                  <a:pt x="568" y="400"/>
                </a:cubicBezTo>
                <a:cubicBezTo>
                  <a:pt x="568" y="398"/>
                  <a:pt x="566" y="396"/>
                  <a:pt x="563" y="396"/>
                </a:cubicBezTo>
                <a:cubicBezTo>
                  <a:pt x="561" y="396"/>
                  <a:pt x="559" y="398"/>
                  <a:pt x="559" y="400"/>
                </a:cubicBezTo>
                <a:cubicBezTo>
                  <a:pt x="559" y="403"/>
                  <a:pt x="561" y="405"/>
                  <a:pt x="563" y="405"/>
                </a:cubicBezTo>
                <a:close/>
                <a:moveTo>
                  <a:pt x="583" y="191"/>
                </a:moveTo>
                <a:cubicBezTo>
                  <a:pt x="581" y="191"/>
                  <a:pt x="579" y="193"/>
                  <a:pt x="579" y="196"/>
                </a:cubicBezTo>
                <a:cubicBezTo>
                  <a:pt x="579" y="198"/>
                  <a:pt x="581" y="200"/>
                  <a:pt x="583" y="200"/>
                </a:cubicBezTo>
                <a:cubicBezTo>
                  <a:pt x="586" y="200"/>
                  <a:pt x="588" y="198"/>
                  <a:pt x="588" y="196"/>
                </a:cubicBezTo>
                <a:cubicBezTo>
                  <a:pt x="588" y="193"/>
                  <a:pt x="586" y="191"/>
                  <a:pt x="583" y="191"/>
                </a:cubicBezTo>
                <a:close/>
                <a:moveTo>
                  <a:pt x="590" y="205"/>
                </a:moveTo>
                <a:cubicBezTo>
                  <a:pt x="588" y="205"/>
                  <a:pt x="586" y="207"/>
                  <a:pt x="586" y="209"/>
                </a:cubicBezTo>
                <a:cubicBezTo>
                  <a:pt x="586" y="212"/>
                  <a:pt x="588" y="214"/>
                  <a:pt x="590" y="214"/>
                </a:cubicBezTo>
                <a:cubicBezTo>
                  <a:pt x="593" y="214"/>
                  <a:pt x="595" y="212"/>
                  <a:pt x="595" y="209"/>
                </a:cubicBezTo>
                <a:cubicBezTo>
                  <a:pt x="595" y="207"/>
                  <a:pt x="593" y="205"/>
                  <a:pt x="590" y="205"/>
                </a:cubicBezTo>
                <a:close/>
                <a:moveTo>
                  <a:pt x="572" y="264"/>
                </a:moveTo>
                <a:cubicBezTo>
                  <a:pt x="572" y="266"/>
                  <a:pt x="574" y="268"/>
                  <a:pt x="577" y="268"/>
                </a:cubicBezTo>
                <a:cubicBezTo>
                  <a:pt x="579" y="268"/>
                  <a:pt x="581" y="266"/>
                  <a:pt x="581" y="264"/>
                </a:cubicBezTo>
                <a:cubicBezTo>
                  <a:pt x="581" y="261"/>
                  <a:pt x="579" y="259"/>
                  <a:pt x="577" y="259"/>
                </a:cubicBezTo>
                <a:cubicBezTo>
                  <a:pt x="574" y="259"/>
                  <a:pt x="572" y="261"/>
                  <a:pt x="572" y="264"/>
                </a:cubicBezTo>
                <a:close/>
                <a:moveTo>
                  <a:pt x="570" y="246"/>
                </a:moveTo>
                <a:cubicBezTo>
                  <a:pt x="567" y="246"/>
                  <a:pt x="565" y="248"/>
                  <a:pt x="565" y="250"/>
                </a:cubicBezTo>
                <a:cubicBezTo>
                  <a:pt x="565" y="253"/>
                  <a:pt x="567" y="255"/>
                  <a:pt x="570" y="255"/>
                </a:cubicBezTo>
                <a:cubicBezTo>
                  <a:pt x="572" y="255"/>
                  <a:pt x="574" y="253"/>
                  <a:pt x="574" y="250"/>
                </a:cubicBezTo>
                <a:cubicBezTo>
                  <a:pt x="574" y="248"/>
                  <a:pt x="572" y="246"/>
                  <a:pt x="570" y="246"/>
                </a:cubicBezTo>
                <a:close/>
                <a:moveTo>
                  <a:pt x="565" y="278"/>
                </a:moveTo>
                <a:cubicBezTo>
                  <a:pt x="565" y="280"/>
                  <a:pt x="567" y="282"/>
                  <a:pt x="570" y="282"/>
                </a:cubicBezTo>
                <a:cubicBezTo>
                  <a:pt x="572" y="282"/>
                  <a:pt x="574" y="280"/>
                  <a:pt x="574" y="278"/>
                </a:cubicBezTo>
                <a:cubicBezTo>
                  <a:pt x="574" y="275"/>
                  <a:pt x="572" y="273"/>
                  <a:pt x="570" y="273"/>
                </a:cubicBezTo>
                <a:cubicBezTo>
                  <a:pt x="567" y="273"/>
                  <a:pt x="565" y="275"/>
                  <a:pt x="565" y="278"/>
                </a:cubicBezTo>
                <a:close/>
                <a:moveTo>
                  <a:pt x="597" y="218"/>
                </a:moveTo>
                <a:cubicBezTo>
                  <a:pt x="595" y="218"/>
                  <a:pt x="593" y="220"/>
                  <a:pt x="593" y="223"/>
                </a:cubicBezTo>
                <a:cubicBezTo>
                  <a:pt x="593" y="225"/>
                  <a:pt x="595" y="227"/>
                  <a:pt x="597" y="227"/>
                </a:cubicBezTo>
                <a:cubicBezTo>
                  <a:pt x="600" y="227"/>
                  <a:pt x="602" y="225"/>
                  <a:pt x="602" y="223"/>
                </a:cubicBezTo>
                <a:cubicBezTo>
                  <a:pt x="602" y="220"/>
                  <a:pt x="600" y="218"/>
                  <a:pt x="597" y="218"/>
                </a:cubicBezTo>
                <a:close/>
                <a:moveTo>
                  <a:pt x="770" y="141"/>
                </a:moveTo>
                <a:cubicBezTo>
                  <a:pt x="770" y="144"/>
                  <a:pt x="772" y="146"/>
                  <a:pt x="774" y="146"/>
                </a:cubicBezTo>
                <a:cubicBezTo>
                  <a:pt x="777" y="146"/>
                  <a:pt x="779" y="144"/>
                  <a:pt x="779" y="141"/>
                </a:cubicBezTo>
                <a:cubicBezTo>
                  <a:pt x="779" y="139"/>
                  <a:pt x="777" y="137"/>
                  <a:pt x="774" y="137"/>
                </a:cubicBezTo>
                <a:cubicBezTo>
                  <a:pt x="772" y="137"/>
                  <a:pt x="770" y="139"/>
                  <a:pt x="770" y="141"/>
                </a:cubicBezTo>
                <a:close/>
                <a:moveTo>
                  <a:pt x="801" y="82"/>
                </a:moveTo>
                <a:cubicBezTo>
                  <a:pt x="799" y="82"/>
                  <a:pt x="797" y="84"/>
                  <a:pt x="797" y="87"/>
                </a:cubicBezTo>
                <a:cubicBezTo>
                  <a:pt x="797" y="89"/>
                  <a:pt x="799" y="91"/>
                  <a:pt x="801" y="91"/>
                </a:cubicBezTo>
                <a:cubicBezTo>
                  <a:pt x="804" y="91"/>
                  <a:pt x="806" y="89"/>
                  <a:pt x="806" y="87"/>
                </a:cubicBezTo>
                <a:cubicBezTo>
                  <a:pt x="806" y="84"/>
                  <a:pt x="804" y="82"/>
                  <a:pt x="801" y="82"/>
                </a:cubicBezTo>
                <a:close/>
                <a:moveTo>
                  <a:pt x="804" y="100"/>
                </a:moveTo>
                <a:cubicBezTo>
                  <a:pt x="804" y="103"/>
                  <a:pt x="806" y="105"/>
                  <a:pt x="808" y="105"/>
                </a:cubicBezTo>
                <a:cubicBezTo>
                  <a:pt x="811" y="105"/>
                  <a:pt x="813" y="103"/>
                  <a:pt x="813" y="100"/>
                </a:cubicBezTo>
                <a:cubicBezTo>
                  <a:pt x="813" y="98"/>
                  <a:pt x="811" y="96"/>
                  <a:pt x="808" y="96"/>
                </a:cubicBezTo>
                <a:cubicBezTo>
                  <a:pt x="806" y="96"/>
                  <a:pt x="804" y="98"/>
                  <a:pt x="804" y="100"/>
                </a:cubicBezTo>
                <a:close/>
                <a:moveTo>
                  <a:pt x="783" y="114"/>
                </a:moveTo>
                <a:cubicBezTo>
                  <a:pt x="783" y="116"/>
                  <a:pt x="785" y="118"/>
                  <a:pt x="788" y="118"/>
                </a:cubicBezTo>
                <a:cubicBezTo>
                  <a:pt x="790" y="118"/>
                  <a:pt x="792" y="116"/>
                  <a:pt x="792" y="114"/>
                </a:cubicBezTo>
                <a:cubicBezTo>
                  <a:pt x="792" y="111"/>
                  <a:pt x="790" y="109"/>
                  <a:pt x="788" y="109"/>
                </a:cubicBezTo>
                <a:cubicBezTo>
                  <a:pt x="785" y="109"/>
                  <a:pt x="783" y="111"/>
                  <a:pt x="783" y="114"/>
                </a:cubicBezTo>
                <a:close/>
                <a:moveTo>
                  <a:pt x="815" y="55"/>
                </a:moveTo>
                <a:cubicBezTo>
                  <a:pt x="813" y="55"/>
                  <a:pt x="810" y="57"/>
                  <a:pt x="810" y="59"/>
                </a:cubicBezTo>
                <a:cubicBezTo>
                  <a:pt x="810" y="62"/>
                  <a:pt x="813" y="64"/>
                  <a:pt x="815" y="64"/>
                </a:cubicBezTo>
                <a:cubicBezTo>
                  <a:pt x="818" y="64"/>
                  <a:pt x="820" y="62"/>
                  <a:pt x="820" y="59"/>
                </a:cubicBezTo>
                <a:cubicBezTo>
                  <a:pt x="820" y="57"/>
                  <a:pt x="818" y="55"/>
                  <a:pt x="815" y="55"/>
                </a:cubicBezTo>
                <a:close/>
                <a:moveTo>
                  <a:pt x="776" y="127"/>
                </a:moveTo>
                <a:cubicBezTo>
                  <a:pt x="776" y="130"/>
                  <a:pt x="778" y="132"/>
                  <a:pt x="781" y="132"/>
                </a:cubicBezTo>
                <a:cubicBezTo>
                  <a:pt x="784" y="132"/>
                  <a:pt x="786" y="130"/>
                  <a:pt x="786" y="127"/>
                </a:cubicBezTo>
                <a:cubicBezTo>
                  <a:pt x="786" y="125"/>
                  <a:pt x="784" y="123"/>
                  <a:pt x="781" y="123"/>
                </a:cubicBezTo>
                <a:cubicBezTo>
                  <a:pt x="778" y="123"/>
                  <a:pt x="776" y="125"/>
                  <a:pt x="776" y="127"/>
                </a:cubicBezTo>
                <a:close/>
                <a:moveTo>
                  <a:pt x="790" y="100"/>
                </a:moveTo>
                <a:cubicBezTo>
                  <a:pt x="790" y="103"/>
                  <a:pt x="792" y="105"/>
                  <a:pt x="795" y="105"/>
                </a:cubicBezTo>
                <a:cubicBezTo>
                  <a:pt x="797" y="105"/>
                  <a:pt x="799" y="103"/>
                  <a:pt x="799" y="100"/>
                </a:cubicBezTo>
                <a:cubicBezTo>
                  <a:pt x="799" y="98"/>
                  <a:pt x="797" y="96"/>
                  <a:pt x="795" y="96"/>
                </a:cubicBezTo>
                <a:cubicBezTo>
                  <a:pt x="792" y="96"/>
                  <a:pt x="790" y="98"/>
                  <a:pt x="790" y="100"/>
                </a:cubicBezTo>
                <a:close/>
                <a:moveTo>
                  <a:pt x="838" y="114"/>
                </a:moveTo>
                <a:cubicBezTo>
                  <a:pt x="838" y="116"/>
                  <a:pt x="840" y="118"/>
                  <a:pt x="842" y="118"/>
                </a:cubicBezTo>
                <a:cubicBezTo>
                  <a:pt x="845" y="118"/>
                  <a:pt x="847" y="116"/>
                  <a:pt x="847" y="114"/>
                </a:cubicBezTo>
                <a:cubicBezTo>
                  <a:pt x="847" y="111"/>
                  <a:pt x="845" y="109"/>
                  <a:pt x="842" y="109"/>
                </a:cubicBezTo>
                <a:cubicBezTo>
                  <a:pt x="840" y="109"/>
                  <a:pt x="838" y="111"/>
                  <a:pt x="838" y="114"/>
                </a:cubicBezTo>
                <a:close/>
                <a:moveTo>
                  <a:pt x="849" y="96"/>
                </a:moveTo>
                <a:cubicBezTo>
                  <a:pt x="847" y="96"/>
                  <a:pt x="845" y="98"/>
                  <a:pt x="845" y="100"/>
                </a:cubicBezTo>
                <a:cubicBezTo>
                  <a:pt x="845" y="103"/>
                  <a:pt x="847" y="105"/>
                  <a:pt x="849" y="105"/>
                </a:cubicBezTo>
                <a:cubicBezTo>
                  <a:pt x="852" y="105"/>
                  <a:pt x="854" y="103"/>
                  <a:pt x="854" y="100"/>
                </a:cubicBezTo>
                <a:cubicBezTo>
                  <a:pt x="854" y="98"/>
                  <a:pt x="852" y="96"/>
                  <a:pt x="849" y="96"/>
                </a:cubicBezTo>
                <a:close/>
                <a:moveTo>
                  <a:pt x="831" y="127"/>
                </a:moveTo>
                <a:cubicBezTo>
                  <a:pt x="831" y="130"/>
                  <a:pt x="833" y="132"/>
                  <a:pt x="835" y="132"/>
                </a:cubicBezTo>
                <a:cubicBezTo>
                  <a:pt x="838" y="132"/>
                  <a:pt x="840" y="130"/>
                  <a:pt x="840" y="127"/>
                </a:cubicBezTo>
                <a:cubicBezTo>
                  <a:pt x="840" y="125"/>
                  <a:pt x="838" y="123"/>
                  <a:pt x="835" y="123"/>
                </a:cubicBezTo>
                <a:cubicBezTo>
                  <a:pt x="833" y="123"/>
                  <a:pt x="831" y="125"/>
                  <a:pt x="831" y="127"/>
                </a:cubicBezTo>
                <a:close/>
                <a:moveTo>
                  <a:pt x="817" y="100"/>
                </a:moveTo>
                <a:cubicBezTo>
                  <a:pt x="817" y="103"/>
                  <a:pt x="819" y="105"/>
                  <a:pt x="822" y="105"/>
                </a:cubicBezTo>
                <a:cubicBezTo>
                  <a:pt x="824" y="105"/>
                  <a:pt x="826" y="103"/>
                  <a:pt x="826" y="100"/>
                </a:cubicBezTo>
                <a:cubicBezTo>
                  <a:pt x="826" y="98"/>
                  <a:pt x="824" y="96"/>
                  <a:pt x="822" y="96"/>
                </a:cubicBezTo>
                <a:cubicBezTo>
                  <a:pt x="819" y="96"/>
                  <a:pt x="817" y="98"/>
                  <a:pt x="817" y="100"/>
                </a:cubicBezTo>
                <a:close/>
                <a:moveTo>
                  <a:pt x="833" y="59"/>
                </a:moveTo>
                <a:cubicBezTo>
                  <a:pt x="833" y="57"/>
                  <a:pt x="831" y="55"/>
                  <a:pt x="829" y="55"/>
                </a:cubicBezTo>
                <a:cubicBezTo>
                  <a:pt x="826" y="55"/>
                  <a:pt x="824" y="57"/>
                  <a:pt x="824" y="59"/>
                </a:cubicBezTo>
                <a:cubicBezTo>
                  <a:pt x="824" y="62"/>
                  <a:pt x="826" y="64"/>
                  <a:pt x="829" y="64"/>
                </a:cubicBezTo>
                <a:cubicBezTo>
                  <a:pt x="831" y="64"/>
                  <a:pt x="833" y="62"/>
                  <a:pt x="833" y="59"/>
                </a:cubicBezTo>
                <a:close/>
                <a:moveTo>
                  <a:pt x="829" y="109"/>
                </a:moveTo>
                <a:cubicBezTo>
                  <a:pt x="826" y="109"/>
                  <a:pt x="824" y="111"/>
                  <a:pt x="824" y="114"/>
                </a:cubicBezTo>
                <a:cubicBezTo>
                  <a:pt x="824" y="116"/>
                  <a:pt x="826" y="118"/>
                  <a:pt x="829" y="118"/>
                </a:cubicBezTo>
                <a:cubicBezTo>
                  <a:pt x="831" y="118"/>
                  <a:pt x="833" y="116"/>
                  <a:pt x="833" y="114"/>
                </a:cubicBezTo>
                <a:cubicBezTo>
                  <a:pt x="833" y="111"/>
                  <a:pt x="831" y="109"/>
                  <a:pt x="829" y="109"/>
                </a:cubicBezTo>
                <a:close/>
                <a:moveTo>
                  <a:pt x="713" y="123"/>
                </a:moveTo>
                <a:cubicBezTo>
                  <a:pt x="710" y="123"/>
                  <a:pt x="708" y="125"/>
                  <a:pt x="708" y="127"/>
                </a:cubicBezTo>
                <a:cubicBezTo>
                  <a:pt x="708" y="130"/>
                  <a:pt x="710" y="132"/>
                  <a:pt x="713" y="132"/>
                </a:cubicBezTo>
                <a:cubicBezTo>
                  <a:pt x="715" y="132"/>
                  <a:pt x="717" y="130"/>
                  <a:pt x="717" y="127"/>
                </a:cubicBezTo>
                <a:cubicBezTo>
                  <a:pt x="717" y="125"/>
                  <a:pt x="715" y="123"/>
                  <a:pt x="713" y="123"/>
                </a:cubicBezTo>
                <a:close/>
                <a:moveTo>
                  <a:pt x="715" y="141"/>
                </a:moveTo>
                <a:cubicBezTo>
                  <a:pt x="715" y="144"/>
                  <a:pt x="717" y="146"/>
                  <a:pt x="720" y="146"/>
                </a:cubicBezTo>
                <a:cubicBezTo>
                  <a:pt x="722" y="146"/>
                  <a:pt x="724" y="144"/>
                  <a:pt x="724" y="141"/>
                </a:cubicBezTo>
                <a:cubicBezTo>
                  <a:pt x="724" y="139"/>
                  <a:pt x="722" y="137"/>
                  <a:pt x="720" y="137"/>
                </a:cubicBezTo>
                <a:cubicBezTo>
                  <a:pt x="717" y="137"/>
                  <a:pt x="715" y="139"/>
                  <a:pt x="715" y="141"/>
                </a:cubicBezTo>
                <a:close/>
                <a:moveTo>
                  <a:pt x="699" y="96"/>
                </a:moveTo>
                <a:cubicBezTo>
                  <a:pt x="697" y="96"/>
                  <a:pt x="695" y="98"/>
                  <a:pt x="695" y="100"/>
                </a:cubicBezTo>
                <a:cubicBezTo>
                  <a:pt x="695" y="103"/>
                  <a:pt x="697" y="105"/>
                  <a:pt x="699" y="105"/>
                </a:cubicBezTo>
                <a:cubicBezTo>
                  <a:pt x="702" y="105"/>
                  <a:pt x="704" y="103"/>
                  <a:pt x="704" y="100"/>
                </a:cubicBezTo>
                <a:cubicBezTo>
                  <a:pt x="704" y="98"/>
                  <a:pt x="702" y="96"/>
                  <a:pt x="699" y="96"/>
                </a:cubicBezTo>
                <a:close/>
                <a:moveTo>
                  <a:pt x="686" y="50"/>
                </a:moveTo>
                <a:cubicBezTo>
                  <a:pt x="688" y="50"/>
                  <a:pt x="690" y="48"/>
                  <a:pt x="690" y="46"/>
                </a:cubicBezTo>
                <a:cubicBezTo>
                  <a:pt x="690" y="43"/>
                  <a:pt x="688" y="41"/>
                  <a:pt x="686" y="41"/>
                </a:cubicBezTo>
                <a:cubicBezTo>
                  <a:pt x="683" y="41"/>
                  <a:pt x="681" y="43"/>
                  <a:pt x="681" y="46"/>
                </a:cubicBezTo>
                <a:cubicBezTo>
                  <a:pt x="681" y="48"/>
                  <a:pt x="683" y="50"/>
                  <a:pt x="686" y="50"/>
                </a:cubicBezTo>
                <a:close/>
                <a:moveTo>
                  <a:pt x="767" y="123"/>
                </a:moveTo>
                <a:cubicBezTo>
                  <a:pt x="765" y="123"/>
                  <a:pt x="763" y="125"/>
                  <a:pt x="763" y="127"/>
                </a:cubicBezTo>
                <a:cubicBezTo>
                  <a:pt x="763" y="130"/>
                  <a:pt x="765" y="132"/>
                  <a:pt x="767" y="132"/>
                </a:cubicBezTo>
                <a:cubicBezTo>
                  <a:pt x="770" y="132"/>
                  <a:pt x="772" y="130"/>
                  <a:pt x="772" y="127"/>
                </a:cubicBezTo>
                <a:cubicBezTo>
                  <a:pt x="772" y="125"/>
                  <a:pt x="770" y="123"/>
                  <a:pt x="767" y="123"/>
                </a:cubicBezTo>
                <a:close/>
                <a:moveTo>
                  <a:pt x="688" y="114"/>
                </a:moveTo>
                <a:cubicBezTo>
                  <a:pt x="688" y="116"/>
                  <a:pt x="690" y="118"/>
                  <a:pt x="692" y="118"/>
                </a:cubicBezTo>
                <a:cubicBezTo>
                  <a:pt x="695" y="118"/>
                  <a:pt x="697" y="116"/>
                  <a:pt x="697" y="114"/>
                </a:cubicBezTo>
                <a:cubicBezTo>
                  <a:pt x="697" y="111"/>
                  <a:pt x="695" y="109"/>
                  <a:pt x="692" y="109"/>
                </a:cubicBezTo>
                <a:cubicBezTo>
                  <a:pt x="690" y="109"/>
                  <a:pt x="688" y="111"/>
                  <a:pt x="688" y="114"/>
                </a:cubicBezTo>
                <a:close/>
                <a:moveTo>
                  <a:pt x="686" y="105"/>
                </a:moveTo>
                <a:cubicBezTo>
                  <a:pt x="688" y="105"/>
                  <a:pt x="690" y="103"/>
                  <a:pt x="690" y="100"/>
                </a:cubicBezTo>
                <a:cubicBezTo>
                  <a:pt x="690" y="98"/>
                  <a:pt x="688" y="96"/>
                  <a:pt x="686" y="96"/>
                </a:cubicBezTo>
                <a:cubicBezTo>
                  <a:pt x="683" y="96"/>
                  <a:pt x="681" y="98"/>
                  <a:pt x="681" y="100"/>
                </a:cubicBezTo>
                <a:cubicBezTo>
                  <a:pt x="681" y="103"/>
                  <a:pt x="683" y="105"/>
                  <a:pt x="686" y="105"/>
                </a:cubicBezTo>
                <a:close/>
                <a:moveTo>
                  <a:pt x="706" y="109"/>
                </a:moveTo>
                <a:cubicBezTo>
                  <a:pt x="704" y="109"/>
                  <a:pt x="702" y="111"/>
                  <a:pt x="702" y="114"/>
                </a:cubicBezTo>
                <a:cubicBezTo>
                  <a:pt x="702" y="116"/>
                  <a:pt x="704" y="118"/>
                  <a:pt x="706" y="118"/>
                </a:cubicBezTo>
                <a:cubicBezTo>
                  <a:pt x="709" y="118"/>
                  <a:pt x="711" y="116"/>
                  <a:pt x="711" y="114"/>
                </a:cubicBezTo>
                <a:cubicBezTo>
                  <a:pt x="711" y="111"/>
                  <a:pt x="709" y="109"/>
                  <a:pt x="706" y="109"/>
                </a:cubicBezTo>
                <a:close/>
                <a:moveTo>
                  <a:pt x="727" y="123"/>
                </a:moveTo>
                <a:cubicBezTo>
                  <a:pt x="724" y="123"/>
                  <a:pt x="722" y="125"/>
                  <a:pt x="722" y="127"/>
                </a:cubicBezTo>
                <a:cubicBezTo>
                  <a:pt x="722" y="130"/>
                  <a:pt x="724" y="132"/>
                  <a:pt x="727" y="132"/>
                </a:cubicBezTo>
                <a:cubicBezTo>
                  <a:pt x="729" y="132"/>
                  <a:pt x="731" y="130"/>
                  <a:pt x="731" y="127"/>
                </a:cubicBezTo>
                <a:cubicBezTo>
                  <a:pt x="731" y="125"/>
                  <a:pt x="729" y="123"/>
                  <a:pt x="727" y="123"/>
                </a:cubicBezTo>
                <a:close/>
                <a:moveTo>
                  <a:pt x="851" y="114"/>
                </a:moveTo>
                <a:cubicBezTo>
                  <a:pt x="851" y="116"/>
                  <a:pt x="853" y="118"/>
                  <a:pt x="856" y="118"/>
                </a:cubicBezTo>
                <a:cubicBezTo>
                  <a:pt x="858" y="118"/>
                  <a:pt x="860" y="116"/>
                  <a:pt x="860" y="114"/>
                </a:cubicBezTo>
                <a:cubicBezTo>
                  <a:pt x="860" y="111"/>
                  <a:pt x="858" y="109"/>
                  <a:pt x="856" y="109"/>
                </a:cubicBezTo>
                <a:cubicBezTo>
                  <a:pt x="853" y="109"/>
                  <a:pt x="851" y="111"/>
                  <a:pt x="851" y="114"/>
                </a:cubicBezTo>
                <a:close/>
                <a:moveTo>
                  <a:pt x="756" y="141"/>
                </a:moveTo>
                <a:cubicBezTo>
                  <a:pt x="756" y="144"/>
                  <a:pt x="758" y="146"/>
                  <a:pt x="761" y="146"/>
                </a:cubicBezTo>
                <a:cubicBezTo>
                  <a:pt x="763" y="146"/>
                  <a:pt x="765" y="144"/>
                  <a:pt x="765" y="141"/>
                </a:cubicBezTo>
                <a:cubicBezTo>
                  <a:pt x="765" y="139"/>
                  <a:pt x="763" y="137"/>
                  <a:pt x="761" y="137"/>
                </a:cubicBezTo>
                <a:cubicBezTo>
                  <a:pt x="758" y="137"/>
                  <a:pt x="756" y="139"/>
                  <a:pt x="756" y="141"/>
                </a:cubicBezTo>
                <a:close/>
                <a:moveTo>
                  <a:pt x="754" y="123"/>
                </a:moveTo>
                <a:cubicBezTo>
                  <a:pt x="751" y="123"/>
                  <a:pt x="749" y="125"/>
                  <a:pt x="749" y="127"/>
                </a:cubicBezTo>
                <a:cubicBezTo>
                  <a:pt x="749" y="130"/>
                  <a:pt x="751" y="132"/>
                  <a:pt x="754" y="132"/>
                </a:cubicBezTo>
                <a:cubicBezTo>
                  <a:pt x="756" y="132"/>
                  <a:pt x="758" y="130"/>
                  <a:pt x="758" y="127"/>
                </a:cubicBezTo>
                <a:cubicBezTo>
                  <a:pt x="758" y="125"/>
                  <a:pt x="756" y="123"/>
                  <a:pt x="754" y="123"/>
                </a:cubicBezTo>
                <a:close/>
                <a:moveTo>
                  <a:pt x="736" y="155"/>
                </a:moveTo>
                <a:cubicBezTo>
                  <a:pt x="736" y="157"/>
                  <a:pt x="738" y="159"/>
                  <a:pt x="740" y="159"/>
                </a:cubicBezTo>
                <a:cubicBezTo>
                  <a:pt x="743" y="159"/>
                  <a:pt x="745" y="157"/>
                  <a:pt x="745" y="155"/>
                </a:cubicBezTo>
                <a:cubicBezTo>
                  <a:pt x="745" y="152"/>
                  <a:pt x="743" y="150"/>
                  <a:pt x="740" y="150"/>
                </a:cubicBezTo>
                <a:cubicBezTo>
                  <a:pt x="738" y="150"/>
                  <a:pt x="736" y="152"/>
                  <a:pt x="736" y="155"/>
                </a:cubicBezTo>
                <a:close/>
                <a:moveTo>
                  <a:pt x="733" y="137"/>
                </a:moveTo>
                <a:cubicBezTo>
                  <a:pt x="731" y="137"/>
                  <a:pt x="729" y="139"/>
                  <a:pt x="729" y="141"/>
                </a:cubicBezTo>
                <a:cubicBezTo>
                  <a:pt x="729" y="144"/>
                  <a:pt x="731" y="146"/>
                  <a:pt x="733" y="146"/>
                </a:cubicBezTo>
                <a:cubicBezTo>
                  <a:pt x="736" y="146"/>
                  <a:pt x="738" y="144"/>
                  <a:pt x="738" y="141"/>
                </a:cubicBezTo>
                <a:cubicBezTo>
                  <a:pt x="738" y="139"/>
                  <a:pt x="736" y="137"/>
                  <a:pt x="733" y="137"/>
                </a:cubicBezTo>
                <a:close/>
                <a:moveTo>
                  <a:pt x="742" y="141"/>
                </a:moveTo>
                <a:cubicBezTo>
                  <a:pt x="742" y="144"/>
                  <a:pt x="744" y="146"/>
                  <a:pt x="747" y="146"/>
                </a:cubicBezTo>
                <a:cubicBezTo>
                  <a:pt x="749" y="146"/>
                  <a:pt x="751" y="144"/>
                  <a:pt x="751" y="141"/>
                </a:cubicBezTo>
                <a:cubicBezTo>
                  <a:pt x="751" y="139"/>
                  <a:pt x="749" y="137"/>
                  <a:pt x="747" y="137"/>
                </a:cubicBezTo>
                <a:cubicBezTo>
                  <a:pt x="744" y="137"/>
                  <a:pt x="742" y="139"/>
                  <a:pt x="742" y="141"/>
                </a:cubicBezTo>
                <a:close/>
                <a:moveTo>
                  <a:pt x="781" y="368"/>
                </a:moveTo>
                <a:cubicBezTo>
                  <a:pt x="778" y="368"/>
                  <a:pt x="776" y="370"/>
                  <a:pt x="776" y="373"/>
                </a:cubicBezTo>
                <a:cubicBezTo>
                  <a:pt x="776" y="375"/>
                  <a:pt x="778" y="378"/>
                  <a:pt x="781" y="378"/>
                </a:cubicBezTo>
                <a:cubicBezTo>
                  <a:pt x="784" y="378"/>
                  <a:pt x="786" y="375"/>
                  <a:pt x="786" y="373"/>
                </a:cubicBezTo>
                <a:cubicBezTo>
                  <a:pt x="786" y="370"/>
                  <a:pt x="784" y="368"/>
                  <a:pt x="781" y="368"/>
                </a:cubicBezTo>
                <a:close/>
                <a:moveTo>
                  <a:pt x="792" y="359"/>
                </a:moveTo>
                <a:cubicBezTo>
                  <a:pt x="792" y="357"/>
                  <a:pt x="790" y="355"/>
                  <a:pt x="788" y="355"/>
                </a:cubicBezTo>
                <a:cubicBezTo>
                  <a:pt x="785" y="355"/>
                  <a:pt x="783" y="357"/>
                  <a:pt x="783" y="359"/>
                </a:cubicBezTo>
                <a:cubicBezTo>
                  <a:pt x="783" y="362"/>
                  <a:pt x="785" y="364"/>
                  <a:pt x="788" y="364"/>
                </a:cubicBezTo>
                <a:cubicBezTo>
                  <a:pt x="790" y="364"/>
                  <a:pt x="792" y="362"/>
                  <a:pt x="792" y="359"/>
                </a:cubicBezTo>
                <a:close/>
                <a:moveTo>
                  <a:pt x="786" y="509"/>
                </a:moveTo>
                <a:cubicBezTo>
                  <a:pt x="786" y="507"/>
                  <a:pt x="784" y="505"/>
                  <a:pt x="781" y="505"/>
                </a:cubicBezTo>
                <a:cubicBezTo>
                  <a:pt x="778" y="505"/>
                  <a:pt x="776" y="507"/>
                  <a:pt x="776" y="509"/>
                </a:cubicBezTo>
                <a:cubicBezTo>
                  <a:pt x="776" y="512"/>
                  <a:pt x="778" y="514"/>
                  <a:pt x="781" y="514"/>
                </a:cubicBezTo>
                <a:cubicBezTo>
                  <a:pt x="784" y="514"/>
                  <a:pt x="786" y="512"/>
                  <a:pt x="786" y="509"/>
                </a:cubicBezTo>
                <a:close/>
                <a:moveTo>
                  <a:pt x="786" y="400"/>
                </a:moveTo>
                <a:cubicBezTo>
                  <a:pt x="786" y="398"/>
                  <a:pt x="784" y="396"/>
                  <a:pt x="781" y="396"/>
                </a:cubicBezTo>
                <a:cubicBezTo>
                  <a:pt x="778" y="396"/>
                  <a:pt x="776" y="398"/>
                  <a:pt x="776" y="400"/>
                </a:cubicBezTo>
                <a:cubicBezTo>
                  <a:pt x="776" y="403"/>
                  <a:pt x="778" y="405"/>
                  <a:pt x="781" y="405"/>
                </a:cubicBezTo>
                <a:cubicBezTo>
                  <a:pt x="784" y="405"/>
                  <a:pt x="786" y="403"/>
                  <a:pt x="786" y="400"/>
                </a:cubicBezTo>
                <a:close/>
                <a:moveTo>
                  <a:pt x="813" y="318"/>
                </a:moveTo>
                <a:cubicBezTo>
                  <a:pt x="813" y="316"/>
                  <a:pt x="811" y="314"/>
                  <a:pt x="808" y="314"/>
                </a:cubicBezTo>
                <a:cubicBezTo>
                  <a:pt x="806" y="314"/>
                  <a:pt x="804" y="316"/>
                  <a:pt x="804" y="318"/>
                </a:cubicBezTo>
                <a:cubicBezTo>
                  <a:pt x="804" y="321"/>
                  <a:pt x="806" y="323"/>
                  <a:pt x="808" y="323"/>
                </a:cubicBezTo>
                <a:cubicBezTo>
                  <a:pt x="811" y="323"/>
                  <a:pt x="813" y="321"/>
                  <a:pt x="813" y="318"/>
                </a:cubicBezTo>
                <a:close/>
                <a:moveTo>
                  <a:pt x="799" y="346"/>
                </a:moveTo>
                <a:cubicBezTo>
                  <a:pt x="799" y="343"/>
                  <a:pt x="797" y="341"/>
                  <a:pt x="795" y="341"/>
                </a:cubicBezTo>
                <a:cubicBezTo>
                  <a:pt x="792" y="341"/>
                  <a:pt x="790" y="343"/>
                  <a:pt x="790" y="346"/>
                </a:cubicBezTo>
                <a:cubicBezTo>
                  <a:pt x="790" y="348"/>
                  <a:pt x="792" y="350"/>
                  <a:pt x="795" y="350"/>
                </a:cubicBezTo>
                <a:cubicBezTo>
                  <a:pt x="797" y="350"/>
                  <a:pt x="799" y="348"/>
                  <a:pt x="799" y="346"/>
                </a:cubicBezTo>
                <a:close/>
                <a:moveTo>
                  <a:pt x="806" y="332"/>
                </a:moveTo>
                <a:cubicBezTo>
                  <a:pt x="806" y="330"/>
                  <a:pt x="804" y="328"/>
                  <a:pt x="801" y="328"/>
                </a:cubicBezTo>
                <a:cubicBezTo>
                  <a:pt x="799" y="328"/>
                  <a:pt x="797" y="330"/>
                  <a:pt x="797" y="332"/>
                </a:cubicBezTo>
                <a:cubicBezTo>
                  <a:pt x="797" y="335"/>
                  <a:pt x="799" y="337"/>
                  <a:pt x="801" y="337"/>
                </a:cubicBezTo>
                <a:cubicBezTo>
                  <a:pt x="804" y="337"/>
                  <a:pt x="806" y="335"/>
                  <a:pt x="806" y="332"/>
                </a:cubicBezTo>
                <a:close/>
                <a:moveTo>
                  <a:pt x="779" y="523"/>
                </a:moveTo>
                <a:cubicBezTo>
                  <a:pt x="779" y="521"/>
                  <a:pt x="777" y="519"/>
                  <a:pt x="774" y="519"/>
                </a:cubicBezTo>
                <a:cubicBezTo>
                  <a:pt x="772" y="519"/>
                  <a:pt x="770" y="521"/>
                  <a:pt x="770" y="523"/>
                </a:cubicBezTo>
                <a:cubicBezTo>
                  <a:pt x="770" y="526"/>
                  <a:pt x="772" y="528"/>
                  <a:pt x="774" y="528"/>
                </a:cubicBezTo>
                <a:cubicBezTo>
                  <a:pt x="777" y="528"/>
                  <a:pt x="779" y="526"/>
                  <a:pt x="779" y="523"/>
                </a:cubicBezTo>
                <a:close/>
                <a:moveTo>
                  <a:pt x="747" y="464"/>
                </a:moveTo>
                <a:cubicBezTo>
                  <a:pt x="744" y="464"/>
                  <a:pt x="742" y="466"/>
                  <a:pt x="742" y="468"/>
                </a:cubicBezTo>
                <a:cubicBezTo>
                  <a:pt x="742" y="471"/>
                  <a:pt x="744" y="473"/>
                  <a:pt x="747" y="473"/>
                </a:cubicBezTo>
                <a:cubicBezTo>
                  <a:pt x="749" y="473"/>
                  <a:pt x="751" y="471"/>
                  <a:pt x="751" y="468"/>
                </a:cubicBezTo>
                <a:cubicBezTo>
                  <a:pt x="751" y="466"/>
                  <a:pt x="749" y="464"/>
                  <a:pt x="747" y="464"/>
                </a:cubicBezTo>
                <a:close/>
                <a:moveTo>
                  <a:pt x="751" y="496"/>
                </a:moveTo>
                <a:cubicBezTo>
                  <a:pt x="751" y="493"/>
                  <a:pt x="749" y="491"/>
                  <a:pt x="747" y="491"/>
                </a:cubicBezTo>
                <a:cubicBezTo>
                  <a:pt x="744" y="491"/>
                  <a:pt x="742" y="493"/>
                  <a:pt x="742" y="496"/>
                </a:cubicBezTo>
                <a:cubicBezTo>
                  <a:pt x="742" y="498"/>
                  <a:pt x="744" y="500"/>
                  <a:pt x="747" y="500"/>
                </a:cubicBezTo>
                <a:cubicBezTo>
                  <a:pt x="749" y="500"/>
                  <a:pt x="751" y="498"/>
                  <a:pt x="751" y="496"/>
                </a:cubicBezTo>
                <a:close/>
                <a:moveTo>
                  <a:pt x="758" y="455"/>
                </a:moveTo>
                <a:cubicBezTo>
                  <a:pt x="758" y="452"/>
                  <a:pt x="756" y="450"/>
                  <a:pt x="754" y="450"/>
                </a:cubicBezTo>
                <a:cubicBezTo>
                  <a:pt x="751" y="450"/>
                  <a:pt x="749" y="452"/>
                  <a:pt x="749" y="455"/>
                </a:cubicBezTo>
                <a:cubicBezTo>
                  <a:pt x="749" y="457"/>
                  <a:pt x="751" y="459"/>
                  <a:pt x="754" y="459"/>
                </a:cubicBezTo>
                <a:cubicBezTo>
                  <a:pt x="756" y="459"/>
                  <a:pt x="758" y="457"/>
                  <a:pt x="758" y="455"/>
                </a:cubicBezTo>
                <a:close/>
                <a:moveTo>
                  <a:pt x="767" y="541"/>
                </a:moveTo>
                <a:cubicBezTo>
                  <a:pt x="770" y="541"/>
                  <a:pt x="772" y="539"/>
                  <a:pt x="772" y="537"/>
                </a:cubicBezTo>
                <a:cubicBezTo>
                  <a:pt x="772" y="534"/>
                  <a:pt x="770" y="532"/>
                  <a:pt x="767" y="532"/>
                </a:cubicBezTo>
                <a:cubicBezTo>
                  <a:pt x="765" y="532"/>
                  <a:pt x="763" y="534"/>
                  <a:pt x="763" y="537"/>
                </a:cubicBezTo>
                <a:cubicBezTo>
                  <a:pt x="763" y="539"/>
                  <a:pt x="765" y="541"/>
                  <a:pt x="767" y="541"/>
                </a:cubicBezTo>
                <a:close/>
                <a:moveTo>
                  <a:pt x="765" y="441"/>
                </a:moveTo>
                <a:cubicBezTo>
                  <a:pt x="765" y="439"/>
                  <a:pt x="763" y="437"/>
                  <a:pt x="761" y="437"/>
                </a:cubicBezTo>
                <a:cubicBezTo>
                  <a:pt x="758" y="437"/>
                  <a:pt x="756" y="439"/>
                  <a:pt x="756" y="441"/>
                </a:cubicBezTo>
                <a:cubicBezTo>
                  <a:pt x="756" y="444"/>
                  <a:pt x="758" y="446"/>
                  <a:pt x="761" y="446"/>
                </a:cubicBezTo>
                <a:cubicBezTo>
                  <a:pt x="763" y="446"/>
                  <a:pt x="765" y="444"/>
                  <a:pt x="765" y="441"/>
                </a:cubicBezTo>
                <a:close/>
                <a:moveTo>
                  <a:pt x="829" y="309"/>
                </a:moveTo>
                <a:cubicBezTo>
                  <a:pt x="831" y="309"/>
                  <a:pt x="833" y="307"/>
                  <a:pt x="833" y="305"/>
                </a:cubicBezTo>
                <a:cubicBezTo>
                  <a:pt x="833" y="302"/>
                  <a:pt x="831" y="300"/>
                  <a:pt x="829" y="300"/>
                </a:cubicBezTo>
                <a:cubicBezTo>
                  <a:pt x="826" y="300"/>
                  <a:pt x="824" y="302"/>
                  <a:pt x="824" y="305"/>
                </a:cubicBezTo>
                <a:cubicBezTo>
                  <a:pt x="824" y="307"/>
                  <a:pt x="826" y="309"/>
                  <a:pt x="829" y="309"/>
                </a:cubicBezTo>
                <a:close/>
                <a:moveTo>
                  <a:pt x="820" y="305"/>
                </a:moveTo>
                <a:cubicBezTo>
                  <a:pt x="820" y="302"/>
                  <a:pt x="818" y="300"/>
                  <a:pt x="815" y="300"/>
                </a:cubicBezTo>
                <a:cubicBezTo>
                  <a:pt x="813" y="300"/>
                  <a:pt x="810" y="302"/>
                  <a:pt x="810" y="305"/>
                </a:cubicBezTo>
                <a:cubicBezTo>
                  <a:pt x="810" y="307"/>
                  <a:pt x="813" y="309"/>
                  <a:pt x="815" y="309"/>
                </a:cubicBezTo>
                <a:cubicBezTo>
                  <a:pt x="818" y="309"/>
                  <a:pt x="820" y="307"/>
                  <a:pt x="820" y="305"/>
                </a:cubicBezTo>
                <a:close/>
                <a:moveTo>
                  <a:pt x="883" y="364"/>
                </a:moveTo>
                <a:cubicBezTo>
                  <a:pt x="886" y="364"/>
                  <a:pt x="888" y="362"/>
                  <a:pt x="888" y="359"/>
                </a:cubicBezTo>
                <a:cubicBezTo>
                  <a:pt x="888" y="357"/>
                  <a:pt x="886" y="355"/>
                  <a:pt x="883" y="355"/>
                </a:cubicBezTo>
                <a:cubicBezTo>
                  <a:pt x="881" y="355"/>
                  <a:pt x="879" y="357"/>
                  <a:pt x="879" y="359"/>
                </a:cubicBezTo>
                <a:cubicBezTo>
                  <a:pt x="879" y="362"/>
                  <a:pt x="881" y="364"/>
                  <a:pt x="883" y="364"/>
                </a:cubicBezTo>
                <a:close/>
                <a:moveTo>
                  <a:pt x="869" y="337"/>
                </a:moveTo>
                <a:cubicBezTo>
                  <a:pt x="872" y="337"/>
                  <a:pt x="874" y="335"/>
                  <a:pt x="874" y="332"/>
                </a:cubicBezTo>
                <a:cubicBezTo>
                  <a:pt x="874" y="330"/>
                  <a:pt x="872" y="328"/>
                  <a:pt x="869" y="328"/>
                </a:cubicBezTo>
                <a:cubicBezTo>
                  <a:pt x="867" y="328"/>
                  <a:pt x="865" y="330"/>
                  <a:pt x="865" y="332"/>
                </a:cubicBezTo>
                <a:cubicBezTo>
                  <a:pt x="865" y="335"/>
                  <a:pt x="867" y="337"/>
                  <a:pt x="869" y="337"/>
                </a:cubicBezTo>
                <a:close/>
                <a:moveTo>
                  <a:pt x="876" y="350"/>
                </a:moveTo>
                <a:cubicBezTo>
                  <a:pt x="879" y="350"/>
                  <a:pt x="881" y="348"/>
                  <a:pt x="881" y="346"/>
                </a:cubicBezTo>
                <a:cubicBezTo>
                  <a:pt x="881" y="343"/>
                  <a:pt x="879" y="341"/>
                  <a:pt x="876" y="341"/>
                </a:cubicBezTo>
                <a:cubicBezTo>
                  <a:pt x="874" y="341"/>
                  <a:pt x="872" y="343"/>
                  <a:pt x="872" y="346"/>
                </a:cubicBezTo>
                <a:cubicBezTo>
                  <a:pt x="872" y="348"/>
                  <a:pt x="874" y="350"/>
                  <a:pt x="876" y="350"/>
                </a:cubicBezTo>
                <a:close/>
                <a:moveTo>
                  <a:pt x="879" y="387"/>
                </a:moveTo>
                <a:cubicBezTo>
                  <a:pt x="879" y="389"/>
                  <a:pt x="881" y="391"/>
                  <a:pt x="883" y="391"/>
                </a:cubicBezTo>
                <a:cubicBezTo>
                  <a:pt x="886" y="391"/>
                  <a:pt x="888" y="389"/>
                  <a:pt x="888" y="387"/>
                </a:cubicBezTo>
                <a:cubicBezTo>
                  <a:pt x="888" y="384"/>
                  <a:pt x="886" y="382"/>
                  <a:pt x="883" y="382"/>
                </a:cubicBezTo>
                <a:cubicBezTo>
                  <a:pt x="881" y="382"/>
                  <a:pt x="879" y="384"/>
                  <a:pt x="879" y="387"/>
                </a:cubicBezTo>
                <a:close/>
                <a:moveTo>
                  <a:pt x="894" y="373"/>
                </a:moveTo>
                <a:cubicBezTo>
                  <a:pt x="894" y="370"/>
                  <a:pt x="892" y="368"/>
                  <a:pt x="890" y="368"/>
                </a:cubicBezTo>
                <a:cubicBezTo>
                  <a:pt x="887" y="368"/>
                  <a:pt x="885" y="370"/>
                  <a:pt x="885" y="373"/>
                </a:cubicBezTo>
                <a:cubicBezTo>
                  <a:pt x="885" y="375"/>
                  <a:pt x="887" y="378"/>
                  <a:pt x="890" y="378"/>
                </a:cubicBezTo>
                <a:cubicBezTo>
                  <a:pt x="892" y="378"/>
                  <a:pt x="894" y="375"/>
                  <a:pt x="894" y="373"/>
                </a:cubicBezTo>
                <a:close/>
                <a:moveTo>
                  <a:pt x="867" y="318"/>
                </a:moveTo>
                <a:cubicBezTo>
                  <a:pt x="867" y="316"/>
                  <a:pt x="865" y="314"/>
                  <a:pt x="863" y="314"/>
                </a:cubicBezTo>
                <a:cubicBezTo>
                  <a:pt x="860" y="314"/>
                  <a:pt x="858" y="316"/>
                  <a:pt x="858" y="318"/>
                </a:cubicBezTo>
                <a:cubicBezTo>
                  <a:pt x="858" y="321"/>
                  <a:pt x="860" y="323"/>
                  <a:pt x="863" y="323"/>
                </a:cubicBezTo>
                <a:cubicBezTo>
                  <a:pt x="865" y="323"/>
                  <a:pt x="867" y="321"/>
                  <a:pt x="867" y="318"/>
                </a:cubicBezTo>
                <a:close/>
                <a:moveTo>
                  <a:pt x="745" y="509"/>
                </a:moveTo>
                <a:cubicBezTo>
                  <a:pt x="745" y="507"/>
                  <a:pt x="743" y="505"/>
                  <a:pt x="740" y="505"/>
                </a:cubicBezTo>
                <a:cubicBezTo>
                  <a:pt x="738" y="505"/>
                  <a:pt x="736" y="507"/>
                  <a:pt x="736" y="509"/>
                </a:cubicBezTo>
                <a:cubicBezTo>
                  <a:pt x="736" y="512"/>
                  <a:pt x="738" y="514"/>
                  <a:pt x="740" y="514"/>
                </a:cubicBezTo>
                <a:cubicBezTo>
                  <a:pt x="743" y="514"/>
                  <a:pt x="745" y="512"/>
                  <a:pt x="745" y="509"/>
                </a:cubicBezTo>
                <a:close/>
                <a:moveTo>
                  <a:pt x="826" y="291"/>
                </a:moveTo>
                <a:cubicBezTo>
                  <a:pt x="826" y="289"/>
                  <a:pt x="824" y="287"/>
                  <a:pt x="822" y="287"/>
                </a:cubicBezTo>
                <a:cubicBezTo>
                  <a:pt x="819" y="287"/>
                  <a:pt x="817" y="289"/>
                  <a:pt x="817" y="291"/>
                </a:cubicBezTo>
                <a:cubicBezTo>
                  <a:pt x="817" y="294"/>
                  <a:pt x="819" y="296"/>
                  <a:pt x="822" y="296"/>
                </a:cubicBezTo>
                <a:cubicBezTo>
                  <a:pt x="824" y="296"/>
                  <a:pt x="826" y="294"/>
                  <a:pt x="826" y="291"/>
                </a:cubicBezTo>
                <a:close/>
                <a:moveTo>
                  <a:pt x="840" y="291"/>
                </a:moveTo>
                <a:cubicBezTo>
                  <a:pt x="840" y="289"/>
                  <a:pt x="838" y="287"/>
                  <a:pt x="835" y="287"/>
                </a:cubicBezTo>
                <a:cubicBezTo>
                  <a:pt x="833" y="287"/>
                  <a:pt x="831" y="289"/>
                  <a:pt x="831" y="291"/>
                </a:cubicBezTo>
                <a:cubicBezTo>
                  <a:pt x="831" y="294"/>
                  <a:pt x="833" y="296"/>
                  <a:pt x="835" y="296"/>
                </a:cubicBezTo>
                <a:cubicBezTo>
                  <a:pt x="838" y="296"/>
                  <a:pt x="840" y="294"/>
                  <a:pt x="840" y="291"/>
                </a:cubicBezTo>
                <a:close/>
                <a:moveTo>
                  <a:pt x="856" y="337"/>
                </a:moveTo>
                <a:cubicBezTo>
                  <a:pt x="858" y="337"/>
                  <a:pt x="860" y="335"/>
                  <a:pt x="860" y="332"/>
                </a:cubicBezTo>
                <a:cubicBezTo>
                  <a:pt x="860" y="330"/>
                  <a:pt x="858" y="328"/>
                  <a:pt x="856" y="328"/>
                </a:cubicBezTo>
                <a:cubicBezTo>
                  <a:pt x="853" y="328"/>
                  <a:pt x="851" y="330"/>
                  <a:pt x="851" y="332"/>
                </a:cubicBezTo>
                <a:cubicBezTo>
                  <a:pt x="851" y="335"/>
                  <a:pt x="853" y="337"/>
                  <a:pt x="856" y="337"/>
                </a:cubicBezTo>
                <a:close/>
                <a:moveTo>
                  <a:pt x="842" y="309"/>
                </a:moveTo>
                <a:cubicBezTo>
                  <a:pt x="845" y="309"/>
                  <a:pt x="847" y="307"/>
                  <a:pt x="847" y="305"/>
                </a:cubicBezTo>
                <a:cubicBezTo>
                  <a:pt x="847" y="302"/>
                  <a:pt x="845" y="300"/>
                  <a:pt x="842" y="300"/>
                </a:cubicBezTo>
                <a:cubicBezTo>
                  <a:pt x="840" y="300"/>
                  <a:pt x="838" y="302"/>
                  <a:pt x="838" y="305"/>
                </a:cubicBezTo>
                <a:cubicBezTo>
                  <a:pt x="838" y="307"/>
                  <a:pt x="840" y="309"/>
                  <a:pt x="842" y="309"/>
                </a:cubicBezTo>
                <a:close/>
                <a:moveTo>
                  <a:pt x="849" y="323"/>
                </a:moveTo>
                <a:cubicBezTo>
                  <a:pt x="852" y="323"/>
                  <a:pt x="854" y="321"/>
                  <a:pt x="854" y="318"/>
                </a:cubicBezTo>
                <a:cubicBezTo>
                  <a:pt x="854" y="316"/>
                  <a:pt x="852" y="314"/>
                  <a:pt x="849" y="314"/>
                </a:cubicBezTo>
                <a:cubicBezTo>
                  <a:pt x="847" y="314"/>
                  <a:pt x="845" y="316"/>
                  <a:pt x="845" y="318"/>
                </a:cubicBezTo>
                <a:cubicBezTo>
                  <a:pt x="845" y="321"/>
                  <a:pt x="847" y="323"/>
                  <a:pt x="849" y="323"/>
                </a:cubicBezTo>
                <a:close/>
                <a:moveTo>
                  <a:pt x="704" y="564"/>
                </a:moveTo>
                <a:cubicBezTo>
                  <a:pt x="704" y="561"/>
                  <a:pt x="702" y="559"/>
                  <a:pt x="699" y="559"/>
                </a:cubicBezTo>
                <a:cubicBezTo>
                  <a:pt x="697" y="559"/>
                  <a:pt x="695" y="561"/>
                  <a:pt x="695" y="564"/>
                </a:cubicBezTo>
                <a:cubicBezTo>
                  <a:pt x="695" y="566"/>
                  <a:pt x="697" y="568"/>
                  <a:pt x="699" y="568"/>
                </a:cubicBezTo>
                <a:cubicBezTo>
                  <a:pt x="702" y="568"/>
                  <a:pt x="704" y="566"/>
                  <a:pt x="704" y="564"/>
                </a:cubicBezTo>
                <a:close/>
                <a:moveTo>
                  <a:pt x="638" y="418"/>
                </a:moveTo>
                <a:cubicBezTo>
                  <a:pt x="640" y="418"/>
                  <a:pt x="643" y="416"/>
                  <a:pt x="643" y="414"/>
                </a:cubicBezTo>
                <a:cubicBezTo>
                  <a:pt x="643" y="411"/>
                  <a:pt x="640" y="409"/>
                  <a:pt x="638" y="409"/>
                </a:cubicBezTo>
                <a:cubicBezTo>
                  <a:pt x="635" y="409"/>
                  <a:pt x="633" y="411"/>
                  <a:pt x="633" y="414"/>
                </a:cubicBezTo>
                <a:cubicBezTo>
                  <a:pt x="633" y="416"/>
                  <a:pt x="635" y="418"/>
                  <a:pt x="638" y="418"/>
                </a:cubicBezTo>
                <a:close/>
                <a:moveTo>
                  <a:pt x="631" y="405"/>
                </a:moveTo>
                <a:cubicBezTo>
                  <a:pt x="634" y="405"/>
                  <a:pt x="636" y="403"/>
                  <a:pt x="636" y="400"/>
                </a:cubicBezTo>
                <a:cubicBezTo>
                  <a:pt x="636" y="398"/>
                  <a:pt x="634" y="396"/>
                  <a:pt x="631" y="396"/>
                </a:cubicBezTo>
                <a:cubicBezTo>
                  <a:pt x="629" y="396"/>
                  <a:pt x="627" y="398"/>
                  <a:pt x="627" y="400"/>
                </a:cubicBezTo>
                <a:cubicBezTo>
                  <a:pt x="627" y="403"/>
                  <a:pt x="629" y="405"/>
                  <a:pt x="631" y="405"/>
                </a:cubicBezTo>
                <a:close/>
                <a:moveTo>
                  <a:pt x="618" y="405"/>
                </a:moveTo>
                <a:cubicBezTo>
                  <a:pt x="620" y="405"/>
                  <a:pt x="622" y="403"/>
                  <a:pt x="622" y="400"/>
                </a:cubicBezTo>
                <a:cubicBezTo>
                  <a:pt x="622" y="398"/>
                  <a:pt x="620" y="396"/>
                  <a:pt x="618" y="396"/>
                </a:cubicBezTo>
                <a:cubicBezTo>
                  <a:pt x="615" y="396"/>
                  <a:pt x="613" y="398"/>
                  <a:pt x="613" y="400"/>
                </a:cubicBezTo>
                <a:cubicBezTo>
                  <a:pt x="613" y="403"/>
                  <a:pt x="615" y="405"/>
                  <a:pt x="618" y="405"/>
                </a:cubicBezTo>
                <a:close/>
                <a:moveTo>
                  <a:pt x="629" y="387"/>
                </a:moveTo>
                <a:cubicBezTo>
                  <a:pt x="629" y="384"/>
                  <a:pt x="627" y="382"/>
                  <a:pt x="624" y="382"/>
                </a:cubicBezTo>
                <a:cubicBezTo>
                  <a:pt x="622" y="382"/>
                  <a:pt x="620" y="384"/>
                  <a:pt x="620" y="387"/>
                </a:cubicBezTo>
                <a:cubicBezTo>
                  <a:pt x="620" y="389"/>
                  <a:pt x="622" y="391"/>
                  <a:pt x="624" y="391"/>
                </a:cubicBezTo>
                <a:cubicBezTo>
                  <a:pt x="627" y="391"/>
                  <a:pt x="629" y="389"/>
                  <a:pt x="629" y="387"/>
                </a:cubicBezTo>
                <a:close/>
                <a:moveTo>
                  <a:pt x="633" y="441"/>
                </a:moveTo>
                <a:cubicBezTo>
                  <a:pt x="633" y="444"/>
                  <a:pt x="635" y="446"/>
                  <a:pt x="638" y="446"/>
                </a:cubicBezTo>
                <a:cubicBezTo>
                  <a:pt x="640" y="446"/>
                  <a:pt x="643" y="444"/>
                  <a:pt x="643" y="441"/>
                </a:cubicBezTo>
                <a:cubicBezTo>
                  <a:pt x="643" y="439"/>
                  <a:pt x="640" y="437"/>
                  <a:pt x="638" y="437"/>
                </a:cubicBezTo>
                <a:cubicBezTo>
                  <a:pt x="635" y="437"/>
                  <a:pt x="633" y="439"/>
                  <a:pt x="633" y="441"/>
                </a:cubicBezTo>
                <a:close/>
                <a:moveTo>
                  <a:pt x="645" y="459"/>
                </a:moveTo>
                <a:cubicBezTo>
                  <a:pt x="647" y="459"/>
                  <a:pt x="649" y="457"/>
                  <a:pt x="649" y="455"/>
                </a:cubicBezTo>
                <a:cubicBezTo>
                  <a:pt x="649" y="452"/>
                  <a:pt x="647" y="450"/>
                  <a:pt x="645" y="450"/>
                </a:cubicBezTo>
                <a:cubicBezTo>
                  <a:pt x="642" y="450"/>
                  <a:pt x="640" y="452"/>
                  <a:pt x="640" y="455"/>
                </a:cubicBezTo>
                <a:cubicBezTo>
                  <a:pt x="640" y="457"/>
                  <a:pt x="642" y="459"/>
                  <a:pt x="645" y="459"/>
                </a:cubicBezTo>
                <a:close/>
                <a:moveTo>
                  <a:pt x="615" y="387"/>
                </a:moveTo>
                <a:cubicBezTo>
                  <a:pt x="615" y="384"/>
                  <a:pt x="613" y="382"/>
                  <a:pt x="611" y="382"/>
                </a:cubicBezTo>
                <a:cubicBezTo>
                  <a:pt x="608" y="382"/>
                  <a:pt x="606" y="384"/>
                  <a:pt x="606" y="387"/>
                </a:cubicBezTo>
                <a:cubicBezTo>
                  <a:pt x="606" y="389"/>
                  <a:pt x="608" y="391"/>
                  <a:pt x="611" y="391"/>
                </a:cubicBezTo>
                <a:cubicBezTo>
                  <a:pt x="613" y="391"/>
                  <a:pt x="615" y="389"/>
                  <a:pt x="615" y="387"/>
                </a:cubicBezTo>
                <a:close/>
                <a:moveTo>
                  <a:pt x="738" y="523"/>
                </a:moveTo>
                <a:cubicBezTo>
                  <a:pt x="738" y="521"/>
                  <a:pt x="736" y="519"/>
                  <a:pt x="733" y="519"/>
                </a:cubicBezTo>
                <a:cubicBezTo>
                  <a:pt x="731" y="519"/>
                  <a:pt x="729" y="521"/>
                  <a:pt x="729" y="523"/>
                </a:cubicBezTo>
                <a:cubicBezTo>
                  <a:pt x="729" y="526"/>
                  <a:pt x="731" y="528"/>
                  <a:pt x="733" y="528"/>
                </a:cubicBezTo>
                <a:cubicBezTo>
                  <a:pt x="736" y="528"/>
                  <a:pt x="738" y="526"/>
                  <a:pt x="738" y="523"/>
                </a:cubicBezTo>
                <a:close/>
                <a:moveTo>
                  <a:pt x="577" y="405"/>
                </a:moveTo>
                <a:cubicBezTo>
                  <a:pt x="579" y="405"/>
                  <a:pt x="581" y="403"/>
                  <a:pt x="581" y="400"/>
                </a:cubicBezTo>
                <a:cubicBezTo>
                  <a:pt x="581" y="398"/>
                  <a:pt x="579" y="396"/>
                  <a:pt x="577" y="396"/>
                </a:cubicBezTo>
                <a:cubicBezTo>
                  <a:pt x="574" y="396"/>
                  <a:pt x="572" y="398"/>
                  <a:pt x="572" y="400"/>
                </a:cubicBezTo>
                <a:cubicBezTo>
                  <a:pt x="572" y="403"/>
                  <a:pt x="574" y="405"/>
                  <a:pt x="577" y="405"/>
                </a:cubicBezTo>
                <a:close/>
                <a:moveTo>
                  <a:pt x="590" y="405"/>
                </a:moveTo>
                <a:cubicBezTo>
                  <a:pt x="593" y="405"/>
                  <a:pt x="595" y="403"/>
                  <a:pt x="595" y="400"/>
                </a:cubicBezTo>
                <a:cubicBezTo>
                  <a:pt x="595" y="398"/>
                  <a:pt x="593" y="396"/>
                  <a:pt x="590" y="396"/>
                </a:cubicBezTo>
                <a:cubicBezTo>
                  <a:pt x="588" y="396"/>
                  <a:pt x="586" y="398"/>
                  <a:pt x="586" y="400"/>
                </a:cubicBezTo>
                <a:cubicBezTo>
                  <a:pt x="586" y="403"/>
                  <a:pt x="588" y="405"/>
                  <a:pt x="590" y="405"/>
                </a:cubicBezTo>
                <a:close/>
                <a:moveTo>
                  <a:pt x="604" y="405"/>
                </a:moveTo>
                <a:cubicBezTo>
                  <a:pt x="606" y="405"/>
                  <a:pt x="608" y="403"/>
                  <a:pt x="608" y="400"/>
                </a:cubicBezTo>
                <a:cubicBezTo>
                  <a:pt x="608" y="398"/>
                  <a:pt x="606" y="396"/>
                  <a:pt x="604" y="396"/>
                </a:cubicBezTo>
                <a:cubicBezTo>
                  <a:pt x="601" y="396"/>
                  <a:pt x="599" y="398"/>
                  <a:pt x="599" y="400"/>
                </a:cubicBezTo>
                <a:cubicBezTo>
                  <a:pt x="599" y="403"/>
                  <a:pt x="601" y="405"/>
                  <a:pt x="604" y="405"/>
                </a:cubicBezTo>
                <a:close/>
                <a:moveTo>
                  <a:pt x="652" y="473"/>
                </a:moveTo>
                <a:cubicBezTo>
                  <a:pt x="654" y="473"/>
                  <a:pt x="656" y="471"/>
                  <a:pt x="656" y="468"/>
                </a:cubicBezTo>
                <a:cubicBezTo>
                  <a:pt x="656" y="466"/>
                  <a:pt x="654" y="464"/>
                  <a:pt x="652" y="464"/>
                </a:cubicBezTo>
                <a:cubicBezTo>
                  <a:pt x="649" y="464"/>
                  <a:pt x="647" y="466"/>
                  <a:pt x="647" y="468"/>
                </a:cubicBezTo>
                <a:cubicBezTo>
                  <a:pt x="647" y="471"/>
                  <a:pt x="649" y="473"/>
                  <a:pt x="652" y="473"/>
                </a:cubicBezTo>
                <a:close/>
                <a:moveTo>
                  <a:pt x="602" y="387"/>
                </a:moveTo>
                <a:cubicBezTo>
                  <a:pt x="602" y="384"/>
                  <a:pt x="600" y="382"/>
                  <a:pt x="597" y="382"/>
                </a:cubicBezTo>
                <a:cubicBezTo>
                  <a:pt x="595" y="382"/>
                  <a:pt x="593" y="384"/>
                  <a:pt x="593" y="387"/>
                </a:cubicBezTo>
                <a:cubicBezTo>
                  <a:pt x="593" y="389"/>
                  <a:pt x="595" y="391"/>
                  <a:pt x="597" y="391"/>
                </a:cubicBezTo>
                <a:cubicBezTo>
                  <a:pt x="600" y="391"/>
                  <a:pt x="602" y="389"/>
                  <a:pt x="602" y="387"/>
                </a:cubicBezTo>
                <a:close/>
                <a:moveTo>
                  <a:pt x="588" y="387"/>
                </a:moveTo>
                <a:cubicBezTo>
                  <a:pt x="588" y="384"/>
                  <a:pt x="586" y="382"/>
                  <a:pt x="583" y="382"/>
                </a:cubicBezTo>
                <a:cubicBezTo>
                  <a:pt x="581" y="382"/>
                  <a:pt x="579" y="384"/>
                  <a:pt x="579" y="387"/>
                </a:cubicBezTo>
                <a:cubicBezTo>
                  <a:pt x="579" y="389"/>
                  <a:pt x="581" y="391"/>
                  <a:pt x="583" y="391"/>
                </a:cubicBezTo>
                <a:cubicBezTo>
                  <a:pt x="586" y="391"/>
                  <a:pt x="588" y="389"/>
                  <a:pt x="588" y="387"/>
                </a:cubicBezTo>
                <a:close/>
                <a:moveTo>
                  <a:pt x="711" y="550"/>
                </a:moveTo>
                <a:cubicBezTo>
                  <a:pt x="711" y="548"/>
                  <a:pt x="709" y="546"/>
                  <a:pt x="706" y="546"/>
                </a:cubicBezTo>
                <a:cubicBezTo>
                  <a:pt x="704" y="546"/>
                  <a:pt x="702" y="548"/>
                  <a:pt x="702" y="550"/>
                </a:cubicBezTo>
                <a:cubicBezTo>
                  <a:pt x="702" y="553"/>
                  <a:pt x="704" y="555"/>
                  <a:pt x="706" y="555"/>
                </a:cubicBezTo>
                <a:cubicBezTo>
                  <a:pt x="709" y="555"/>
                  <a:pt x="711" y="553"/>
                  <a:pt x="711" y="550"/>
                </a:cubicBezTo>
                <a:close/>
                <a:moveTo>
                  <a:pt x="713" y="568"/>
                </a:moveTo>
                <a:cubicBezTo>
                  <a:pt x="715" y="568"/>
                  <a:pt x="717" y="566"/>
                  <a:pt x="717" y="564"/>
                </a:cubicBezTo>
                <a:cubicBezTo>
                  <a:pt x="717" y="561"/>
                  <a:pt x="715" y="559"/>
                  <a:pt x="713" y="559"/>
                </a:cubicBezTo>
                <a:cubicBezTo>
                  <a:pt x="710" y="559"/>
                  <a:pt x="708" y="561"/>
                  <a:pt x="708" y="564"/>
                </a:cubicBezTo>
                <a:cubicBezTo>
                  <a:pt x="708" y="566"/>
                  <a:pt x="710" y="568"/>
                  <a:pt x="713" y="568"/>
                </a:cubicBezTo>
                <a:close/>
                <a:moveTo>
                  <a:pt x="574" y="387"/>
                </a:moveTo>
                <a:cubicBezTo>
                  <a:pt x="574" y="384"/>
                  <a:pt x="572" y="382"/>
                  <a:pt x="570" y="382"/>
                </a:cubicBezTo>
                <a:cubicBezTo>
                  <a:pt x="567" y="382"/>
                  <a:pt x="565" y="384"/>
                  <a:pt x="565" y="387"/>
                </a:cubicBezTo>
                <a:cubicBezTo>
                  <a:pt x="565" y="389"/>
                  <a:pt x="567" y="391"/>
                  <a:pt x="570" y="391"/>
                </a:cubicBezTo>
                <a:cubicBezTo>
                  <a:pt x="572" y="391"/>
                  <a:pt x="574" y="389"/>
                  <a:pt x="574" y="387"/>
                </a:cubicBezTo>
                <a:close/>
                <a:moveTo>
                  <a:pt x="692" y="582"/>
                </a:moveTo>
                <a:cubicBezTo>
                  <a:pt x="695" y="582"/>
                  <a:pt x="697" y="580"/>
                  <a:pt x="697" y="578"/>
                </a:cubicBezTo>
                <a:cubicBezTo>
                  <a:pt x="697" y="575"/>
                  <a:pt x="695" y="573"/>
                  <a:pt x="692" y="573"/>
                </a:cubicBezTo>
                <a:cubicBezTo>
                  <a:pt x="690" y="573"/>
                  <a:pt x="688" y="575"/>
                  <a:pt x="688" y="578"/>
                </a:cubicBezTo>
                <a:cubicBezTo>
                  <a:pt x="688" y="580"/>
                  <a:pt x="690" y="582"/>
                  <a:pt x="692" y="582"/>
                </a:cubicBezTo>
                <a:close/>
                <a:moveTo>
                  <a:pt x="731" y="537"/>
                </a:moveTo>
                <a:cubicBezTo>
                  <a:pt x="731" y="534"/>
                  <a:pt x="729" y="532"/>
                  <a:pt x="727" y="532"/>
                </a:cubicBezTo>
                <a:cubicBezTo>
                  <a:pt x="724" y="532"/>
                  <a:pt x="722" y="534"/>
                  <a:pt x="722" y="537"/>
                </a:cubicBezTo>
                <a:cubicBezTo>
                  <a:pt x="722" y="539"/>
                  <a:pt x="724" y="541"/>
                  <a:pt x="727" y="541"/>
                </a:cubicBezTo>
                <a:cubicBezTo>
                  <a:pt x="729" y="541"/>
                  <a:pt x="731" y="539"/>
                  <a:pt x="731" y="537"/>
                </a:cubicBezTo>
                <a:close/>
                <a:moveTo>
                  <a:pt x="724" y="550"/>
                </a:moveTo>
                <a:cubicBezTo>
                  <a:pt x="724" y="548"/>
                  <a:pt x="722" y="546"/>
                  <a:pt x="720" y="546"/>
                </a:cubicBezTo>
                <a:cubicBezTo>
                  <a:pt x="717" y="546"/>
                  <a:pt x="715" y="548"/>
                  <a:pt x="715" y="550"/>
                </a:cubicBezTo>
                <a:cubicBezTo>
                  <a:pt x="715" y="553"/>
                  <a:pt x="717" y="555"/>
                  <a:pt x="720" y="555"/>
                </a:cubicBezTo>
                <a:cubicBezTo>
                  <a:pt x="722" y="555"/>
                  <a:pt x="724" y="553"/>
                  <a:pt x="724" y="550"/>
                </a:cubicBezTo>
                <a:close/>
                <a:moveTo>
                  <a:pt x="672" y="568"/>
                </a:moveTo>
                <a:cubicBezTo>
                  <a:pt x="675" y="568"/>
                  <a:pt x="677" y="566"/>
                  <a:pt x="677" y="564"/>
                </a:cubicBezTo>
                <a:cubicBezTo>
                  <a:pt x="677" y="561"/>
                  <a:pt x="675" y="559"/>
                  <a:pt x="672" y="559"/>
                </a:cubicBezTo>
                <a:cubicBezTo>
                  <a:pt x="670" y="559"/>
                  <a:pt x="667" y="561"/>
                  <a:pt x="667" y="564"/>
                </a:cubicBezTo>
                <a:cubicBezTo>
                  <a:pt x="667" y="566"/>
                  <a:pt x="670" y="568"/>
                  <a:pt x="672" y="568"/>
                </a:cubicBezTo>
                <a:close/>
                <a:moveTo>
                  <a:pt x="665" y="555"/>
                </a:moveTo>
                <a:cubicBezTo>
                  <a:pt x="668" y="555"/>
                  <a:pt x="670" y="553"/>
                  <a:pt x="670" y="550"/>
                </a:cubicBezTo>
                <a:cubicBezTo>
                  <a:pt x="670" y="548"/>
                  <a:pt x="668" y="546"/>
                  <a:pt x="665" y="546"/>
                </a:cubicBezTo>
                <a:cubicBezTo>
                  <a:pt x="663" y="546"/>
                  <a:pt x="661" y="548"/>
                  <a:pt x="661" y="550"/>
                </a:cubicBezTo>
                <a:cubicBezTo>
                  <a:pt x="661" y="553"/>
                  <a:pt x="663" y="555"/>
                  <a:pt x="665" y="555"/>
                </a:cubicBezTo>
                <a:close/>
                <a:moveTo>
                  <a:pt x="658" y="541"/>
                </a:moveTo>
                <a:cubicBezTo>
                  <a:pt x="661" y="541"/>
                  <a:pt x="663" y="539"/>
                  <a:pt x="663" y="537"/>
                </a:cubicBezTo>
                <a:cubicBezTo>
                  <a:pt x="663" y="534"/>
                  <a:pt x="661" y="532"/>
                  <a:pt x="658" y="532"/>
                </a:cubicBezTo>
                <a:cubicBezTo>
                  <a:pt x="656" y="532"/>
                  <a:pt x="654" y="534"/>
                  <a:pt x="654" y="537"/>
                </a:cubicBezTo>
                <a:cubicBezTo>
                  <a:pt x="654" y="539"/>
                  <a:pt x="656" y="541"/>
                  <a:pt x="658" y="541"/>
                </a:cubicBezTo>
                <a:close/>
                <a:moveTo>
                  <a:pt x="652" y="528"/>
                </a:moveTo>
                <a:cubicBezTo>
                  <a:pt x="654" y="528"/>
                  <a:pt x="656" y="526"/>
                  <a:pt x="656" y="523"/>
                </a:cubicBezTo>
                <a:cubicBezTo>
                  <a:pt x="656" y="521"/>
                  <a:pt x="654" y="519"/>
                  <a:pt x="652" y="519"/>
                </a:cubicBezTo>
                <a:cubicBezTo>
                  <a:pt x="649" y="519"/>
                  <a:pt x="647" y="521"/>
                  <a:pt x="647" y="523"/>
                </a:cubicBezTo>
                <a:cubicBezTo>
                  <a:pt x="647" y="526"/>
                  <a:pt x="649" y="528"/>
                  <a:pt x="652" y="528"/>
                </a:cubicBezTo>
                <a:close/>
                <a:moveTo>
                  <a:pt x="647" y="496"/>
                </a:moveTo>
                <a:cubicBezTo>
                  <a:pt x="647" y="498"/>
                  <a:pt x="649" y="500"/>
                  <a:pt x="652" y="500"/>
                </a:cubicBezTo>
                <a:cubicBezTo>
                  <a:pt x="654" y="500"/>
                  <a:pt x="656" y="498"/>
                  <a:pt x="656" y="496"/>
                </a:cubicBezTo>
                <a:cubicBezTo>
                  <a:pt x="656" y="493"/>
                  <a:pt x="654" y="491"/>
                  <a:pt x="652" y="491"/>
                </a:cubicBezTo>
                <a:cubicBezTo>
                  <a:pt x="649" y="491"/>
                  <a:pt x="647" y="493"/>
                  <a:pt x="647" y="496"/>
                </a:cubicBezTo>
                <a:close/>
                <a:moveTo>
                  <a:pt x="690" y="564"/>
                </a:moveTo>
                <a:cubicBezTo>
                  <a:pt x="690" y="561"/>
                  <a:pt x="688" y="559"/>
                  <a:pt x="686" y="559"/>
                </a:cubicBezTo>
                <a:cubicBezTo>
                  <a:pt x="683" y="559"/>
                  <a:pt x="681" y="561"/>
                  <a:pt x="681" y="564"/>
                </a:cubicBezTo>
                <a:cubicBezTo>
                  <a:pt x="681" y="566"/>
                  <a:pt x="683" y="568"/>
                  <a:pt x="686" y="568"/>
                </a:cubicBezTo>
                <a:cubicBezTo>
                  <a:pt x="688" y="568"/>
                  <a:pt x="690" y="566"/>
                  <a:pt x="690" y="564"/>
                </a:cubicBezTo>
                <a:close/>
                <a:moveTo>
                  <a:pt x="679" y="582"/>
                </a:moveTo>
                <a:cubicBezTo>
                  <a:pt x="681" y="582"/>
                  <a:pt x="683" y="580"/>
                  <a:pt x="683" y="578"/>
                </a:cubicBezTo>
                <a:cubicBezTo>
                  <a:pt x="683" y="575"/>
                  <a:pt x="681" y="573"/>
                  <a:pt x="679" y="573"/>
                </a:cubicBezTo>
                <a:cubicBezTo>
                  <a:pt x="676" y="573"/>
                  <a:pt x="674" y="575"/>
                  <a:pt x="674" y="578"/>
                </a:cubicBezTo>
                <a:cubicBezTo>
                  <a:pt x="674" y="580"/>
                  <a:pt x="676" y="582"/>
                  <a:pt x="679" y="582"/>
                </a:cubicBezTo>
                <a:close/>
                <a:moveTo>
                  <a:pt x="951" y="64"/>
                </a:moveTo>
                <a:cubicBezTo>
                  <a:pt x="954" y="64"/>
                  <a:pt x="956" y="62"/>
                  <a:pt x="956" y="59"/>
                </a:cubicBezTo>
                <a:cubicBezTo>
                  <a:pt x="956" y="57"/>
                  <a:pt x="954" y="55"/>
                  <a:pt x="951" y="55"/>
                </a:cubicBezTo>
                <a:cubicBezTo>
                  <a:pt x="949" y="55"/>
                  <a:pt x="947" y="57"/>
                  <a:pt x="947" y="59"/>
                </a:cubicBezTo>
                <a:cubicBezTo>
                  <a:pt x="947" y="62"/>
                  <a:pt x="949" y="64"/>
                  <a:pt x="951" y="64"/>
                </a:cubicBezTo>
                <a:close/>
                <a:moveTo>
                  <a:pt x="1010" y="332"/>
                </a:moveTo>
                <a:cubicBezTo>
                  <a:pt x="1010" y="330"/>
                  <a:pt x="1008" y="328"/>
                  <a:pt x="1006" y="328"/>
                </a:cubicBezTo>
                <a:cubicBezTo>
                  <a:pt x="1003" y="328"/>
                  <a:pt x="1001" y="330"/>
                  <a:pt x="1001" y="332"/>
                </a:cubicBezTo>
                <a:cubicBezTo>
                  <a:pt x="1001" y="335"/>
                  <a:pt x="1003" y="337"/>
                  <a:pt x="1006" y="337"/>
                </a:cubicBezTo>
                <a:cubicBezTo>
                  <a:pt x="1008" y="337"/>
                  <a:pt x="1010" y="335"/>
                  <a:pt x="1010" y="332"/>
                </a:cubicBezTo>
                <a:close/>
                <a:moveTo>
                  <a:pt x="1013" y="350"/>
                </a:moveTo>
                <a:cubicBezTo>
                  <a:pt x="1015" y="350"/>
                  <a:pt x="1017" y="348"/>
                  <a:pt x="1017" y="346"/>
                </a:cubicBezTo>
                <a:cubicBezTo>
                  <a:pt x="1017" y="343"/>
                  <a:pt x="1015" y="341"/>
                  <a:pt x="1013" y="341"/>
                </a:cubicBezTo>
                <a:cubicBezTo>
                  <a:pt x="1010" y="341"/>
                  <a:pt x="1008" y="343"/>
                  <a:pt x="1008" y="346"/>
                </a:cubicBezTo>
                <a:cubicBezTo>
                  <a:pt x="1008" y="348"/>
                  <a:pt x="1010" y="350"/>
                  <a:pt x="1013" y="350"/>
                </a:cubicBezTo>
                <a:close/>
                <a:moveTo>
                  <a:pt x="1015" y="468"/>
                </a:moveTo>
                <a:cubicBezTo>
                  <a:pt x="1015" y="471"/>
                  <a:pt x="1017" y="473"/>
                  <a:pt x="1019" y="473"/>
                </a:cubicBezTo>
                <a:cubicBezTo>
                  <a:pt x="1022" y="473"/>
                  <a:pt x="1024" y="471"/>
                  <a:pt x="1024" y="468"/>
                </a:cubicBezTo>
                <a:cubicBezTo>
                  <a:pt x="1024" y="466"/>
                  <a:pt x="1022" y="464"/>
                  <a:pt x="1019" y="464"/>
                </a:cubicBezTo>
                <a:cubicBezTo>
                  <a:pt x="1017" y="464"/>
                  <a:pt x="1015" y="466"/>
                  <a:pt x="1015" y="468"/>
                </a:cubicBezTo>
                <a:close/>
                <a:moveTo>
                  <a:pt x="1044" y="537"/>
                </a:moveTo>
                <a:cubicBezTo>
                  <a:pt x="1044" y="534"/>
                  <a:pt x="1042" y="532"/>
                  <a:pt x="1040" y="532"/>
                </a:cubicBezTo>
                <a:cubicBezTo>
                  <a:pt x="1037" y="532"/>
                  <a:pt x="1035" y="534"/>
                  <a:pt x="1035" y="537"/>
                </a:cubicBezTo>
                <a:cubicBezTo>
                  <a:pt x="1035" y="539"/>
                  <a:pt x="1037" y="541"/>
                  <a:pt x="1040" y="541"/>
                </a:cubicBezTo>
                <a:cubicBezTo>
                  <a:pt x="1042" y="541"/>
                  <a:pt x="1044" y="539"/>
                  <a:pt x="1044" y="537"/>
                </a:cubicBezTo>
                <a:close/>
                <a:moveTo>
                  <a:pt x="1033" y="555"/>
                </a:moveTo>
                <a:cubicBezTo>
                  <a:pt x="1035" y="555"/>
                  <a:pt x="1037" y="553"/>
                  <a:pt x="1037" y="550"/>
                </a:cubicBezTo>
                <a:cubicBezTo>
                  <a:pt x="1037" y="548"/>
                  <a:pt x="1035" y="546"/>
                  <a:pt x="1033" y="546"/>
                </a:cubicBezTo>
                <a:cubicBezTo>
                  <a:pt x="1030" y="546"/>
                  <a:pt x="1028" y="548"/>
                  <a:pt x="1028" y="550"/>
                </a:cubicBezTo>
                <a:cubicBezTo>
                  <a:pt x="1028" y="553"/>
                  <a:pt x="1030" y="555"/>
                  <a:pt x="1033" y="555"/>
                </a:cubicBezTo>
                <a:close/>
                <a:moveTo>
                  <a:pt x="1031" y="455"/>
                </a:moveTo>
                <a:cubicBezTo>
                  <a:pt x="1031" y="452"/>
                  <a:pt x="1029" y="450"/>
                  <a:pt x="1026" y="450"/>
                </a:cubicBezTo>
                <a:cubicBezTo>
                  <a:pt x="1024" y="450"/>
                  <a:pt x="1022" y="452"/>
                  <a:pt x="1022" y="455"/>
                </a:cubicBezTo>
                <a:cubicBezTo>
                  <a:pt x="1022" y="457"/>
                  <a:pt x="1024" y="459"/>
                  <a:pt x="1026" y="459"/>
                </a:cubicBezTo>
                <a:cubicBezTo>
                  <a:pt x="1029" y="459"/>
                  <a:pt x="1031" y="457"/>
                  <a:pt x="1031" y="455"/>
                </a:cubicBezTo>
                <a:close/>
                <a:moveTo>
                  <a:pt x="1019" y="446"/>
                </a:moveTo>
                <a:cubicBezTo>
                  <a:pt x="1022" y="446"/>
                  <a:pt x="1024" y="444"/>
                  <a:pt x="1024" y="441"/>
                </a:cubicBezTo>
                <a:cubicBezTo>
                  <a:pt x="1024" y="439"/>
                  <a:pt x="1022" y="437"/>
                  <a:pt x="1019" y="437"/>
                </a:cubicBezTo>
                <a:cubicBezTo>
                  <a:pt x="1017" y="437"/>
                  <a:pt x="1015" y="439"/>
                  <a:pt x="1015" y="441"/>
                </a:cubicBezTo>
                <a:cubicBezTo>
                  <a:pt x="1015" y="444"/>
                  <a:pt x="1017" y="446"/>
                  <a:pt x="1019" y="446"/>
                </a:cubicBezTo>
                <a:close/>
                <a:moveTo>
                  <a:pt x="967" y="400"/>
                </a:moveTo>
                <a:cubicBezTo>
                  <a:pt x="967" y="403"/>
                  <a:pt x="969" y="405"/>
                  <a:pt x="972" y="405"/>
                </a:cubicBezTo>
                <a:cubicBezTo>
                  <a:pt x="974" y="405"/>
                  <a:pt x="976" y="403"/>
                  <a:pt x="976" y="400"/>
                </a:cubicBezTo>
                <a:cubicBezTo>
                  <a:pt x="976" y="398"/>
                  <a:pt x="974" y="396"/>
                  <a:pt x="972" y="396"/>
                </a:cubicBezTo>
                <a:cubicBezTo>
                  <a:pt x="969" y="396"/>
                  <a:pt x="967" y="398"/>
                  <a:pt x="967" y="400"/>
                </a:cubicBezTo>
                <a:close/>
                <a:moveTo>
                  <a:pt x="983" y="387"/>
                </a:moveTo>
                <a:cubicBezTo>
                  <a:pt x="983" y="384"/>
                  <a:pt x="981" y="382"/>
                  <a:pt x="978" y="382"/>
                </a:cubicBezTo>
                <a:cubicBezTo>
                  <a:pt x="976" y="382"/>
                  <a:pt x="974" y="384"/>
                  <a:pt x="974" y="387"/>
                </a:cubicBezTo>
                <a:cubicBezTo>
                  <a:pt x="974" y="389"/>
                  <a:pt x="976" y="391"/>
                  <a:pt x="978" y="391"/>
                </a:cubicBezTo>
                <a:cubicBezTo>
                  <a:pt x="981" y="391"/>
                  <a:pt x="983" y="389"/>
                  <a:pt x="983" y="387"/>
                </a:cubicBezTo>
                <a:close/>
                <a:moveTo>
                  <a:pt x="972" y="378"/>
                </a:moveTo>
                <a:cubicBezTo>
                  <a:pt x="974" y="378"/>
                  <a:pt x="976" y="375"/>
                  <a:pt x="976" y="373"/>
                </a:cubicBezTo>
                <a:cubicBezTo>
                  <a:pt x="976" y="370"/>
                  <a:pt x="974" y="368"/>
                  <a:pt x="972" y="368"/>
                </a:cubicBezTo>
                <a:cubicBezTo>
                  <a:pt x="969" y="368"/>
                  <a:pt x="967" y="370"/>
                  <a:pt x="967" y="373"/>
                </a:cubicBezTo>
                <a:cubicBezTo>
                  <a:pt x="967" y="375"/>
                  <a:pt x="969" y="378"/>
                  <a:pt x="972" y="378"/>
                </a:cubicBezTo>
                <a:close/>
                <a:moveTo>
                  <a:pt x="1003" y="346"/>
                </a:moveTo>
                <a:cubicBezTo>
                  <a:pt x="1003" y="343"/>
                  <a:pt x="1001" y="341"/>
                  <a:pt x="999" y="341"/>
                </a:cubicBezTo>
                <a:cubicBezTo>
                  <a:pt x="996" y="341"/>
                  <a:pt x="994" y="343"/>
                  <a:pt x="994" y="346"/>
                </a:cubicBezTo>
                <a:cubicBezTo>
                  <a:pt x="994" y="348"/>
                  <a:pt x="996" y="350"/>
                  <a:pt x="999" y="350"/>
                </a:cubicBezTo>
                <a:cubicBezTo>
                  <a:pt x="1001" y="350"/>
                  <a:pt x="1003" y="348"/>
                  <a:pt x="1003" y="346"/>
                </a:cubicBezTo>
                <a:close/>
                <a:moveTo>
                  <a:pt x="997" y="359"/>
                </a:moveTo>
                <a:cubicBezTo>
                  <a:pt x="997" y="357"/>
                  <a:pt x="995" y="355"/>
                  <a:pt x="992" y="355"/>
                </a:cubicBezTo>
                <a:cubicBezTo>
                  <a:pt x="990" y="355"/>
                  <a:pt x="988" y="357"/>
                  <a:pt x="988" y="359"/>
                </a:cubicBezTo>
                <a:cubicBezTo>
                  <a:pt x="988" y="362"/>
                  <a:pt x="990" y="364"/>
                  <a:pt x="992" y="364"/>
                </a:cubicBezTo>
                <a:cubicBezTo>
                  <a:pt x="995" y="364"/>
                  <a:pt x="997" y="362"/>
                  <a:pt x="997" y="359"/>
                </a:cubicBezTo>
                <a:close/>
                <a:moveTo>
                  <a:pt x="990" y="373"/>
                </a:moveTo>
                <a:cubicBezTo>
                  <a:pt x="990" y="370"/>
                  <a:pt x="988" y="368"/>
                  <a:pt x="985" y="368"/>
                </a:cubicBezTo>
                <a:cubicBezTo>
                  <a:pt x="983" y="368"/>
                  <a:pt x="981" y="370"/>
                  <a:pt x="981" y="373"/>
                </a:cubicBezTo>
                <a:cubicBezTo>
                  <a:pt x="981" y="375"/>
                  <a:pt x="983" y="378"/>
                  <a:pt x="985" y="378"/>
                </a:cubicBezTo>
                <a:cubicBezTo>
                  <a:pt x="988" y="378"/>
                  <a:pt x="990" y="375"/>
                  <a:pt x="990" y="373"/>
                </a:cubicBezTo>
                <a:close/>
                <a:moveTo>
                  <a:pt x="1051" y="441"/>
                </a:moveTo>
                <a:cubicBezTo>
                  <a:pt x="1051" y="439"/>
                  <a:pt x="1049" y="437"/>
                  <a:pt x="1047" y="437"/>
                </a:cubicBezTo>
                <a:cubicBezTo>
                  <a:pt x="1044" y="437"/>
                  <a:pt x="1042" y="439"/>
                  <a:pt x="1042" y="441"/>
                </a:cubicBezTo>
                <a:cubicBezTo>
                  <a:pt x="1042" y="444"/>
                  <a:pt x="1044" y="446"/>
                  <a:pt x="1047" y="446"/>
                </a:cubicBezTo>
                <a:cubicBezTo>
                  <a:pt x="1049" y="446"/>
                  <a:pt x="1051" y="444"/>
                  <a:pt x="1051" y="441"/>
                </a:cubicBezTo>
                <a:close/>
                <a:moveTo>
                  <a:pt x="1101" y="555"/>
                </a:moveTo>
                <a:cubicBezTo>
                  <a:pt x="1104" y="555"/>
                  <a:pt x="1106" y="553"/>
                  <a:pt x="1106" y="550"/>
                </a:cubicBezTo>
                <a:cubicBezTo>
                  <a:pt x="1106" y="548"/>
                  <a:pt x="1104" y="546"/>
                  <a:pt x="1101" y="546"/>
                </a:cubicBezTo>
                <a:cubicBezTo>
                  <a:pt x="1099" y="546"/>
                  <a:pt x="1096" y="548"/>
                  <a:pt x="1096" y="550"/>
                </a:cubicBezTo>
                <a:cubicBezTo>
                  <a:pt x="1096" y="553"/>
                  <a:pt x="1099" y="555"/>
                  <a:pt x="1101" y="555"/>
                </a:cubicBezTo>
                <a:close/>
                <a:moveTo>
                  <a:pt x="1108" y="568"/>
                </a:moveTo>
                <a:cubicBezTo>
                  <a:pt x="1110" y="568"/>
                  <a:pt x="1112" y="566"/>
                  <a:pt x="1112" y="564"/>
                </a:cubicBezTo>
                <a:cubicBezTo>
                  <a:pt x="1112" y="561"/>
                  <a:pt x="1110" y="559"/>
                  <a:pt x="1108" y="559"/>
                </a:cubicBezTo>
                <a:cubicBezTo>
                  <a:pt x="1105" y="559"/>
                  <a:pt x="1103" y="561"/>
                  <a:pt x="1103" y="564"/>
                </a:cubicBezTo>
                <a:cubicBezTo>
                  <a:pt x="1103" y="566"/>
                  <a:pt x="1105" y="568"/>
                  <a:pt x="1108" y="568"/>
                </a:cubicBezTo>
                <a:close/>
                <a:moveTo>
                  <a:pt x="1092" y="523"/>
                </a:moveTo>
                <a:cubicBezTo>
                  <a:pt x="1092" y="521"/>
                  <a:pt x="1090" y="519"/>
                  <a:pt x="1087" y="519"/>
                </a:cubicBezTo>
                <a:cubicBezTo>
                  <a:pt x="1085" y="519"/>
                  <a:pt x="1083" y="521"/>
                  <a:pt x="1083" y="523"/>
                </a:cubicBezTo>
                <a:cubicBezTo>
                  <a:pt x="1083" y="526"/>
                  <a:pt x="1085" y="528"/>
                  <a:pt x="1087" y="528"/>
                </a:cubicBezTo>
                <a:cubicBezTo>
                  <a:pt x="1090" y="528"/>
                  <a:pt x="1092" y="526"/>
                  <a:pt x="1092" y="523"/>
                </a:cubicBezTo>
                <a:close/>
                <a:moveTo>
                  <a:pt x="1094" y="541"/>
                </a:moveTo>
                <a:cubicBezTo>
                  <a:pt x="1097" y="541"/>
                  <a:pt x="1099" y="539"/>
                  <a:pt x="1099" y="537"/>
                </a:cubicBezTo>
                <a:cubicBezTo>
                  <a:pt x="1099" y="534"/>
                  <a:pt x="1097" y="532"/>
                  <a:pt x="1094" y="532"/>
                </a:cubicBezTo>
                <a:cubicBezTo>
                  <a:pt x="1092" y="532"/>
                  <a:pt x="1090" y="534"/>
                  <a:pt x="1090" y="537"/>
                </a:cubicBezTo>
                <a:cubicBezTo>
                  <a:pt x="1090" y="539"/>
                  <a:pt x="1092" y="541"/>
                  <a:pt x="1094" y="541"/>
                </a:cubicBezTo>
                <a:close/>
                <a:moveTo>
                  <a:pt x="1121" y="568"/>
                </a:moveTo>
                <a:cubicBezTo>
                  <a:pt x="1124" y="568"/>
                  <a:pt x="1126" y="566"/>
                  <a:pt x="1126" y="564"/>
                </a:cubicBezTo>
                <a:cubicBezTo>
                  <a:pt x="1126" y="561"/>
                  <a:pt x="1124" y="559"/>
                  <a:pt x="1121" y="559"/>
                </a:cubicBezTo>
                <a:cubicBezTo>
                  <a:pt x="1119" y="559"/>
                  <a:pt x="1117" y="561"/>
                  <a:pt x="1117" y="564"/>
                </a:cubicBezTo>
                <a:cubicBezTo>
                  <a:pt x="1117" y="566"/>
                  <a:pt x="1119" y="568"/>
                  <a:pt x="1121" y="568"/>
                </a:cubicBezTo>
                <a:close/>
                <a:moveTo>
                  <a:pt x="1119" y="550"/>
                </a:moveTo>
                <a:cubicBezTo>
                  <a:pt x="1119" y="548"/>
                  <a:pt x="1117" y="546"/>
                  <a:pt x="1115" y="546"/>
                </a:cubicBezTo>
                <a:cubicBezTo>
                  <a:pt x="1112" y="546"/>
                  <a:pt x="1110" y="548"/>
                  <a:pt x="1110" y="550"/>
                </a:cubicBezTo>
                <a:cubicBezTo>
                  <a:pt x="1110" y="553"/>
                  <a:pt x="1112" y="555"/>
                  <a:pt x="1115" y="555"/>
                </a:cubicBezTo>
                <a:cubicBezTo>
                  <a:pt x="1117" y="555"/>
                  <a:pt x="1119" y="553"/>
                  <a:pt x="1119" y="550"/>
                </a:cubicBezTo>
                <a:close/>
                <a:moveTo>
                  <a:pt x="1078" y="523"/>
                </a:moveTo>
                <a:cubicBezTo>
                  <a:pt x="1078" y="521"/>
                  <a:pt x="1076" y="519"/>
                  <a:pt x="1074" y="519"/>
                </a:cubicBezTo>
                <a:cubicBezTo>
                  <a:pt x="1071" y="519"/>
                  <a:pt x="1069" y="521"/>
                  <a:pt x="1069" y="523"/>
                </a:cubicBezTo>
                <a:cubicBezTo>
                  <a:pt x="1069" y="526"/>
                  <a:pt x="1071" y="528"/>
                  <a:pt x="1074" y="528"/>
                </a:cubicBezTo>
                <a:cubicBezTo>
                  <a:pt x="1076" y="528"/>
                  <a:pt x="1078" y="526"/>
                  <a:pt x="1078" y="523"/>
                </a:cubicBezTo>
                <a:close/>
                <a:moveTo>
                  <a:pt x="1065" y="523"/>
                </a:moveTo>
                <a:cubicBezTo>
                  <a:pt x="1065" y="521"/>
                  <a:pt x="1063" y="519"/>
                  <a:pt x="1060" y="519"/>
                </a:cubicBezTo>
                <a:cubicBezTo>
                  <a:pt x="1058" y="519"/>
                  <a:pt x="1056" y="521"/>
                  <a:pt x="1056" y="523"/>
                </a:cubicBezTo>
                <a:cubicBezTo>
                  <a:pt x="1056" y="526"/>
                  <a:pt x="1058" y="528"/>
                  <a:pt x="1060" y="528"/>
                </a:cubicBezTo>
                <a:cubicBezTo>
                  <a:pt x="1063" y="528"/>
                  <a:pt x="1065" y="526"/>
                  <a:pt x="1065" y="523"/>
                </a:cubicBezTo>
                <a:close/>
                <a:moveTo>
                  <a:pt x="1053" y="541"/>
                </a:moveTo>
                <a:cubicBezTo>
                  <a:pt x="1056" y="541"/>
                  <a:pt x="1058" y="539"/>
                  <a:pt x="1058" y="537"/>
                </a:cubicBezTo>
                <a:cubicBezTo>
                  <a:pt x="1058" y="534"/>
                  <a:pt x="1056" y="532"/>
                  <a:pt x="1053" y="532"/>
                </a:cubicBezTo>
                <a:cubicBezTo>
                  <a:pt x="1051" y="532"/>
                  <a:pt x="1049" y="534"/>
                  <a:pt x="1049" y="537"/>
                </a:cubicBezTo>
                <a:cubicBezTo>
                  <a:pt x="1049" y="539"/>
                  <a:pt x="1051" y="541"/>
                  <a:pt x="1053" y="541"/>
                </a:cubicBezTo>
                <a:close/>
                <a:moveTo>
                  <a:pt x="965" y="364"/>
                </a:moveTo>
                <a:cubicBezTo>
                  <a:pt x="967" y="364"/>
                  <a:pt x="969" y="362"/>
                  <a:pt x="969" y="359"/>
                </a:cubicBezTo>
                <a:cubicBezTo>
                  <a:pt x="969" y="357"/>
                  <a:pt x="967" y="355"/>
                  <a:pt x="965" y="355"/>
                </a:cubicBezTo>
                <a:cubicBezTo>
                  <a:pt x="962" y="355"/>
                  <a:pt x="960" y="357"/>
                  <a:pt x="960" y="359"/>
                </a:cubicBezTo>
                <a:cubicBezTo>
                  <a:pt x="960" y="362"/>
                  <a:pt x="962" y="364"/>
                  <a:pt x="965" y="364"/>
                </a:cubicBezTo>
                <a:close/>
                <a:moveTo>
                  <a:pt x="1081" y="541"/>
                </a:moveTo>
                <a:cubicBezTo>
                  <a:pt x="1083" y="541"/>
                  <a:pt x="1085" y="539"/>
                  <a:pt x="1085" y="537"/>
                </a:cubicBezTo>
                <a:cubicBezTo>
                  <a:pt x="1085" y="534"/>
                  <a:pt x="1083" y="532"/>
                  <a:pt x="1081" y="532"/>
                </a:cubicBezTo>
                <a:cubicBezTo>
                  <a:pt x="1078" y="532"/>
                  <a:pt x="1076" y="534"/>
                  <a:pt x="1076" y="537"/>
                </a:cubicBezTo>
                <a:cubicBezTo>
                  <a:pt x="1076" y="539"/>
                  <a:pt x="1078" y="541"/>
                  <a:pt x="1081" y="541"/>
                </a:cubicBezTo>
                <a:close/>
                <a:moveTo>
                  <a:pt x="1040" y="450"/>
                </a:moveTo>
                <a:cubicBezTo>
                  <a:pt x="1037" y="450"/>
                  <a:pt x="1035" y="452"/>
                  <a:pt x="1035" y="455"/>
                </a:cubicBezTo>
                <a:cubicBezTo>
                  <a:pt x="1035" y="457"/>
                  <a:pt x="1037" y="459"/>
                  <a:pt x="1040" y="459"/>
                </a:cubicBezTo>
                <a:cubicBezTo>
                  <a:pt x="1042" y="459"/>
                  <a:pt x="1044" y="457"/>
                  <a:pt x="1044" y="455"/>
                </a:cubicBezTo>
                <a:cubicBezTo>
                  <a:pt x="1044" y="452"/>
                  <a:pt x="1042" y="450"/>
                  <a:pt x="1040" y="450"/>
                </a:cubicBezTo>
                <a:close/>
                <a:moveTo>
                  <a:pt x="1067" y="541"/>
                </a:moveTo>
                <a:cubicBezTo>
                  <a:pt x="1070" y="541"/>
                  <a:pt x="1072" y="539"/>
                  <a:pt x="1072" y="537"/>
                </a:cubicBezTo>
                <a:cubicBezTo>
                  <a:pt x="1072" y="534"/>
                  <a:pt x="1070" y="532"/>
                  <a:pt x="1067" y="532"/>
                </a:cubicBezTo>
                <a:cubicBezTo>
                  <a:pt x="1064" y="532"/>
                  <a:pt x="1062" y="534"/>
                  <a:pt x="1062" y="537"/>
                </a:cubicBezTo>
                <a:cubicBezTo>
                  <a:pt x="1062" y="539"/>
                  <a:pt x="1064" y="541"/>
                  <a:pt x="1067" y="541"/>
                </a:cubicBezTo>
                <a:close/>
                <a:moveTo>
                  <a:pt x="792" y="305"/>
                </a:moveTo>
                <a:cubicBezTo>
                  <a:pt x="792" y="302"/>
                  <a:pt x="790" y="300"/>
                  <a:pt x="788" y="300"/>
                </a:cubicBezTo>
                <a:cubicBezTo>
                  <a:pt x="785" y="300"/>
                  <a:pt x="783" y="302"/>
                  <a:pt x="783" y="305"/>
                </a:cubicBezTo>
                <a:cubicBezTo>
                  <a:pt x="783" y="307"/>
                  <a:pt x="785" y="309"/>
                  <a:pt x="788" y="309"/>
                </a:cubicBezTo>
                <a:cubicBezTo>
                  <a:pt x="790" y="309"/>
                  <a:pt x="792" y="307"/>
                  <a:pt x="792" y="305"/>
                </a:cubicBezTo>
                <a:close/>
                <a:moveTo>
                  <a:pt x="842" y="282"/>
                </a:moveTo>
                <a:cubicBezTo>
                  <a:pt x="845" y="282"/>
                  <a:pt x="847" y="280"/>
                  <a:pt x="847" y="278"/>
                </a:cubicBezTo>
                <a:cubicBezTo>
                  <a:pt x="847" y="275"/>
                  <a:pt x="845" y="273"/>
                  <a:pt x="842" y="273"/>
                </a:cubicBezTo>
                <a:cubicBezTo>
                  <a:pt x="840" y="273"/>
                  <a:pt x="838" y="275"/>
                  <a:pt x="838" y="278"/>
                </a:cubicBezTo>
                <a:cubicBezTo>
                  <a:pt x="838" y="280"/>
                  <a:pt x="840" y="282"/>
                  <a:pt x="842" y="282"/>
                </a:cubicBezTo>
                <a:close/>
                <a:moveTo>
                  <a:pt x="840" y="264"/>
                </a:moveTo>
                <a:cubicBezTo>
                  <a:pt x="840" y="261"/>
                  <a:pt x="838" y="259"/>
                  <a:pt x="835" y="259"/>
                </a:cubicBezTo>
                <a:cubicBezTo>
                  <a:pt x="833" y="259"/>
                  <a:pt x="831" y="261"/>
                  <a:pt x="831" y="264"/>
                </a:cubicBezTo>
                <a:cubicBezTo>
                  <a:pt x="831" y="266"/>
                  <a:pt x="833" y="268"/>
                  <a:pt x="835" y="268"/>
                </a:cubicBezTo>
                <a:cubicBezTo>
                  <a:pt x="838" y="268"/>
                  <a:pt x="840" y="266"/>
                  <a:pt x="840" y="264"/>
                </a:cubicBezTo>
                <a:close/>
                <a:moveTo>
                  <a:pt x="829" y="282"/>
                </a:moveTo>
                <a:cubicBezTo>
                  <a:pt x="831" y="282"/>
                  <a:pt x="833" y="280"/>
                  <a:pt x="833" y="278"/>
                </a:cubicBezTo>
                <a:cubicBezTo>
                  <a:pt x="833" y="275"/>
                  <a:pt x="831" y="273"/>
                  <a:pt x="829" y="273"/>
                </a:cubicBezTo>
                <a:cubicBezTo>
                  <a:pt x="826" y="273"/>
                  <a:pt x="824" y="275"/>
                  <a:pt x="824" y="278"/>
                </a:cubicBezTo>
                <a:cubicBezTo>
                  <a:pt x="824" y="280"/>
                  <a:pt x="826" y="282"/>
                  <a:pt x="829" y="282"/>
                </a:cubicBezTo>
                <a:close/>
                <a:moveTo>
                  <a:pt x="856" y="309"/>
                </a:moveTo>
                <a:cubicBezTo>
                  <a:pt x="858" y="309"/>
                  <a:pt x="860" y="307"/>
                  <a:pt x="860" y="305"/>
                </a:cubicBezTo>
                <a:cubicBezTo>
                  <a:pt x="860" y="302"/>
                  <a:pt x="858" y="300"/>
                  <a:pt x="856" y="300"/>
                </a:cubicBezTo>
                <a:cubicBezTo>
                  <a:pt x="853" y="300"/>
                  <a:pt x="851" y="302"/>
                  <a:pt x="851" y="305"/>
                </a:cubicBezTo>
                <a:cubicBezTo>
                  <a:pt x="851" y="307"/>
                  <a:pt x="853" y="309"/>
                  <a:pt x="856" y="309"/>
                </a:cubicBezTo>
                <a:close/>
                <a:moveTo>
                  <a:pt x="826" y="264"/>
                </a:moveTo>
                <a:cubicBezTo>
                  <a:pt x="826" y="261"/>
                  <a:pt x="824" y="259"/>
                  <a:pt x="822" y="259"/>
                </a:cubicBezTo>
                <a:cubicBezTo>
                  <a:pt x="819" y="259"/>
                  <a:pt x="817" y="261"/>
                  <a:pt x="817" y="264"/>
                </a:cubicBezTo>
                <a:cubicBezTo>
                  <a:pt x="817" y="266"/>
                  <a:pt x="819" y="268"/>
                  <a:pt x="822" y="268"/>
                </a:cubicBezTo>
                <a:cubicBezTo>
                  <a:pt x="824" y="268"/>
                  <a:pt x="826" y="266"/>
                  <a:pt x="826" y="264"/>
                </a:cubicBezTo>
                <a:close/>
                <a:moveTo>
                  <a:pt x="849" y="296"/>
                </a:moveTo>
                <a:cubicBezTo>
                  <a:pt x="852" y="296"/>
                  <a:pt x="854" y="294"/>
                  <a:pt x="854" y="291"/>
                </a:cubicBezTo>
                <a:cubicBezTo>
                  <a:pt x="854" y="289"/>
                  <a:pt x="852" y="287"/>
                  <a:pt x="849" y="287"/>
                </a:cubicBezTo>
                <a:cubicBezTo>
                  <a:pt x="847" y="287"/>
                  <a:pt x="845" y="289"/>
                  <a:pt x="845" y="291"/>
                </a:cubicBezTo>
                <a:cubicBezTo>
                  <a:pt x="845" y="294"/>
                  <a:pt x="847" y="296"/>
                  <a:pt x="849" y="296"/>
                </a:cubicBezTo>
                <a:close/>
                <a:moveTo>
                  <a:pt x="806" y="305"/>
                </a:moveTo>
                <a:cubicBezTo>
                  <a:pt x="806" y="302"/>
                  <a:pt x="804" y="300"/>
                  <a:pt x="801" y="300"/>
                </a:cubicBezTo>
                <a:cubicBezTo>
                  <a:pt x="799" y="300"/>
                  <a:pt x="797" y="302"/>
                  <a:pt x="797" y="305"/>
                </a:cubicBezTo>
                <a:cubicBezTo>
                  <a:pt x="797" y="307"/>
                  <a:pt x="799" y="309"/>
                  <a:pt x="801" y="309"/>
                </a:cubicBezTo>
                <a:cubicBezTo>
                  <a:pt x="804" y="309"/>
                  <a:pt x="806" y="307"/>
                  <a:pt x="806" y="305"/>
                </a:cubicBezTo>
                <a:close/>
                <a:moveTo>
                  <a:pt x="1128" y="582"/>
                </a:moveTo>
                <a:cubicBezTo>
                  <a:pt x="1131" y="582"/>
                  <a:pt x="1133" y="580"/>
                  <a:pt x="1133" y="578"/>
                </a:cubicBezTo>
                <a:cubicBezTo>
                  <a:pt x="1133" y="575"/>
                  <a:pt x="1131" y="573"/>
                  <a:pt x="1128" y="573"/>
                </a:cubicBezTo>
                <a:cubicBezTo>
                  <a:pt x="1126" y="573"/>
                  <a:pt x="1124" y="575"/>
                  <a:pt x="1124" y="578"/>
                </a:cubicBezTo>
                <a:cubicBezTo>
                  <a:pt x="1124" y="580"/>
                  <a:pt x="1126" y="582"/>
                  <a:pt x="1128" y="582"/>
                </a:cubicBezTo>
                <a:close/>
                <a:moveTo>
                  <a:pt x="781" y="314"/>
                </a:moveTo>
                <a:cubicBezTo>
                  <a:pt x="778" y="314"/>
                  <a:pt x="776" y="316"/>
                  <a:pt x="776" y="318"/>
                </a:cubicBezTo>
                <a:cubicBezTo>
                  <a:pt x="776" y="321"/>
                  <a:pt x="778" y="323"/>
                  <a:pt x="781" y="323"/>
                </a:cubicBezTo>
                <a:cubicBezTo>
                  <a:pt x="784" y="323"/>
                  <a:pt x="786" y="321"/>
                  <a:pt x="786" y="318"/>
                </a:cubicBezTo>
                <a:cubicBezTo>
                  <a:pt x="786" y="316"/>
                  <a:pt x="784" y="314"/>
                  <a:pt x="781" y="314"/>
                </a:cubicBezTo>
                <a:close/>
                <a:moveTo>
                  <a:pt x="795" y="323"/>
                </a:moveTo>
                <a:cubicBezTo>
                  <a:pt x="797" y="323"/>
                  <a:pt x="799" y="321"/>
                  <a:pt x="799" y="318"/>
                </a:cubicBezTo>
                <a:cubicBezTo>
                  <a:pt x="799" y="316"/>
                  <a:pt x="797" y="314"/>
                  <a:pt x="795" y="314"/>
                </a:cubicBezTo>
                <a:cubicBezTo>
                  <a:pt x="792" y="314"/>
                  <a:pt x="790" y="316"/>
                  <a:pt x="790" y="318"/>
                </a:cubicBezTo>
                <a:cubicBezTo>
                  <a:pt x="790" y="321"/>
                  <a:pt x="792" y="323"/>
                  <a:pt x="795" y="323"/>
                </a:cubicBezTo>
                <a:close/>
                <a:moveTo>
                  <a:pt x="867" y="291"/>
                </a:moveTo>
                <a:cubicBezTo>
                  <a:pt x="867" y="289"/>
                  <a:pt x="865" y="287"/>
                  <a:pt x="863" y="287"/>
                </a:cubicBezTo>
                <a:cubicBezTo>
                  <a:pt x="860" y="287"/>
                  <a:pt x="858" y="289"/>
                  <a:pt x="858" y="291"/>
                </a:cubicBezTo>
                <a:cubicBezTo>
                  <a:pt x="858" y="294"/>
                  <a:pt x="860" y="296"/>
                  <a:pt x="863" y="296"/>
                </a:cubicBezTo>
                <a:cubicBezTo>
                  <a:pt x="865" y="296"/>
                  <a:pt x="867" y="294"/>
                  <a:pt x="867" y="291"/>
                </a:cubicBezTo>
                <a:close/>
                <a:moveTo>
                  <a:pt x="820" y="278"/>
                </a:moveTo>
                <a:cubicBezTo>
                  <a:pt x="820" y="275"/>
                  <a:pt x="818" y="273"/>
                  <a:pt x="815" y="273"/>
                </a:cubicBezTo>
                <a:cubicBezTo>
                  <a:pt x="813" y="273"/>
                  <a:pt x="810" y="275"/>
                  <a:pt x="810" y="278"/>
                </a:cubicBezTo>
                <a:cubicBezTo>
                  <a:pt x="810" y="280"/>
                  <a:pt x="813" y="282"/>
                  <a:pt x="815" y="282"/>
                </a:cubicBezTo>
                <a:cubicBezTo>
                  <a:pt x="818" y="282"/>
                  <a:pt x="820" y="280"/>
                  <a:pt x="820" y="278"/>
                </a:cubicBezTo>
                <a:close/>
                <a:moveTo>
                  <a:pt x="813" y="291"/>
                </a:moveTo>
                <a:cubicBezTo>
                  <a:pt x="813" y="289"/>
                  <a:pt x="811" y="287"/>
                  <a:pt x="808" y="287"/>
                </a:cubicBezTo>
                <a:cubicBezTo>
                  <a:pt x="806" y="287"/>
                  <a:pt x="804" y="289"/>
                  <a:pt x="804" y="291"/>
                </a:cubicBezTo>
                <a:cubicBezTo>
                  <a:pt x="804" y="294"/>
                  <a:pt x="806" y="296"/>
                  <a:pt x="808" y="296"/>
                </a:cubicBezTo>
                <a:cubicBezTo>
                  <a:pt x="811" y="296"/>
                  <a:pt x="813" y="294"/>
                  <a:pt x="813" y="291"/>
                </a:cubicBezTo>
                <a:close/>
                <a:moveTo>
                  <a:pt x="890" y="350"/>
                </a:moveTo>
                <a:cubicBezTo>
                  <a:pt x="892" y="350"/>
                  <a:pt x="894" y="348"/>
                  <a:pt x="894" y="346"/>
                </a:cubicBezTo>
                <a:cubicBezTo>
                  <a:pt x="894" y="343"/>
                  <a:pt x="892" y="341"/>
                  <a:pt x="890" y="341"/>
                </a:cubicBezTo>
                <a:cubicBezTo>
                  <a:pt x="887" y="341"/>
                  <a:pt x="885" y="343"/>
                  <a:pt x="885" y="346"/>
                </a:cubicBezTo>
                <a:cubicBezTo>
                  <a:pt x="885" y="348"/>
                  <a:pt x="887" y="350"/>
                  <a:pt x="890" y="350"/>
                </a:cubicBezTo>
                <a:close/>
                <a:moveTo>
                  <a:pt x="922" y="291"/>
                </a:moveTo>
                <a:cubicBezTo>
                  <a:pt x="922" y="289"/>
                  <a:pt x="920" y="287"/>
                  <a:pt x="917" y="287"/>
                </a:cubicBezTo>
                <a:cubicBezTo>
                  <a:pt x="915" y="287"/>
                  <a:pt x="913" y="289"/>
                  <a:pt x="913" y="291"/>
                </a:cubicBezTo>
                <a:cubicBezTo>
                  <a:pt x="913" y="294"/>
                  <a:pt x="915" y="296"/>
                  <a:pt x="917" y="296"/>
                </a:cubicBezTo>
                <a:cubicBezTo>
                  <a:pt x="920" y="296"/>
                  <a:pt x="922" y="294"/>
                  <a:pt x="922" y="291"/>
                </a:cubicBezTo>
                <a:close/>
                <a:moveTo>
                  <a:pt x="929" y="278"/>
                </a:moveTo>
                <a:cubicBezTo>
                  <a:pt x="929" y="275"/>
                  <a:pt x="926" y="273"/>
                  <a:pt x="924" y="273"/>
                </a:cubicBezTo>
                <a:cubicBezTo>
                  <a:pt x="921" y="273"/>
                  <a:pt x="919" y="275"/>
                  <a:pt x="919" y="278"/>
                </a:cubicBezTo>
                <a:cubicBezTo>
                  <a:pt x="919" y="280"/>
                  <a:pt x="921" y="282"/>
                  <a:pt x="924" y="282"/>
                </a:cubicBezTo>
                <a:cubicBezTo>
                  <a:pt x="926" y="282"/>
                  <a:pt x="929" y="280"/>
                  <a:pt x="929" y="278"/>
                </a:cubicBezTo>
                <a:close/>
                <a:moveTo>
                  <a:pt x="938" y="309"/>
                </a:moveTo>
                <a:cubicBezTo>
                  <a:pt x="940" y="309"/>
                  <a:pt x="942" y="307"/>
                  <a:pt x="942" y="305"/>
                </a:cubicBezTo>
                <a:cubicBezTo>
                  <a:pt x="942" y="302"/>
                  <a:pt x="940" y="300"/>
                  <a:pt x="938" y="300"/>
                </a:cubicBezTo>
                <a:cubicBezTo>
                  <a:pt x="935" y="300"/>
                  <a:pt x="933" y="302"/>
                  <a:pt x="933" y="305"/>
                </a:cubicBezTo>
                <a:cubicBezTo>
                  <a:pt x="933" y="307"/>
                  <a:pt x="935" y="309"/>
                  <a:pt x="938" y="309"/>
                </a:cubicBezTo>
                <a:close/>
                <a:moveTo>
                  <a:pt x="931" y="296"/>
                </a:moveTo>
                <a:cubicBezTo>
                  <a:pt x="933" y="296"/>
                  <a:pt x="935" y="294"/>
                  <a:pt x="935" y="291"/>
                </a:cubicBezTo>
                <a:cubicBezTo>
                  <a:pt x="935" y="289"/>
                  <a:pt x="933" y="287"/>
                  <a:pt x="931" y="287"/>
                </a:cubicBezTo>
                <a:cubicBezTo>
                  <a:pt x="928" y="287"/>
                  <a:pt x="926" y="289"/>
                  <a:pt x="926" y="291"/>
                </a:cubicBezTo>
                <a:cubicBezTo>
                  <a:pt x="926" y="294"/>
                  <a:pt x="928" y="296"/>
                  <a:pt x="931" y="296"/>
                </a:cubicBezTo>
                <a:close/>
                <a:moveTo>
                  <a:pt x="951" y="337"/>
                </a:moveTo>
                <a:cubicBezTo>
                  <a:pt x="954" y="337"/>
                  <a:pt x="956" y="335"/>
                  <a:pt x="956" y="332"/>
                </a:cubicBezTo>
                <a:cubicBezTo>
                  <a:pt x="956" y="330"/>
                  <a:pt x="954" y="328"/>
                  <a:pt x="951" y="328"/>
                </a:cubicBezTo>
                <a:cubicBezTo>
                  <a:pt x="949" y="328"/>
                  <a:pt x="947" y="330"/>
                  <a:pt x="947" y="332"/>
                </a:cubicBezTo>
                <a:cubicBezTo>
                  <a:pt x="947" y="335"/>
                  <a:pt x="949" y="337"/>
                  <a:pt x="951" y="337"/>
                </a:cubicBezTo>
                <a:close/>
                <a:moveTo>
                  <a:pt x="869" y="309"/>
                </a:moveTo>
                <a:cubicBezTo>
                  <a:pt x="872" y="309"/>
                  <a:pt x="874" y="307"/>
                  <a:pt x="874" y="305"/>
                </a:cubicBezTo>
                <a:cubicBezTo>
                  <a:pt x="874" y="302"/>
                  <a:pt x="872" y="300"/>
                  <a:pt x="869" y="300"/>
                </a:cubicBezTo>
                <a:cubicBezTo>
                  <a:pt x="867" y="300"/>
                  <a:pt x="865" y="302"/>
                  <a:pt x="865" y="305"/>
                </a:cubicBezTo>
                <a:cubicBezTo>
                  <a:pt x="865" y="307"/>
                  <a:pt x="867" y="309"/>
                  <a:pt x="869" y="309"/>
                </a:cubicBezTo>
                <a:close/>
                <a:moveTo>
                  <a:pt x="944" y="323"/>
                </a:moveTo>
                <a:cubicBezTo>
                  <a:pt x="947" y="323"/>
                  <a:pt x="949" y="321"/>
                  <a:pt x="949" y="318"/>
                </a:cubicBezTo>
                <a:cubicBezTo>
                  <a:pt x="949" y="316"/>
                  <a:pt x="947" y="314"/>
                  <a:pt x="944" y="314"/>
                </a:cubicBezTo>
                <a:cubicBezTo>
                  <a:pt x="942" y="314"/>
                  <a:pt x="940" y="316"/>
                  <a:pt x="940" y="318"/>
                </a:cubicBezTo>
                <a:cubicBezTo>
                  <a:pt x="940" y="321"/>
                  <a:pt x="942" y="323"/>
                  <a:pt x="944" y="323"/>
                </a:cubicBezTo>
                <a:close/>
                <a:moveTo>
                  <a:pt x="883" y="337"/>
                </a:moveTo>
                <a:cubicBezTo>
                  <a:pt x="886" y="337"/>
                  <a:pt x="888" y="335"/>
                  <a:pt x="888" y="332"/>
                </a:cubicBezTo>
                <a:cubicBezTo>
                  <a:pt x="888" y="330"/>
                  <a:pt x="886" y="328"/>
                  <a:pt x="883" y="328"/>
                </a:cubicBezTo>
                <a:cubicBezTo>
                  <a:pt x="881" y="328"/>
                  <a:pt x="879" y="330"/>
                  <a:pt x="879" y="332"/>
                </a:cubicBezTo>
                <a:cubicBezTo>
                  <a:pt x="879" y="335"/>
                  <a:pt x="881" y="337"/>
                  <a:pt x="883" y="337"/>
                </a:cubicBezTo>
                <a:close/>
                <a:moveTo>
                  <a:pt x="876" y="323"/>
                </a:moveTo>
                <a:cubicBezTo>
                  <a:pt x="879" y="323"/>
                  <a:pt x="881" y="321"/>
                  <a:pt x="881" y="318"/>
                </a:cubicBezTo>
                <a:cubicBezTo>
                  <a:pt x="881" y="316"/>
                  <a:pt x="879" y="314"/>
                  <a:pt x="876" y="314"/>
                </a:cubicBezTo>
                <a:cubicBezTo>
                  <a:pt x="874" y="314"/>
                  <a:pt x="872" y="316"/>
                  <a:pt x="872" y="318"/>
                </a:cubicBezTo>
                <a:cubicBezTo>
                  <a:pt x="872" y="321"/>
                  <a:pt x="874" y="323"/>
                  <a:pt x="876" y="323"/>
                </a:cubicBezTo>
                <a:close/>
                <a:moveTo>
                  <a:pt x="915" y="305"/>
                </a:moveTo>
                <a:cubicBezTo>
                  <a:pt x="915" y="302"/>
                  <a:pt x="913" y="300"/>
                  <a:pt x="910" y="300"/>
                </a:cubicBezTo>
                <a:cubicBezTo>
                  <a:pt x="908" y="300"/>
                  <a:pt x="906" y="302"/>
                  <a:pt x="906" y="305"/>
                </a:cubicBezTo>
                <a:cubicBezTo>
                  <a:pt x="906" y="307"/>
                  <a:pt x="908" y="309"/>
                  <a:pt x="910" y="309"/>
                </a:cubicBezTo>
                <a:cubicBezTo>
                  <a:pt x="913" y="309"/>
                  <a:pt x="915" y="307"/>
                  <a:pt x="915" y="305"/>
                </a:cubicBezTo>
                <a:close/>
                <a:moveTo>
                  <a:pt x="958" y="350"/>
                </a:moveTo>
                <a:cubicBezTo>
                  <a:pt x="961" y="350"/>
                  <a:pt x="963" y="348"/>
                  <a:pt x="963" y="346"/>
                </a:cubicBezTo>
                <a:cubicBezTo>
                  <a:pt x="963" y="343"/>
                  <a:pt x="961" y="341"/>
                  <a:pt x="958" y="341"/>
                </a:cubicBezTo>
                <a:cubicBezTo>
                  <a:pt x="956" y="341"/>
                  <a:pt x="954" y="343"/>
                  <a:pt x="954" y="346"/>
                </a:cubicBezTo>
                <a:cubicBezTo>
                  <a:pt x="954" y="348"/>
                  <a:pt x="956" y="350"/>
                  <a:pt x="958" y="350"/>
                </a:cubicBezTo>
                <a:close/>
                <a:moveTo>
                  <a:pt x="901" y="332"/>
                </a:moveTo>
                <a:cubicBezTo>
                  <a:pt x="901" y="330"/>
                  <a:pt x="899" y="328"/>
                  <a:pt x="897" y="328"/>
                </a:cubicBezTo>
                <a:cubicBezTo>
                  <a:pt x="894" y="328"/>
                  <a:pt x="892" y="330"/>
                  <a:pt x="892" y="332"/>
                </a:cubicBezTo>
                <a:cubicBezTo>
                  <a:pt x="892" y="335"/>
                  <a:pt x="894" y="337"/>
                  <a:pt x="897" y="337"/>
                </a:cubicBezTo>
                <a:cubicBezTo>
                  <a:pt x="899" y="337"/>
                  <a:pt x="901" y="335"/>
                  <a:pt x="901" y="332"/>
                </a:cubicBezTo>
                <a:close/>
                <a:moveTo>
                  <a:pt x="908" y="318"/>
                </a:moveTo>
                <a:cubicBezTo>
                  <a:pt x="908" y="316"/>
                  <a:pt x="906" y="314"/>
                  <a:pt x="904" y="314"/>
                </a:cubicBezTo>
                <a:cubicBezTo>
                  <a:pt x="901" y="314"/>
                  <a:pt x="899" y="316"/>
                  <a:pt x="899" y="318"/>
                </a:cubicBezTo>
                <a:cubicBezTo>
                  <a:pt x="899" y="321"/>
                  <a:pt x="901" y="323"/>
                  <a:pt x="904" y="323"/>
                </a:cubicBezTo>
                <a:cubicBezTo>
                  <a:pt x="906" y="323"/>
                  <a:pt x="908" y="321"/>
                  <a:pt x="908" y="318"/>
                </a:cubicBezTo>
                <a:close/>
                <a:moveTo>
                  <a:pt x="967" y="73"/>
                </a:moveTo>
                <a:cubicBezTo>
                  <a:pt x="967" y="75"/>
                  <a:pt x="969" y="77"/>
                  <a:pt x="972" y="77"/>
                </a:cubicBezTo>
                <a:cubicBezTo>
                  <a:pt x="974" y="77"/>
                  <a:pt x="976" y="75"/>
                  <a:pt x="976" y="73"/>
                </a:cubicBezTo>
                <a:cubicBezTo>
                  <a:pt x="976" y="70"/>
                  <a:pt x="974" y="68"/>
                  <a:pt x="972" y="68"/>
                </a:cubicBezTo>
                <a:cubicBezTo>
                  <a:pt x="969" y="68"/>
                  <a:pt x="967" y="70"/>
                  <a:pt x="967" y="73"/>
                </a:cubicBezTo>
                <a:close/>
                <a:moveTo>
                  <a:pt x="786" y="346"/>
                </a:moveTo>
                <a:cubicBezTo>
                  <a:pt x="786" y="343"/>
                  <a:pt x="784" y="341"/>
                  <a:pt x="781" y="341"/>
                </a:cubicBezTo>
                <a:cubicBezTo>
                  <a:pt x="778" y="341"/>
                  <a:pt x="776" y="343"/>
                  <a:pt x="776" y="346"/>
                </a:cubicBezTo>
                <a:cubicBezTo>
                  <a:pt x="776" y="348"/>
                  <a:pt x="778" y="350"/>
                  <a:pt x="781" y="350"/>
                </a:cubicBezTo>
                <a:cubicBezTo>
                  <a:pt x="784" y="350"/>
                  <a:pt x="786" y="348"/>
                  <a:pt x="786" y="346"/>
                </a:cubicBezTo>
                <a:close/>
                <a:moveTo>
                  <a:pt x="954" y="73"/>
                </a:moveTo>
                <a:cubicBezTo>
                  <a:pt x="954" y="75"/>
                  <a:pt x="956" y="77"/>
                  <a:pt x="958" y="77"/>
                </a:cubicBezTo>
                <a:cubicBezTo>
                  <a:pt x="961" y="77"/>
                  <a:pt x="963" y="75"/>
                  <a:pt x="963" y="73"/>
                </a:cubicBezTo>
                <a:cubicBezTo>
                  <a:pt x="963" y="70"/>
                  <a:pt x="961" y="68"/>
                  <a:pt x="958" y="68"/>
                </a:cubicBezTo>
                <a:cubicBezTo>
                  <a:pt x="956" y="68"/>
                  <a:pt x="954" y="70"/>
                  <a:pt x="954" y="73"/>
                </a:cubicBezTo>
                <a:close/>
                <a:moveTo>
                  <a:pt x="951" y="37"/>
                </a:moveTo>
                <a:cubicBezTo>
                  <a:pt x="954" y="37"/>
                  <a:pt x="956" y="34"/>
                  <a:pt x="956" y="32"/>
                </a:cubicBezTo>
                <a:cubicBezTo>
                  <a:pt x="956" y="29"/>
                  <a:pt x="954" y="27"/>
                  <a:pt x="951" y="27"/>
                </a:cubicBezTo>
                <a:cubicBezTo>
                  <a:pt x="949" y="27"/>
                  <a:pt x="947" y="29"/>
                  <a:pt x="947" y="32"/>
                </a:cubicBezTo>
                <a:cubicBezTo>
                  <a:pt x="947" y="34"/>
                  <a:pt x="949" y="37"/>
                  <a:pt x="951" y="37"/>
                </a:cubicBezTo>
                <a:close/>
                <a:moveTo>
                  <a:pt x="940" y="73"/>
                </a:moveTo>
                <a:cubicBezTo>
                  <a:pt x="940" y="75"/>
                  <a:pt x="942" y="77"/>
                  <a:pt x="944" y="77"/>
                </a:cubicBezTo>
                <a:cubicBezTo>
                  <a:pt x="947" y="77"/>
                  <a:pt x="949" y="75"/>
                  <a:pt x="949" y="73"/>
                </a:cubicBezTo>
                <a:cubicBezTo>
                  <a:pt x="949" y="70"/>
                  <a:pt x="947" y="68"/>
                  <a:pt x="944" y="68"/>
                </a:cubicBezTo>
                <a:cubicBezTo>
                  <a:pt x="942" y="68"/>
                  <a:pt x="940" y="70"/>
                  <a:pt x="940" y="73"/>
                </a:cubicBezTo>
                <a:close/>
                <a:moveTo>
                  <a:pt x="938" y="64"/>
                </a:moveTo>
                <a:cubicBezTo>
                  <a:pt x="940" y="64"/>
                  <a:pt x="942" y="62"/>
                  <a:pt x="942" y="59"/>
                </a:cubicBezTo>
                <a:cubicBezTo>
                  <a:pt x="942" y="57"/>
                  <a:pt x="940" y="55"/>
                  <a:pt x="938" y="55"/>
                </a:cubicBezTo>
                <a:cubicBezTo>
                  <a:pt x="935" y="55"/>
                  <a:pt x="933" y="57"/>
                  <a:pt x="933" y="59"/>
                </a:cubicBezTo>
                <a:cubicBezTo>
                  <a:pt x="933" y="62"/>
                  <a:pt x="935" y="64"/>
                  <a:pt x="938" y="64"/>
                </a:cubicBezTo>
                <a:close/>
                <a:moveTo>
                  <a:pt x="965" y="55"/>
                </a:moveTo>
                <a:cubicBezTo>
                  <a:pt x="962" y="55"/>
                  <a:pt x="960" y="57"/>
                  <a:pt x="960" y="59"/>
                </a:cubicBezTo>
                <a:cubicBezTo>
                  <a:pt x="960" y="62"/>
                  <a:pt x="962" y="64"/>
                  <a:pt x="965" y="64"/>
                </a:cubicBezTo>
                <a:cubicBezTo>
                  <a:pt x="967" y="64"/>
                  <a:pt x="969" y="62"/>
                  <a:pt x="969" y="59"/>
                </a:cubicBezTo>
                <a:cubicBezTo>
                  <a:pt x="969" y="57"/>
                  <a:pt x="967" y="55"/>
                  <a:pt x="965" y="55"/>
                </a:cubicBezTo>
                <a:close/>
                <a:moveTo>
                  <a:pt x="999" y="68"/>
                </a:moveTo>
                <a:cubicBezTo>
                  <a:pt x="996" y="68"/>
                  <a:pt x="994" y="70"/>
                  <a:pt x="994" y="73"/>
                </a:cubicBezTo>
                <a:cubicBezTo>
                  <a:pt x="994" y="75"/>
                  <a:pt x="996" y="77"/>
                  <a:pt x="999" y="77"/>
                </a:cubicBezTo>
                <a:cubicBezTo>
                  <a:pt x="1001" y="77"/>
                  <a:pt x="1003" y="75"/>
                  <a:pt x="1003" y="73"/>
                </a:cubicBezTo>
                <a:cubicBezTo>
                  <a:pt x="1003" y="70"/>
                  <a:pt x="1001" y="68"/>
                  <a:pt x="999" y="68"/>
                </a:cubicBezTo>
                <a:close/>
                <a:moveTo>
                  <a:pt x="938" y="37"/>
                </a:moveTo>
                <a:cubicBezTo>
                  <a:pt x="940" y="37"/>
                  <a:pt x="942" y="34"/>
                  <a:pt x="942" y="32"/>
                </a:cubicBezTo>
                <a:cubicBezTo>
                  <a:pt x="942" y="29"/>
                  <a:pt x="940" y="27"/>
                  <a:pt x="938" y="27"/>
                </a:cubicBezTo>
                <a:cubicBezTo>
                  <a:pt x="935" y="27"/>
                  <a:pt x="933" y="29"/>
                  <a:pt x="933" y="32"/>
                </a:cubicBezTo>
                <a:cubicBezTo>
                  <a:pt x="933" y="34"/>
                  <a:pt x="935" y="37"/>
                  <a:pt x="938" y="37"/>
                </a:cubicBezTo>
                <a:close/>
                <a:moveTo>
                  <a:pt x="988" y="87"/>
                </a:moveTo>
                <a:cubicBezTo>
                  <a:pt x="988" y="89"/>
                  <a:pt x="990" y="91"/>
                  <a:pt x="992" y="91"/>
                </a:cubicBezTo>
                <a:cubicBezTo>
                  <a:pt x="995" y="91"/>
                  <a:pt x="997" y="89"/>
                  <a:pt x="997" y="87"/>
                </a:cubicBezTo>
                <a:cubicBezTo>
                  <a:pt x="997" y="84"/>
                  <a:pt x="995" y="82"/>
                  <a:pt x="992" y="82"/>
                </a:cubicBezTo>
                <a:cubicBezTo>
                  <a:pt x="990" y="82"/>
                  <a:pt x="988" y="84"/>
                  <a:pt x="988" y="87"/>
                </a:cubicBezTo>
                <a:close/>
                <a:moveTo>
                  <a:pt x="1006" y="82"/>
                </a:moveTo>
                <a:cubicBezTo>
                  <a:pt x="1003" y="82"/>
                  <a:pt x="1001" y="84"/>
                  <a:pt x="1001" y="87"/>
                </a:cubicBezTo>
                <a:cubicBezTo>
                  <a:pt x="1001" y="89"/>
                  <a:pt x="1003" y="91"/>
                  <a:pt x="1006" y="91"/>
                </a:cubicBezTo>
                <a:cubicBezTo>
                  <a:pt x="1008" y="91"/>
                  <a:pt x="1010" y="89"/>
                  <a:pt x="1010" y="87"/>
                </a:cubicBezTo>
                <a:cubicBezTo>
                  <a:pt x="1010" y="84"/>
                  <a:pt x="1008" y="82"/>
                  <a:pt x="1006" y="82"/>
                </a:cubicBezTo>
                <a:close/>
                <a:moveTo>
                  <a:pt x="978" y="55"/>
                </a:moveTo>
                <a:cubicBezTo>
                  <a:pt x="976" y="55"/>
                  <a:pt x="974" y="57"/>
                  <a:pt x="974" y="59"/>
                </a:cubicBezTo>
                <a:cubicBezTo>
                  <a:pt x="974" y="62"/>
                  <a:pt x="976" y="64"/>
                  <a:pt x="978" y="64"/>
                </a:cubicBezTo>
                <a:cubicBezTo>
                  <a:pt x="981" y="64"/>
                  <a:pt x="983" y="62"/>
                  <a:pt x="983" y="59"/>
                </a:cubicBezTo>
                <a:cubicBezTo>
                  <a:pt x="983" y="57"/>
                  <a:pt x="981" y="55"/>
                  <a:pt x="978" y="55"/>
                </a:cubicBezTo>
                <a:close/>
                <a:moveTo>
                  <a:pt x="863" y="96"/>
                </a:moveTo>
                <a:cubicBezTo>
                  <a:pt x="860" y="96"/>
                  <a:pt x="858" y="98"/>
                  <a:pt x="858" y="100"/>
                </a:cubicBezTo>
                <a:cubicBezTo>
                  <a:pt x="858" y="103"/>
                  <a:pt x="860" y="105"/>
                  <a:pt x="863" y="105"/>
                </a:cubicBezTo>
                <a:cubicBezTo>
                  <a:pt x="865" y="105"/>
                  <a:pt x="867" y="103"/>
                  <a:pt x="867" y="100"/>
                </a:cubicBezTo>
                <a:cubicBezTo>
                  <a:pt x="867" y="98"/>
                  <a:pt x="865" y="96"/>
                  <a:pt x="863" y="96"/>
                </a:cubicBezTo>
                <a:close/>
                <a:moveTo>
                  <a:pt x="985" y="68"/>
                </a:moveTo>
                <a:cubicBezTo>
                  <a:pt x="983" y="68"/>
                  <a:pt x="981" y="70"/>
                  <a:pt x="981" y="73"/>
                </a:cubicBezTo>
                <a:cubicBezTo>
                  <a:pt x="981" y="75"/>
                  <a:pt x="983" y="77"/>
                  <a:pt x="985" y="77"/>
                </a:cubicBezTo>
                <a:cubicBezTo>
                  <a:pt x="988" y="77"/>
                  <a:pt x="990" y="75"/>
                  <a:pt x="990" y="73"/>
                </a:cubicBezTo>
                <a:cubicBezTo>
                  <a:pt x="990" y="70"/>
                  <a:pt x="988" y="68"/>
                  <a:pt x="985" y="68"/>
                </a:cubicBezTo>
                <a:close/>
                <a:moveTo>
                  <a:pt x="892" y="114"/>
                </a:moveTo>
                <a:cubicBezTo>
                  <a:pt x="892" y="116"/>
                  <a:pt x="894" y="118"/>
                  <a:pt x="897" y="118"/>
                </a:cubicBezTo>
                <a:cubicBezTo>
                  <a:pt x="899" y="118"/>
                  <a:pt x="901" y="116"/>
                  <a:pt x="901" y="114"/>
                </a:cubicBezTo>
                <a:cubicBezTo>
                  <a:pt x="901" y="111"/>
                  <a:pt x="899" y="109"/>
                  <a:pt x="897" y="109"/>
                </a:cubicBezTo>
                <a:cubicBezTo>
                  <a:pt x="894" y="109"/>
                  <a:pt x="892" y="111"/>
                  <a:pt x="892" y="114"/>
                </a:cubicBezTo>
                <a:close/>
                <a:moveTo>
                  <a:pt x="872" y="155"/>
                </a:moveTo>
                <a:cubicBezTo>
                  <a:pt x="872" y="157"/>
                  <a:pt x="874" y="159"/>
                  <a:pt x="876" y="159"/>
                </a:cubicBezTo>
                <a:cubicBezTo>
                  <a:pt x="879" y="159"/>
                  <a:pt x="881" y="157"/>
                  <a:pt x="881" y="155"/>
                </a:cubicBezTo>
                <a:cubicBezTo>
                  <a:pt x="881" y="152"/>
                  <a:pt x="879" y="150"/>
                  <a:pt x="876" y="150"/>
                </a:cubicBezTo>
                <a:cubicBezTo>
                  <a:pt x="874" y="150"/>
                  <a:pt x="872" y="152"/>
                  <a:pt x="872" y="155"/>
                </a:cubicBezTo>
                <a:close/>
                <a:moveTo>
                  <a:pt x="879" y="114"/>
                </a:moveTo>
                <a:cubicBezTo>
                  <a:pt x="879" y="116"/>
                  <a:pt x="881" y="118"/>
                  <a:pt x="883" y="118"/>
                </a:cubicBezTo>
                <a:cubicBezTo>
                  <a:pt x="886" y="118"/>
                  <a:pt x="888" y="116"/>
                  <a:pt x="888" y="114"/>
                </a:cubicBezTo>
                <a:cubicBezTo>
                  <a:pt x="888" y="111"/>
                  <a:pt x="886" y="109"/>
                  <a:pt x="883" y="109"/>
                </a:cubicBezTo>
                <a:cubicBezTo>
                  <a:pt x="881" y="109"/>
                  <a:pt x="879" y="111"/>
                  <a:pt x="879" y="114"/>
                </a:cubicBezTo>
                <a:close/>
                <a:moveTo>
                  <a:pt x="865" y="168"/>
                </a:moveTo>
                <a:cubicBezTo>
                  <a:pt x="865" y="171"/>
                  <a:pt x="867" y="173"/>
                  <a:pt x="869" y="173"/>
                </a:cubicBezTo>
                <a:cubicBezTo>
                  <a:pt x="872" y="173"/>
                  <a:pt x="874" y="171"/>
                  <a:pt x="874" y="168"/>
                </a:cubicBezTo>
                <a:cubicBezTo>
                  <a:pt x="874" y="166"/>
                  <a:pt x="872" y="164"/>
                  <a:pt x="869" y="164"/>
                </a:cubicBezTo>
                <a:cubicBezTo>
                  <a:pt x="867" y="164"/>
                  <a:pt x="865" y="166"/>
                  <a:pt x="865" y="168"/>
                </a:cubicBezTo>
                <a:close/>
                <a:moveTo>
                  <a:pt x="879" y="141"/>
                </a:moveTo>
                <a:cubicBezTo>
                  <a:pt x="879" y="144"/>
                  <a:pt x="881" y="146"/>
                  <a:pt x="883" y="146"/>
                </a:cubicBezTo>
                <a:cubicBezTo>
                  <a:pt x="886" y="146"/>
                  <a:pt x="888" y="144"/>
                  <a:pt x="888" y="141"/>
                </a:cubicBezTo>
                <a:cubicBezTo>
                  <a:pt x="888" y="139"/>
                  <a:pt x="886" y="137"/>
                  <a:pt x="883" y="137"/>
                </a:cubicBezTo>
                <a:cubicBezTo>
                  <a:pt x="881" y="137"/>
                  <a:pt x="879" y="139"/>
                  <a:pt x="879" y="141"/>
                </a:cubicBezTo>
                <a:close/>
                <a:moveTo>
                  <a:pt x="863" y="150"/>
                </a:moveTo>
                <a:cubicBezTo>
                  <a:pt x="860" y="150"/>
                  <a:pt x="858" y="152"/>
                  <a:pt x="858" y="155"/>
                </a:cubicBezTo>
                <a:cubicBezTo>
                  <a:pt x="858" y="157"/>
                  <a:pt x="860" y="159"/>
                  <a:pt x="863" y="159"/>
                </a:cubicBezTo>
                <a:cubicBezTo>
                  <a:pt x="865" y="159"/>
                  <a:pt x="867" y="157"/>
                  <a:pt x="867" y="155"/>
                </a:cubicBezTo>
                <a:cubicBezTo>
                  <a:pt x="867" y="152"/>
                  <a:pt x="865" y="150"/>
                  <a:pt x="863" y="150"/>
                </a:cubicBezTo>
                <a:close/>
                <a:moveTo>
                  <a:pt x="867" y="127"/>
                </a:moveTo>
                <a:cubicBezTo>
                  <a:pt x="867" y="125"/>
                  <a:pt x="865" y="123"/>
                  <a:pt x="863" y="123"/>
                </a:cubicBezTo>
                <a:cubicBezTo>
                  <a:pt x="860" y="123"/>
                  <a:pt x="858" y="125"/>
                  <a:pt x="858" y="127"/>
                </a:cubicBezTo>
                <a:cubicBezTo>
                  <a:pt x="858" y="130"/>
                  <a:pt x="860" y="132"/>
                  <a:pt x="863" y="132"/>
                </a:cubicBezTo>
                <a:cubicBezTo>
                  <a:pt x="865" y="132"/>
                  <a:pt x="867" y="130"/>
                  <a:pt x="867" y="127"/>
                </a:cubicBezTo>
                <a:close/>
                <a:moveTo>
                  <a:pt x="904" y="96"/>
                </a:moveTo>
                <a:cubicBezTo>
                  <a:pt x="901" y="96"/>
                  <a:pt x="899" y="98"/>
                  <a:pt x="899" y="100"/>
                </a:cubicBezTo>
                <a:cubicBezTo>
                  <a:pt x="899" y="103"/>
                  <a:pt x="901" y="105"/>
                  <a:pt x="904" y="105"/>
                </a:cubicBezTo>
                <a:cubicBezTo>
                  <a:pt x="906" y="105"/>
                  <a:pt x="908" y="103"/>
                  <a:pt x="908" y="100"/>
                </a:cubicBezTo>
                <a:cubicBezTo>
                  <a:pt x="908" y="98"/>
                  <a:pt x="906" y="96"/>
                  <a:pt x="904" y="96"/>
                </a:cubicBezTo>
                <a:close/>
                <a:moveTo>
                  <a:pt x="913" y="100"/>
                </a:moveTo>
                <a:cubicBezTo>
                  <a:pt x="913" y="103"/>
                  <a:pt x="915" y="105"/>
                  <a:pt x="917" y="105"/>
                </a:cubicBezTo>
                <a:cubicBezTo>
                  <a:pt x="920" y="105"/>
                  <a:pt x="922" y="103"/>
                  <a:pt x="922" y="100"/>
                </a:cubicBezTo>
                <a:cubicBezTo>
                  <a:pt x="922" y="98"/>
                  <a:pt x="920" y="96"/>
                  <a:pt x="917" y="96"/>
                </a:cubicBezTo>
                <a:cubicBezTo>
                  <a:pt x="915" y="96"/>
                  <a:pt x="913" y="98"/>
                  <a:pt x="913" y="100"/>
                </a:cubicBezTo>
                <a:close/>
                <a:moveTo>
                  <a:pt x="890" y="96"/>
                </a:moveTo>
                <a:cubicBezTo>
                  <a:pt x="887" y="96"/>
                  <a:pt x="885" y="98"/>
                  <a:pt x="885" y="100"/>
                </a:cubicBezTo>
                <a:cubicBezTo>
                  <a:pt x="885" y="103"/>
                  <a:pt x="887" y="105"/>
                  <a:pt x="890" y="105"/>
                </a:cubicBezTo>
                <a:cubicBezTo>
                  <a:pt x="892" y="105"/>
                  <a:pt x="894" y="103"/>
                  <a:pt x="894" y="100"/>
                </a:cubicBezTo>
                <a:cubicBezTo>
                  <a:pt x="894" y="98"/>
                  <a:pt x="892" y="96"/>
                  <a:pt x="890" y="96"/>
                </a:cubicBezTo>
                <a:close/>
                <a:moveTo>
                  <a:pt x="906" y="114"/>
                </a:moveTo>
                <a:cubicBezTo>
                  <a:pt x="906" y="116"/>
                  <a:pt x="908" y="118"/>
                  <a:pt x="910" y="118"/>
                </a:cubicBezTo>
                <a:cubicBezTo>
                  <a:pt x="913" y="118"/>
                  <a:pt x="915" y="116"/>
                  <a:pt x="915" y="114"/>
                </a:cubicBezTo>
                <a:cubicBezTo>
                  <a:pt x="915" y="111"/>
                  <a:pt x="913" y="109"/>
                  <a:pt x="910" y="109"/>
                </a:cubicBezTo>
                <a:cubicBezTo>
                  <a:pt x="908" y="109"/>
                  <a:pt x="906" y="111"/>
                  <a:pt x="906" y="114"/>
                </a:cubicBezTo>
                <a:close/>
                <a:moveTo>
                  <a:pt x="919" y="87"/>
                </a:moveTo>
                <a:cubicBezTo>
                  <a:pt x="919" y="89"/>
                  <a:pt x="921" y="91"/>
                  <a:pt x="924" y="91"/>
                </a:cubicBezTo>
                <a:cubicBezTo>
                  <a:pt x="926" y="91"/>
                  <a:pt x="929" y="89"/>
                  <a:pt x="929" y="87"/>
                </a:cubicBezTo>
                <a:cubicBezTo>
                  <a:pt x="929" y="84"/>
                  <a:pt x="926" y="82"/>
                  <a:pt x="924" y="82"/>
                </a:cubicBezTo>
                <a:cubicBezTo>
                  <a:pt x="921" y="82"/>
                  <a:pt x="919" y="84"/>
                  <a:pt x="919" y="87"/>
                </a:cubicBezTo>
                <a:close/>
                <a:moveTo>
                  <a:pt x="1013" y="96"/>
                </a:moveTo>
                <a:cubicBezTo>
                  <a:pt x="1010" y="96"/>
                  <a:pt x="1008" y="98"/>
                  <a:pt x="1008" y="100"/>
                </a:cubicBezTo>
                <a:cubicBezTo>
                  <a:pt x="1008" y="103"/>
                  <a:pt x="1010" y="105"/>
                  <a:pt x="1013" y="105"/>
                </a:cubicBezTo>
                <a:cubicBezTo>
                  <a:pt x="1015" y="105"/>
                  <a:pt x="1017" y="103"/>
                  <a:pt x="1017" y="100"/>
                </a:cubicBezTo>
                <a:cubicBezTo>
                  <a:pt x="1017" y="98"/>
                  <a:pt x="1015" y="96"/>
                  <a:pt x="1013" y="96"/>
                </a:cubicBezTo>
                <a:close/>
                <a:moveTo>
                  <a:pt x="926" y="73"/>
                </a:moveTo>
                <a:cubicBezTo>
                  <a:pt x="926" y="75"/>
                  <a:pt x="928" y="77"/>
                  <a:pt x="931" y="77"/>
                </a:cubicBezTo>
                <a:cubicBezTo>
                  <a:pt x="933" y="77"/>
                  <a:pt x="935" y="75"/>
                  <a:pt x="935" y="73"/>
                </a:cubicBezTo>
                <a:cubicBezTo>
                  <a:pt x="935" y="70"/>
                  <a:pt x="933" y="68"/>
                  <a:pt x="931" y="68"/>
                </a:cubicBezTo>
                <a:cubicBezTo>
                  <a:pt x="928" y="68"/>
                  <a:pt x="926" y="70"/>
                  <a:pt x="926" y="73"/>
                </a:cubicBezTo>
                <a:close/>
                <a:moveTo>
                  <a:pt x="1076" y="127"/>
                </a:moveTo>
                <a:cubicBezTo>
                  <a:pt x="1076" y="130"/>
                  <a:pt x="1078" y="132"/>
                  <a:pt x="1081" y="132"/>
                </a:cubicBezTo>
                <a:cubicBezTo>
                  <a:pt x="1083" y="132"/>
                  <a:pt x="1085" y="130"/>
                  <a:pt x="1085" y="127"/>
                </a:cubicBezTo>
                <a:cubicBezTo>
                  <a:pt x="1085" y="125"/>
                  <a:pt x="1083" y="123"/>
                  <a:pt x="1081" y="123"/>
                </a:cubicBezTo>
                <a:cubicBezTo>
                  <a:pt x="1078" y="123"/>
                  <a:pt x="1076" y="125"/>
                  <a:pt x="1076" y="127"/>
                </a:cubicBezTo>
                <a:close/>
                <a:moveTo>
                  <a:pt x="1131" y="127"/>
                </a:moveTo>
                <a:cubicBezTo>
                  <a:pt x="1131" y="130"/>
                  <a:pt x="1133" y="132"/>
                  <a:pt x="1135" y="132"/>
                </a:cubicBezTo>
                <a:cubicBezTo>
                  <a:pt x="1138" y="132"/>
                  <a:pt x="1140" y="130"/>
                  <a:pt x="1140" y="127"/>
                </a:cubicBezTo>
                <a:cubicBezTo>
                  <a:pt x="1140" y="125"/>
                  <a:pt x="1138" y="123"/>
                  <a:pt x="1135" y="123"/>
                </a:cubicBezTo>
                <a:cubicBezTo>
                  <a:pt x="1133" y="123"/>
                  <a:pt x="1131" y="125"/>
                  <a:pt x="1131" y="127"/>
                </a:cubicBezTo>
                <a:close/>
                <a:moveTo>
                  <a:pt x="1115" y="82"/>
                </a:moveTo>
                <a:cubicBezTo>
                  <a:pt x="1112" y="82"/>
                  <a:pt x="1110" y="84"/>
                  <a:pt x="1110" y="87"/>
                </a:cubicBezTo>
                <a:cubicBezTo>
                  <a:pt x="1110" y="89"/>
                  <a:pt x="1112" y="91"/>
                  <a:pt x="1115" y="91"/>
                </a:cubicBezTo>
                <a:cubicBezTo>
                  <a:pt x="1117" y="91"/>
                  <a:pt x="1119" y="89"/>
                  <a:pt x="1119" y="87"/>
                </a:cubicBezTo>
                <a:cubicBezTo>
                  <a:pt x="1119" y="84"/>
                  <a:pt x="1117" y="82"/>
                  <a:pt x="1115" y="82"/>
                </a:cubicBezTo>
                <a:close/>
                <a:moveTo>
                  <a:pt x="1142" y="109"/>
                </a:moveTo>
                <a:cubicBezTo>
                  <a:pt x="1139" y="109"/>
                  <a:pt x="1137" y="111"/>
                  <a:pt x="1137" y="114"/>
                </a:cubicBezTo>
                <a:cubicBezTo>
                  <a:pt x="1137" y="116"/>
                  <a:pt x="1139" y="118"/>
                  <a:pt x="1142" y="118"/>
                </a:cubicBezTo>
                <a:cubicBezTo>
                  <a:pt x="1144" y="118"/>
                  <a:pt x="1146" y="116"/>
                  <a:pt x="1146" y="114"/>
                </a:cubicBezTo>
                <a:cubicBezTo>
                  <a:pt x="1146" y="111"/>
                  <a:pt x="1144" y="109"/>
                  <a:pt x="1142" y="109"/>
                </a:cubicBezTo>
                <a:close/>
                <a:moveTo>
                  <a:pt x="1133" y="87"/>
                </a:moveTo>
                <a:cubicBezTo>
                  <a:pt x="1133" y="84"/>
                  <a:pt x="1131" y="82"/>
                  <a:pt x="1128" y="82"/>
                </a:cubicBezTo>
                <a:cubicBezTo>
                  <a:pt x="1126" y="82"/>
                  <a:pt x="1124" y="84"/>
                  <a:pt x="1124" y="87"/>
                </a:cubicBezTo>
                <a:cubicBezTo>
                  <a:pt x="1124" y="89"/>
                  <a:pt x="1126" y="91"/>
                  <a:pt x="1128" y="91"/>
                </a:cubicBezTo>
                <a:cubicBezTo>
                  <a:pt x="1131" y="91"/>
                  <a:pt x="1133" y="89"/>
                  <a:pt x="1133" y="87"/>
                </a:cubicBezTo>
                <a:close/>
                <a:moveTo>
                  <a:pt x="1117" y="100"/>
                </a:moveTo>
                <a:cubicBezTo>
                  <a:pt x="1117" y="103"/>
                  <a:pt x="1119" y="105"/>
                  <a:pt x="1121" y="105"/>
                </a:cubicBezTo>
                <a:cubicBezTo>
                  <a:pt x="1124" y="105"/>
                  <a:pt x="1126" y="103"/>
                  <a:pt x="1126" y="100"/>
                </a:cubicBezTo>
                <a:cubicBezTo>
                  <a:pt x="1126" y="98"/>
                  <a:pt x="1124" y="96"/>
                  <a:pt x="1121" y="96"/>
                </a:cubicBezTo>
                <a:cubicBezTo>
                  <a:pt x="1119" y="96"/>
                  <a:pt x="1117" y="98"/>
                  <a:pt x="1117" y="100"/>
                </a:cubicBezTo>
                <a:close/>
                <a:moveTo>
                  <a:pt x="1144" y="127"/>
                </a:moveTo>
                <a:cubicBezTo>
                  <a:pt x="1144" y="130"/>
                  <a:pt x="1146" y="132"/>
                  <a:pt x="1149" y="132"/>
                </a:cubicBezTo>
                <a:cubicBezTo>
                  <a:pt x="1151" y="132"/>
                  <a:pt x="1153" y="130"/>
                  <a:pt x="1153" y="127"/>
                </a:cubicBezTo>
                <a:cubicBezTo>
                  <a:pt x="1153" y="125"/>
                  <a:pt x="1151" y="123"/>
                  <a:pt x="1149" y="123"/>
                </a:cubicBezTo>
                <a:cubicBezTo>
                  <a:pt x="1146" y="123"/>
                  <a:pt x="1144" y="125"/>
                  <a:pt x="1144" y="127"/>
                </a:cubicBezTo>
                <a:close/>
                <a:moveTo>
                  <a:pt x="1128" y="109"/>
                </a:moveTo>
                <a:cubicBezTo>
                  <a:pt x="1126" y="109"/>
                  <a:pt x="1124" y="111"/>
                  <a:pt x="1124" y="114"/>
                </a:cubicBezTo>
                <a:cubicBezTo>
                  <a:pt x="1124" y="116"/>
                  <a:pt x="1126" y="118"/>
                  <a:pt x="1128" y="118"/>
                </a:cubicBezTo>
                <a:cubicBezTo>
                  <a:pt x="1131" y="118"/>
                  <a:pt x="1133" y="116"/>
                  <a:pt x="1133" y="114"/>
                </a:cubicBezTo>
                <a:cubicBezTo>
                  <a:pt x="1133" y="111"/>
                  <a:pt x="1131" y="109"/>
                  <a:pt x="1128" y="109"/>
                </a:cubicBezTo>
                <a:close/>
                <a:moveTo>
                  <a:pt x="1142" y="491"/>
                </a:moveTo>
                <a:cubicBezTo>
                  <a:pt x="1139" y="491"/>
                  <a:pt x="1137" y="493"/>
                  <a:pt x="1137" y="496"/>
                </a:cubicBezTo>
                <a:cubicBezTo>
                  <a:pt x="1137" y="498"/>
                  <a:pt x="1139" y="500"/>
                  <a:pt x="1142" y="500"/>
                </a:cubicBezTo>
                <a:cubicBezTo>
                  <a:pt x="1144" y="500"/>
                  <a:pt x="1146" y="498"/>
                  <a:pt x="1146" y="496"/>
                </a:cubicBezTo>
                <a:cubicBezTo>
                  <a:pt x="1146" y="493"/>
                  <a:pt x="1144" y="491"/>
                  <a:pt x="1142" y="491"/>
                </a:cubicBezTo>
                <a:close/>
                <a:moveTo>
                  <a:pt x="1146" y="141"/>
                </a:moveTo>
                <a:cubicBezTo>
                  <a:pt x="1146" y="139"/>
                  <a:pt x="1144" y="137"/>
                  <a:pt x="1142" y="137"/>
                </a:cubicBezTo>
                <a:cubicBezTo>
                  <a:pt x="1139" y="137"/>
                  <a:pt x="1137" y="139"/>
                  <a:pt x="1137" y="141"/>
                </a:cubicBezTo>
                <a:cubicBezTo>
                  <a:pt x="1137" y="144"/>
                  <a:pt x="1139" y="146"/>
                  <a:pt x="1142" y="146"/>
                </a:cubicBezTo>
                <a:cubicBezTo>
                  <a:pt x="1144" y="146"/>
                  <a:pt x="1146" y="144"/>
                  <a:pt x="1146" y="141"/>
                </a:cubicBezTo>
                <a:close/>
                <a:moveTo>
                  <a:pt x="1155" y="109"/>
                </a:moveTo>
                <a:cubicBezTo>
                  <a:pt x="1153" y="109"/>
                  <a:pt x="1151" y="111"/>
                  <a:pt x="1151" y="114"/>
                </a:cubicBezTo>
                <a:cubicBezTo>
                  <a:pt x="1151" y="116"/>
                  <a:pt x="1153" y="118"/>
                  <a:pt x="1155" y="118"/>
                </a:cubicBezTo>
                <a:cubicBezTo>
                  <a:pt x="1158" y="118"/>
                  <a:pt x="1160" y="116"/>
                  <a:pt x="1160" y="114"/>
                </a:cubicBezTo>
                <a:cubicBezTo>
                  <a:pt x="1160" y="111"/>
                  <a:pt x="1158" y="109"/>
                  <a:pt x="1155" y="109"/>
                </a:cubicBezTo>
                <a:close/>
                <a:moveTo>
                  <a:pt x="1146" y="550"/>
                </a:moveTo>
                <a:cubicBezTo>
                  <a:pt x="1146" y="548"/>
                  <a:pt x="1144" y="546"/>
                  <a:pt x="1142" y="546"/>
                </a:cubicBezTo>
                <a:cubicBezTo>
                  <a:pt x="1139" y="546"/>
                  <a:pt x="1137" y="548"/>
                  <a:pt x="1137" y="550"/>
                </a:cubicBezTo>
                <a:cubicBezTo>
                  <a:pt x="1137" y="553"/>
                  <a:pt x="1139" y="555"/>
                  <a:pt x="1142" y="555"/>
                </a:cubicBezTo>
                <a:cubicBezTo>
                  <a:pt x="1144" y="555"/>
                  <a:pt x="1146" y="553"/>
                  <a:pt x="1146" y="550"/>
                </a:cubicBezTo>
                <a:close/>
                <a:moveTo>
                  <a:pt x="1160" y="141"/>
                </a:moveTo>
                <a:cubicBezTo>
                  <a:pt x="1160" y="139"/>
                  <a:pt x="1158" y="137"/>
                  <a:pt x="1155" y="137"/>
                </a:cubicBezTo>
                <a:cubicBezTo>
                  <a:pt x="1153" y="137"/>
                  <a:pt x="1151" y="139"/>
                  <a:pt x="1151" y="141"/>
                </a:cubicBezTo>
                <a:cubicBezTo>
                  <a:pt x="1151" y="144"/>
                  <a:pt x="1153" y="146"/>
                  <a:pt x="1155" y="146"/>
                </a:cubicBezTo>
                <a:cubicBezTo>
                  <a:pt x="1158" y="146"/>
                  <a:pt x="1160" y="144"/>
                  <a:pt x="1160" y="141"/>
                </a:cubicBezTo>
                <a:close/>
                <a:moveTo>
                  <a:pt x="1149" y="159"/>
                </a:moveTo>
                <a:cubicBezTo>
                  <a:pt x="1151" y="159"/>
                  <a:pt x="1153" y="157"/>
                  <a:pt x="1153" y="155"/>
                </a:cubicBezTo>
                <a:cubicBezTo>
                  <a:pt x="1153" y="152"/>
                  <a:pt x="1151" y="150"/>
                  <a:pt x="1149" y="150"/>
                </a:cubicBezTo>
                <a:cubicBezTo>
                  <a:pt x="1146" y="150"/>
                  <a:pt x="1144" y="152"/>
                  <a:pt x="1144" y="155"/>
                </a:cubicBezTo>
                <a:cubicBezTo>
                  <a:pt x="1144" y="157"/>
                  <a:pt x="1146" y="159"/>
                  <a:pt x="1149" y="159"/>
                </a:cubicBezTo>
                <a:close/>
                <a:moveTo>
                  <a:pt x="1015" y="114"/>
                </a:moveTo>
                <a:cubicBezTo>
                  <a:pt x="1015" y="116"/>
                  <a:pt x="1017" y="118"/>
                  <a:pt x="1019" y="118"/>
                </a:cubicBezTo>
                <a:cubicBezTo>
                  <a:pt x="1022" y="118"/>
                  <a:pt x="1024" y="116"/>
                  <a:pt x="1024" y="114"/>
                </a:cubicBezTo>
                <a:cubicBezTo>
                  <a:pt x="1024" y="111"/>
                  <a:pt x="1022" y="109"/>
                  <a:pt x="1019" y="109"/>
                </a:cubicBezTo>
                <a:cubicBezTo>
                  <a:pt x="1017" y="109"/>
                  <a:pt x="1015" y="111"/>
                  <a:pt x="1015" y="114"/>
                </a:cubicBezTo>
                <a:close/>
                <a:moveTo>
                  <a:pt x="1040" y="96"/>
                </a:moveTo>
                <a:cubicBezTo>
                  <a:pt x="1037" y="96"/>
                  <a:pt x="1035" y="98"/>
                  <a:pt x="1035" y="100"/>
                </a:cubicBezTo>
                <a:cubicBezTo>
                  <a:pt x="1035" y="103"/>
                  <a:pt x="1037" y="105"/>
                  <a:pt x="1040" y="105"/>
                </a:cubicBezTo>
                <a:cubicBezTo>
                  <a:pt x="1042" y="105"/>
                  <a:pt x="1044" y="103"/>
                  <a:pt x="1044" y="100"/>
                </a:cubicBezTo>
                <a:cubicBezTo>
                  <a:pt x="1044" y="98"/>
                  <a:pt x="1042" y="96"/>
                  <a:pt x="1040" y="96"/>
                </a:cubicBezTo>
                <a:close/>
                <a:moveTo>
                  <a:pt x="1042" y="114"/>
                </a:moveTo>
                <a:cubicBezTo>
                  <a:pt x="1042" y="116"/>
                  <a:pt x="1044" y="118"/>
                  <a:pt x="1047" y="118"/>
                </a:cubicBezTo>
                <a:cubicBezTo>
                  <a:pt x="1049" y="118"/>
                  <a:pt x="1051" y="116"/>
                  <a:pt x="1051" y="114"/>
                </a:cubicBezTo>
                <a:cubicBezTo>
                  <a:pt x="1051" y="111"/>
                  <a:pt x="1049" y="109"/>
                  <a:pt x="1047" y="109"/>
                </a:cubicBezTo>
                <a:cubicBezTo>
                  <a:pt x="1044" y="109"/>
                  <a:pt x="1042" y="111"/>
                  <a:pt x="1042" y="114"/>
                </a:cubicBezTo>
                <a:close/>
                <a:moveTo>
                  <a:pt x="1053" y="96"/>
                </a:moveTo>
                <a:cubicBezTo>
                  <a:pt x="1051" y="96"/>
                  <a:pt x="1049" y="98"/>
                  <a:pt x="1049" y="100"/>
                </a:cubicBezTo>
                <a:cubicBezTo>
                  <a:pt x="1049" y="103"/>
                  <a:pt x="1051" y="105"/>
                  <a:pt x="1053" y="105"/>
                </a:cubicBezTo>
                <a:cubicBezTo>
                  <a:pt x="1056" y="105"/>
                  <a:pt x="1058" y="103"/>
                  <a:pt x="1058" y="100"/>
                </a:cubicBezTo>
                <a:cubicBezTo>
                  <a:pt x="1058" y="98"/>
                  <a:pt x="1056" y="96"/>
                  <a:pt x="1053" y="96"/>
                </a:cubicBezTo>
                <a:close/>
                <a:moveTo>
                  <a:pt x="1028" y="114"/>
                </a:moveTo>
                <a:cubicBezTo>
                  <a:pt x="1028" y="116"/>
                  <a:pt x="1030" y="118"/>
                  <a:pt x="1033" y="118"/>
                </a:cubicBezTo>
                <a:cubicBezTo>
                  <a:pt x="1035" y="118"/>
                  <a:pt x="1037" y="116"/>
                  <a:pt x="1037" y="114"/>
                </a:cubicBezTo>
                <a:cubicBezTo>
                  <a:pt x="1037" y="111"/>
                  <a:pt x="1035" y="109"/>
                  <a:pt x="1033" y="109"/>
                </a:cubicBezTo>
                <a:cubicBezTo>
                  <a:pt x="1030" y="109"/>
                  <a:pt x="1028" y="111"/>
                  <a:pt x="1028" y="114"/>
                </a:cubicBezTo>
                <a:close/>
                <a:moveTo>
                  <a:pt x="1026" y="96"/>
                </a:moveTo>
                <a:cubicBezTo>
                  <a:pt x="1024" y="96"/>
                  <a:pt x="1022" y="98"/>
                  <a:pt x="1022" y="100"/>
                </a:cubicBezTo>
                <a:cubicBezTo>
                  <a:pt x="1022" y="103"/>
                  <a:pt x="1024" y="105"/>
                  <a:pt x="1026" y="105"/>
                </a:cubicBezTo>
                <a:cubicBezTo>
                  <a:pt x="1029" y="105"/>
                  <a:pt x="1031" y="103"/>
                  <a:pt x="1031" y="100"/>
                </a:cubicBezTo>
                <a:cubicBezTo>
                  <a:pt x="1031" y="98"/>
                  <a:pt x="1029" y="96"/>
                  <a:pt x="1026" y="96"/>
                </a:cubicBezTo>
                <a:close/>
                <a:moveTo>
                  <a:pt x="1060" y="109"/>
                </a:moveTo>
                <a:cubicBezTo>
                  <a:pt x="1058" y="109"/>
                  <a:pt x="1056" y="111"/>
                  <a:pt x="1056" y="114"/>
                </a:cubicBezTo>
                <a:cubicBezTo>
                  <a:pt x="1056" y="116"/>
                  <a:pt x="1058" y="118"/>
                  <a:pt x="1060" y="118"/>
                </a:cubicBezTo>
                <a:cubicBezTo>
                  <a:pt x="1063" y="118"/>
                  <a:pt x="1065" y="116"/>
                  <a:pt x="1065" y="114"/>
                </a:cubicBezTo>
                <a:cubicBezTo>
                  <a:pt x="1065" y="111"/>
                  <a:pt x="1063" y="109"/>
                  <a:pt x="1060" y="109"/>
                </a:cubicBezTo>
                <a:close/>
                <a:moveTo>
                  <a:pt x="1103" y="100"/>
                </a:moveTo>
                <a:cubicBezTo>
                  <a:pt x="1103" y="103"/>
                  <a:pt x="1105" y="105"/>
                  <a:pt x="1108" y="105"/>
                </a:cubicBezTo>
                <a:cubicBezTo>
                  <a:pt x="1110" y="105"/>
                  <a:pt x="1112" y="103"/>
                  <a:pt x="1112" y="100"/>
                </a:cubicBezTo>
                <a:cubicBezTo>
                  <a:pt x="1112" y="98"/>
                  <a:pt x="1110" y="96"/>
                  <a:pt x="1108" y="96"/>
                </a:cubicBezTo>
                <a:cubicBezTo>
                  <a:pt x="1105" y="96"/>
                  <a:pt x="1103" y="98"/>
                  <a:pt x="1103" y="100"/>
                </a:cubicBezTo>
                <a:close/>
                <a:moveTo>
                  <a:pt x="1087" y="109"/>
                </a:moveTo>
                <a:cubicBezTo>
                  <a:pt x="1085" y="109"/>
                  <a:pt x="1083" y="111"/>
                  <a:pt x="1083" y="114"/>
                </a:cubicBezTo>
                <a:cubicBezTo>
                  <a:pt x="1083" y="116"/>
                  <a:pt x="1085" y="118"/>
                  <a:pt x="1087" y="118"/>
                </a:cubicBezTo>
                <a:cubicBezTo>
                  <a:pt x="1090" y="118"/>
                  <a:pt x="1092" y="116"/>
                  <a:pt x="1092" y="114"/>
                </a:cubicBezTo>
                <a:cubicBezTo>
                  <a:pt x="1092" y="111"/>
                  <a:pt x="1090" y="109"/>
                  <a:pt x="1087" y="109"/>
                </a:cubicBezTo>
                <a:close/>
                <a:moveTo>
                  <a:pt x="1090" y="127"/>
                </a:moveTo>
                <a:cubicBezTo>
                  <a:pt x="1090" y="130"/>
                  <a:pt x="1092" y="132"/>
                  <a:pt x="1094" y="132"/>
                </a:cubicBezTo>
                <a:cubicBezTo>
                  <a:pt x="1097" y="132"/>
                  <a:pt x="1099" y="130"/>
                  <a:pt x="1099" y="127"/>
                </a:cubicBezTo>
                <a:cubicBezTo>
                  <a:pt x="1099" y="125"/>
                  <a:pt x="1097" y="123"/>
                  <a:pt x="1094" y="123"/>
                </a:cubicBezTo>
                <a:cubicBezTo>
                  <a:pt x="1092" y="123"/>
                  <a:pt x="1090" y="125"/>
                  <a:pt x="1090" y="127"/>
                </a:cubicBezTo>
                <a:close/>
                <a:moveTo>
                  <a:pt x="1096" y="114"/>
                </a:moveTo>
                <a:cubicBezTo>
                  <a:pt x="1096" y="116"/>
                  <a:pt x="1099" y="118"/>
                  <a:pt x="1101" y="118"/>
                </a:cubicBezTo>
                <a:cubicBezTo>
                  <a:pt x="1104" y="118"/>
                  <a:pt x="1106" y="116"/>
                  <a:pt x="1106" y="114"/>
                </a:cubicBezTo>
                <a:cubicBezTo>
                  <a:pt x="1106" y="111"/>
                  <a:pt x="1104" y="109"/>
                  <a:pt x="1101" y="109"/>
                </a:cubicBezTo>
                <a:cubicBezTo>
                  <a:pt x="1099" y="109"/>
                  <a:pt x="1096" y="111"/>
                  <a:pt x="1096" y="114"/>
                </a:cubicBezTo>
                <a:close/>
                <a:moveTo>
                  <a:pt x="1140" y="564"/>
                </a:moveTo>
                <a:cubicBezTo>
                  <a:pt x="1140" y="561"/>
                  <a:pt x="1138" y="559"/>
                  <a:pt x="1135" y="559"/>
                </a:cubicBezTo>
                <a:cubicBezTo>
                  <a:pt x="1133" y="559"/>
                  <a:pt x="1131" y="561"/>
                  <a:pt x="1131" y="564"/>
                </a:cubicBezTo>
                <a:cubicBezTo>
                  <a:pt x="1131" y="566"/>
                  <a:pt x="1133" y="568"/>
                  <a:pt x="1135" y="568"/>
                </a:cubicBezTo>
                <a:cubicBezTo>
                  <a:pt x="1138" y="568"/>
                  <a:pt x="1140" y="566"/>
                  <a:pt x="1140" y="564"/>
                </a:cubicBezTo>
                <a:close/>
                <a:moveTo>
                  <a:pt x="1074" y="109"/>
                </a:moveTo>
                <a:cubicBezTo>
                  <a:pt x="1071" y="109"/>
                  <a:pt x="1069" y="111"/>
                  <a:pt x="1069" y="114"/>
                </a:cubicBezTo>
                <a:cubicBezTo>
                  <a:pt x="1069" y="116"/>
                  <a:pt x="1071" y="118"/>
                  <a:pt x="1074" y="118"/>
                </a:cubicBezTo>
                <a:cubicBezTo>
                  <a:pt x="1076" y="118"/>
                  <a:pt x="1078" y="116"/>
                  <a:pt x="1078" y="114"/>
                </a:cubicBezTo>
                <a:cubicBezTo>
                  <a:pt x="1078" y="111"/>
                  <a:pt x="1076" y="109"/>
                  <a:pt x="1074" y="109"/>
                </a:cubicBezTo>
                <a:close/>
                <a:moveTo>
                  <a:pt x="1062" y="127"/>
                </a:moveTo>
                <a:cubicBezTo>
                  <a:pt x="1062" y="130"/>
                  <a:pt x="1064" y="132"/>
                  <a:pt x="1067" y="132"/>
                </a:cubicBezTo>
                <a:cubicBezTo>
                  <a:pt x="1070" y="132"/>
                  <a:pt x="1072" y="130"/>
                  <a:pt x="1072" y="127"/>
                </a:cubicBezTo>
                <a:cubicBezTo>
                  <a:pt x="1072" y="125"/>
                  <a:pt x="1070" y="123"/>
                  <a:pt x="1067" y="123"/>
                </a:cubicBezTo>
                <a:cubicBezTo>
                  <a:pt x="1064" y="123"/>
                  <a:pt x="1062" y="125"/>
                  <a:pt x="1062" y="127"/>
                </a:cubicBezTo>
                <a:close/>
                <a:moveTo>
                  <a:pt x="1106" y="468"/>
                </a:moveTo>
                <a:cubicBezTo>
                  <a:pt x="1106" y="466"/>
                  <a:pt x="1104" y="464"/>
                  <a:pt x="1101" y="464"/>
                </a:cubicBezTo>
                <a:cubicBezTo>
                  <a:pt x="1099" y="464"/>
                  <a:pt x="1096" y="466"/>
                  <a:pt x="1096" y="468"/>
                </a:cubicBezTo>
                <a:cubicBezTo>
                  <a:pt x="1096" y="471"/>
                  <a:pt x="1099" y="473"/>
                  <a:pt x="1101" y="473"/>
                </a:cubicBezTo>
                <a:cubicBezTo>
                  <a:pt x="1104" y="473"/>
                  <a:pt x="1106" y="471"/>
                  <a:pt x="1106" y="468"/>
                </a:cubicBezTo>
                <a:close/>
                <a:moveTo>
                  <a:pt x="640" y="318"/>
                </a:moveTo>
                <a:cubicBezTo>
                  <a:pt x="640" y="321"/>
                  <a:pt x="642" y="323"/>
                  <a:pt x="645" y="323"/>
                </a:cubicBezTo>
                <a:cubicBezTo>
                  <a:pt x="647" y="323"/>
                  <a:pt x="649" y="321"/>
                  <a:pt x="649" y="318"/>
                </a:cubicBezTo>
                <a:cubicBezTo>
                  <a:pt x="649" y="316"/>
                  <a:pt x="647" y="314"/>
                  <a:pt x="645" y="314"/>
                </a:cubicBezTo>
                <a:cubicBezTo>
                  <a:pt x="642" y="314"/>
                  <a:pt x="640" y="316"/>
                  <a:pt x="640" y="318"/>
                </a:cubicBezTo>
                <a:close/>
                <a:moveTo>
                  <a:pt x="652" y="364"/>
                </a:moveTo>
                <a:cubicBezTo>
                  <a:pt x="654" y="364"/>
                  <a:pt x="656" y="362"/>
                  <a:pt x="656" y="359"/>
                </a:cubicBezTo>
                <a:cubicBezTo>
                  <a:pt x="656" y="357"/>
                  <a:pt x="654" y="355"/>
                  <a:pt x="652" y="355"/>
                </a:cubicBezTo>
                <a:cubicBezTo>
                  <a:pt x="649" y="355"/>
                  <a:pt x="647" y="357"/>
                  <a:pt x="647" y="359"/>
                </a:cubicBezTo>
                <a:cubicBezTo>
                  <a:pt x="647" y="362"/>
                  <a:pt x="649" y="364"/>
                  <a:pt x="652" y="364"/>
                </a:cubicBezTo>
                <a:close/>
                <a:moveTo>
                  <a:pt x="647" y="305"/>
                </a:moveTo>
                <a:cubicBezTo>
                  <a:pt x="647" y="307"/>
                  <a:pt x="649" y="309"/>
                  <a:pt x="652" y="309"/>
                </a:cubicBezTo>
                <a:cubicBezTo>
                  <a:pt x="654" y="309"/>
                  <a:pt x="656" y="307"/>
                  <a:pt x="656" y="305"/>
                </a:cubicBezTo>
                <a:cubicBezTo>
                  <a:pt x="656" y="302"/>
                  <a:pt x="654" y="300"/>
                  <a:pt x="652" y="300"/>
                </a:cubicBezTo>
                <a:cubicBezTo>
                  <a:pt x="649" y="300"/>
                  <a:pt x="647" y="302"/>
                  <a:pt x="647" y="305"/>
                </a:cubicBezTo>
                <a:close/>
                <a:moveTo>
                  <a:pt x="706" y="218"/>
                </a:moveTo>
                <a:cubicBezTo>
                  <a:pt x="704" y="218"/>
                  <a:pt x="702" y="220"/>
                  <a:pt x="702" y="223"/>
                </a:cubicBezTo>
                <a:cubicBezTo>
                  <a:pt x="702" y="225"/>
                  <a:pt x="704" y="227"/>
                  <a:pt x="706" y="227"/>
                </a:cubicBezTo>
                <a:cubicBezTo>
                  <a:pt x="709" y="227"/>
                  <a:pt x="711" y="225"/>
                  <a:pt x="711" y="223"/>
                </a:cubicBezTo>
                <a:cubicBezTo>
                  <a:pt x="711" y="220"/>
                  <a:pt x="709" y="218"/>
                  <a:pt x="706" y="218"/>
                </a:cubicBezTo>
                <a:close/>
                <a:moveTo>
                  <a:pt x="645" y="350"/>
                </a:moveTo>
                <a:cubicBezTo>
                  <a:pt x="647" y="350"/>
                  <a:pt x="649" y="348"/>
                  <a:pt x="649" y="346"/>
                </a:cubicBezTo>
                <a:cubicBezTo>
                  <a:pt x="649" y="343"/>
                  <a:pt x="647" y="341"/>
                  <a:pt x="645" y="341"/>
                </a:cubicBezTo>
                <a:cubicBezTo>
                  <a:pt x="642" y="341"/>
                  <a:pt x="640" y="343"/>
                  <a:pt x="640" y="346"/>
                </a:cubicBezTo>
                <a:cubicBezTo>
                  <a:pt x="640" y="348"/>
                  <a:pt x="642" y="350"/>
                  <a:pt x="645" y="350"/>
                </a:cubicBezTo>
                <a:close/>
                <a:moveTo>
                  <a:pt x="638" y="337"/>
                </a:moveTo>
                <a:cubicBezTo>
                  <a:pt x="640" y="337"/>
                  <a:pt x="643" y="335"/>
                  <a:pt x="643" y="332"/>
                </a:cubicBezTo>
                <a:cubicBezTo>
                  <a:pt x="643" y="330"/>
                  <a:pt x="640" y="328"/>
                  <a:pt x="638" y="328"/>
                </a:cubicBezTo>
                <a:cubicBezTo>
                  <a:pt x="635" y="328"/>
                  <a:pt x="633" y="330"/>
                  <a:pt x="633" y="332"/>
                </a:cubicBezTo>
                <a:cubicBezTo>
                  <a:pt x="633" y="335"/>
                  <a:pt x="635" y="337"/>
                  <a:pt x="638" y="337"/>
                </a:cubicBezTo>
                <a:close/>
                <a:moveTo>
                  <a:pt x="658" y="268"/>
                </a:moveTo>
                <a:cubicBezTo>
                  <a:pt x="661" y="268"/>
                  <a:pt x="663" y="266"/>
                  <a:pt x="663" y="264"/>
                </a:cubicBezTo>
                <a:cubicBezTo>
                  <a:pt x="663" y="261"/>
                  <a:pt x="661" y="259"/>
                  <a:pt x="658" y="259"/>
                </a:cubicBezTo>
                <a:cubicBezTo>
                  <a:pt x="656" y="259"/>
                  <a:pt x="654" y="261"/>
                  <a:pt x="654" y="264"/>
                </a:cubicBezTo>
                <a:cubicBezTo>
                  <a:pt x="654" y="266"/>
                  <a:pt x="656" y="268"/>
                  <a:pt x="658" y="268"/>
                </a:cubicBezTo>
                <a:close/>
                <a:moveTo>
                  <a:pt x="638" y="300"/>
                </a:moveTo>
                <a:cubicBezTo>
                  <a:pt x="635" y="300"/>
                  <a:pt x="633" y="302"/>
                  <a:pt x="633" y="305"/>
                </a:cubicBezTo>
                <a:cubicBezTo>
                  <a:pt x="633" y="307"/>
                  <a:pt x="635" y="309"/>
                  <a:pt x="638" y="309"/>
                </a:cubicBezTo>
                <a:cubicBezTo>
                  <a:pt x="640" y="309"/>
                  <a:pt x="643" y="307"/>
                  <a:pt x="643" y="305"/>
                </a:cubicBezTo>
                <a:cubicBezTo>
                  <a:pt x="643" y="302"/>
                  <a:pt x="640" y="300"/>
                  <a:pt x="638" y="300"/>
                </a:cubicBezTo>
                <a:close/>
                <a:moveTo>
                  <a:pt x="688" y="223"/>
                </a:moveTo>
                <a:cubicBezTo>
                  <a:pt x="688" y="225"/>
                  <a:pt x="690" y="227"/>
                  <a:pt x="692" y="227"/>
                </a:cubicBezTo>
                <a:cubicBezTo>
                  <a:pt x="695" y="227"/>
                  <a:pt x="697" y="225"/>
                  <a:pt x="697" y="223"/>
                </a:cubicBezTo>
                <a:cubicBezTo>
                  <a:pt x="697" y="220"/>
                  <a:pt x="695" y="218"/>
                  <a:pt x="692" y="218"/>
                </a:cubicBezTo>
                <a:cubicBezTo>
                  <a:pt x="690" y="218"/>
                  <a:pt x="688" y="220"/>
                  <a:pt x="688" y="223"/>
                </a:cubicBezTo>
                <a:close/>
                <a:moveTo>
                  <a:pt x="681" y="237"/>
                </a:moveTo>
                <a:cubicBezTo>
                  <a:pt x="681" y="239"/>
                  <a:pt x="683" y="241"/>
                  <a:pt x="686" y="241"/>
                </a:cubicBezTo>
                <a:cubicBezTo>
                  <a:pt x="688" y="241"/>
                  <a:pt x="690" y="239"/>
                  <a:pt x="690" y="237"/>
                </a:cubicBezTo>
                <a:cubicBezTo>
                  <a:pt x="690" y="234"/>
                  <a:pt x="688" y="232"/>
                  <a:pt x="686" y="232"/>
                </a:cubicBezTo>
                <a:cubicBezTo>
                  <a:pt x="683" y="232"/>
                  <a:pt x="681" y="234"/>
                  <a:pt x="681" y="237"/>
                </a:cubicBezTo>
                <a:close/>
                <a:moveTo>
                  <a:pt x="699" y="205"/>
                </a:moveTo>
                <a:cubicBezTo>
                  <a:pt x="697" y="205"/>
                  <a:pt x="695" y="207"/>
                  <a:pt x="695" y="209"/>
                </a:cubicBezTo>
                <a:cubicBezTo>
                  <a:pt x="695" y="212"/>
                  <a:pt x="697" y="214"/>
                  <a:pt x="699" y="214"/>
                </a:cubicBezTo>
                <a:cubicBezTo>
                  <a:pt x="702" y="214"/>
                  <a:pt x="704" y="212"/>
                  <a:pt x="704" y="209"/>
                </a:cubicBezTo>
                <a:cubicBezTo>
                  <a:pt x="704" y="207"/>
                  <a:pt x="702" y="205"/>
                  <a:pt x="699" y="205"/>
                </a:cubicBezTo>
                <a:close/>
                <a:moveTo>
                  <a:pt x="672" y="232"/>
                </a:moveTo>
                <a:cubicBezTo>
                  <a:pt x="670" y="232"/>
                  <a:pt x="667" y="234"/>
                  <a:pt x="667" y="237"/>
                </a:cubicBezTo>
                <a:cubicBezTo>
                  <a:pt x="667" y="239"/>
                  <a:pt x="670" y="241"/>
                  <a:pt x="672" y="241"/>
                </a:cubicBezTo>
                <a:cubicBezTo>
                  <a:pt x="675" y="241"/>
                  <a:pt x="677" y="239"/>
                  <a:pt x="677" y="237"/>
                </a:cubicBezTo>
                <a:cubicBezTo>
                  <a:pt x="677" y="234"/>
                  <a:pt x="675" y="232"/>
                  <a:pt x="672" y="232"/>
                </a:cubicBezTo>
                <a:close/>
                <a:moveTo>
                  <a:pt x="654" y="237"/>
                </a:moveTo>
                <a:cubicBezTo>
                  <a:pt x="654" y="239"/>
                  <a:pt x="656" y="241"/>
                  <a:pt x="658" y="241"/>
                </a:cubicBezTo>
                <a:cubicBezTo>
                  <a:pt x="661" y="241"/>
                  <a:pt x="663" y="239"/>
                  <a:pt x="663" y="237"/>
                </a:cubicBezTo>
                <a:cubicBezTo>
                  <a:pt x="663" y="234"/>
                  <a:pt x="661" y="232"/>
                  <a:pt x="658" y="232"/>
                </a:cubicBezTo>
                <a:cubicBezTo>
                  <a:pt x="656" y="232"/>
                  <a:pt x="654" y="234"/>
                  <a:pt x="654" y="237"/>
                </a:cubicBezTo>
                <a:close/>
                <a:moveTo>
                  <a:pt x="674" y="250"/>
                </a:moveTo>
                <a:cubicBezTo>
                  <a:pt x="674" y="253"/>
                  <a:pt x="676" y="255"/>
                  <a:pt x="679" y="255"/>
                </a:cubicBezTo>
                <a:cubicBezTo>
                  <a:pt x="681" y="255"/>
                  <a:pt x="683" y="253"/>
                  <a:pt x="683" y="250"/>
                </a:cubicBezTo>
                <a:cubicBezTo>
                  <a:pt x="683" y="248"/>
                  <a:pt x="681" y="246"/>
                  <a:pt x="679" y="246"/>
                </a:cubicBezTo>
                <a:cubicBezTo>
                  <a:pt x="676" y="246"/>
                  <a:pt x="674" y="248"/>
                  <a:pt x="674" y="250"/>
                </a:cubicBezTo>
                <a:close/>
                <a:moveTo>
                  <a:pt x="627" y="318"/>
                </a:moveTo>
                <a:cubicBezTo>
                  <a:pt x="627" y="321"/>
                  <a:pt x="629" y="323"/>
                  <a:pt x="631" y="323"/>
                </a:cubicBezTo>
                <a:cubicBezTo>
                  <a:pt x="634" y="323"/>
                  <a:pt x="636" y="321"/>
                  <a:pt x="636" y="318"/>
                </a:cubicBezTo>
                <a:cubicBezTo>
                  <a:pt x="636" y="316"/>
                  <a:pt x="634" y="314"/>
                  <a:pt x="631" y="314"/>
                </a:cubicBezTo>
                <a:cubicBezTo>
                  <a:pt x="629" y="314"/>
                  <a:pt x="627" y="316"/>
                  <a:pt x="627" y="318"/>
                </a:cubicBezTo>
                <a:close/>
                <a:moveTo>
                  <a:pt x="704" y="482"/>
                </a:moveTo>
                <a:cubicBezTo>
                  <a:pt x="704" y="480"/>
                  <a:pt x="702" y="478"/>
                  <a:pt x="699" y="478"/>
                </a:cubicBezTo>
                <a:cubicBezTo>
                  <a:pt x="697" y="478"/>
                  <a:pt x="695" y="480"/>
                  <a:pt x="695" y="482"/>
                </a:cubicBezTo>
                <a:cubicBezTo>
                  <a:pt x="695" y="485"/>
                  <a:pt x="697" y="487"/>
                  <a:pt x="699" y="487"/>
                </a:cubicBezTo>
                <a:cubicBezTo>
                  <a:pt x="702" y="487"/>
                  <a:pt x="704" y="485"/>
                  <a:pt x="704" y="482"/>
                </a:cubicBezTo>
                <a:close/>
                <a:moveTo>
                  <a:pt x="699" y="450"/>
                </a:moveTo>
                <a:cubicBezTo>
                  <a:pt x="697" y="450"/>
                  <a:pt x="695" y="452"/>
                  <a:pt x="695" y="455"/>
                </a:cubicBezTo>
                <a:cubicBezTo>
                  <a:pt x="695" y="457"/>
                  <a:pt x="697" y="459"/>
                  <a:pt x="699" y="459"/>
                </a:cubicBezTo>
                <a:cubicBezTo>
                  <a:pt x="702" y="459"/>
                  <a:pt x="704" y="457"/>
                  <a:pt x="704" y="455"/>
                </a:cubicBezTo>
                <a:cubicBezTo>
                  <a:pt x="704" y="452"/>
                  <a:pt x="702" y="450"/>
                  <a:pt x="699" y="450"/>
                </a:cubicBezTo>
                <a:close/>
                <a:moveTo>
                  <a:pt x="690" y="482"/>
                </a:moveTo>
                <a:cubicBezTo>
                  <a:pt x="690" y="480"/>
                  <a:pt x="688" y="478"/>
                  <a:pt x="686" y="478"/>
                </a:cubicBezTo>
                <a:cubicBezTo>
                  <a:pt x="683" y="478"/>
                  <a:pt x="681" y="480"/>
                  <a:pt x="681" y="482"/>
                </a:cubicBezTo>
                <a:cubicBezTo>
                  <a:pt x="681" y="485"/>
                  <a:pt x="683" y="487"/>
                  <a:pt x="686" y="487"/>
                </a:cubicBezTo>
                <a:cubicBezTo>
                  <a:pt x="688" y="487"/>
                  <a:pt x="690" y="485"/>
                  <a:pt x="690" y="482"/>
                </a:cubicBezTo>
                <a:close/>
                <a:moveTo>
                  <a:pt x="658" y="378"/>
                </a:moveTo>
                <a:cubicBezTo>
                  <a:pt x="661" y="378"/>
                  <a:pt x="663" y="375"/>
                  <a:pt x="663" y="373"/>
                </a:cubicBezTo>
                <a:cubicBezTo>
                  <a:pt x="663" y="370"/>
                  <a:pt x="661" y="368"/>
                  <a:pt x="658" y="368"/>
                </a:cubicBezTo>
                <a:cubicBezTo>
                  <a:pt x="656" y="368"/>
                  <a:pt x="654" y="370"/>
                  <a:pt x="654" y="373"/>
                </a:cubicBezTo>
                <a:cubicBezTo>
                  <a:pt x="654" y="375"/>
                  <a:pt x="656" y="378"/>
                  <a:pt x="658" y="378"/>
                </a:cubicBezTo>
                <a:close/>
                <a:moveTo>
                  <a:pt x="713" y="459"/>
                </a:moveTo>
                <a:cubicBezTo>
                  <a:pt x="715" y="459"/>
                  <a:pt x="717" y="457"/>
                  <a:pt x="717" y="455"/>
                </a:cubicBezTo>
                <a:cubicBezTo>
                  <a:pt x="717" y="452"/>
                  <a:pt x="715" y="450"/>
                  <a:pt x="713" y="450"/>
                </a:cubicBezTo>
                <a:cubicBezTo>
                  <a:pt x="710" y="450"/>
                  <a:pt x="708" y="452"/>
                  <a:pt x="708" y="455"/>
                </a:cubicBezTo>
                <a:cubicBezTo>
                  <a:pt x="708" y="457"/>
                  <a:pt x="710" y="459"/>
                  <a:pt x="713" y="459"/>
                </a:cubicBezTo>
                <a:close/>
                <a:moveTo>
                  <a:pt x="711" y="441"/>
                </a:moveTo>
                <a:cubicBezTo>
                  <a:pt x="711" y="439"/>
                  <a:pt x="709" y="437"/>
                  <a:pt x="706" y="437"/>
                </a:cubicBezTo>
                <a:cubicBezTo>
                  <a:pt x="704" y="437"/>
                  <a:pt x="702" y="439"/>
                  <a:pt x="702" y="441"/>
                </a:cubicBezTo>
                <a:cubicBezTo>
                  <a:pt x="702" y="444"/>
                  <a:pt x="704" y="446"/>
                  <a:pt x="706" y="446"/>
                </a:cubicBezTo>
                <a:cubicBezTo>
                  <a:pt x="709" y="446"/>
                  <a:pt x="711" y="444"/>
                  <a:pt x="711" y="441"/>
                </a:cubicBezTo>
                <a:close/>
                <a:moveTo>
                  <a:pt x="692" y="500"/>
                </a:moveTo>
                <a:cubicBezTo>
                  <a:pt x="695" y="500"/>
                  <a:pt x="697" y="498"/>
                  <a:pt x="697" y="496"/>
                </a:cubicBezTo>
                <a:cubicBezTo>
                  <a:pt x="697" y="493"/>
                  <a:pt x="695" y="491"/>
                  <a:pt x="692" y="491"/>
                </a:cubicBezTo>
                <a:cubicBezTo>
                  <a:pt x="690" y="491"/>
                  <a:pt x="688" y="493"/>
                  <a:pt x="688" y="496"/>
                </a:cubicBezTo>
                <a:cubicBezTo>
                  <a:pt x="688" y="498"/>
                  <a:pt x="690" y="500"/>
                  <a:pt x="692" y="500"/>
                </a:cubicBezTo>
                <a:close/>
                <a:moveTo>
                  <a:pt x="665" y="418"/>
                </a:moveTo>
                <a:cubicBezTo>
                  <a:pt x="668" y="418"/>
                  <a:pt x="670" y="416"/>
                  <a:pt x="670" y="414"/>
                </a:cubicBezTo>
                <a:cubicBezTo>
                  <a:pt x="670" y="411"/>
                  <a:pt x="668" y="409"/>
                  <a:pt x="665" y="409"/>
                </a:cubicBezTo>
                <a:cubicBezTo>
                  <a:pt x="663" y="409"/>
                  <a:pt x="661" y="411"/>
                  <a:pt x="661" y="414"/>
                </a:cubicBezTo>
                <a:cubicBezTo>
                  <a:pt x="661" y="416"/>
                  <a:pt x="663" y="418"/>
                  <a:pt x="665" y="418"/>
                </a:cubicBezTo>
                <a:close/>
                <a:moveTo>
                  <a:pt x="672" y="432"/>
                </a:moveTo>
                <a:cubicBezTo>
                  <a:pt x="675" y="432"/>
                  <a:pt x="677" y="430"/>
                  <a:pt x="677" y="428"/>
                </a:cubicBezTo>
                <a:cubicBezTo>
                  <a:pt x="677" y="425"/>
                  <a:pt x="675" y="423"/>
                  <a:pt x="672" y="423"/>
                </a:cubicBezTo>
                <a:cubicBezTo>
                  <a:pt x="670" y="423"/>
                  <a:pt x="667" y="425"/>
                  <a:pt x="667" y="428"/>
                </a:cubicBezTo>
                <a:cubicBezTo>
                  <a:pt x="667" y="430"/>
                  <a:pt x="670" y="432"/>
                  <a:pt x="672" y="432"/>
                </a:cubicBezTo>
                <a:close/>
                <a:moveTo>
                  <a:pt x="679" y="418"/>
                </a:moveTo>
                <a:cubicBezTo>
                  <a:pt x="681" y="418"/>
                  <a:pt x="683" y="416"/>
                  <a:pt x="683" y="414"/>
                </a:cubicBezTo>
                <a:cubicBezTo>
                  <a:pt x="683" y="411"/>
                  <a:pt x="681" y="409"/>
                  <a:pt x="679" y="409"/>
                </a:cubicBezTo>
                <a:cubicBezTo>
                  <a:pt x="676" y="409"/>
                  <a:pt x="674" y="411"/>
                  <a:pt x="674" y="414"/>
                </a:cubicBezTo>
                <a:cubicBezTo>
                  <a:pt x="674" y="416"/>
                  <a:pt x="676" y="418"/>
                  <a:pt x="679" y="418"/>
                </a:cubicBezTo>
                <a:close/>
                <a:moveTo>
                  <a:pt x="679" y="500"/>
                </a:moveTo>
                <a:cubicBezTo>
                  <a:pt x="681" y="500"/>
                  <a:pt x="683" y="498"/>
                  <a:pt x="683" y="496"/>
                </a:cubicBezTo>
                <a:cubicBezTo>
                  <a:pt x="683" y="493"/>
                  <a:pt x="681" y="491"/>
                  <a:pt x="679" y="491"/>
                </a:cubicBezTo>
                <a:cubicBezTo>
                  <a:pt x="676" y="491"/>
                  <a:pt x="674" y="493"/>
                  <a:pt x="674" y="496"/>
                </a:cubicBezTo>
                <a:cubicBezTo>
                  <a:pt x="674" y="498"/>
                  <a:pt x="676" y="500"/>
                  <a:pt x="679" y="500"/>
                </a:cubicBezTo>
                <a:close/>
                <a:moveTo>
                  <a:pt x="667" y="455"/>
                </a:moveTo>
                <a:cubicBezTo>
                  <a:pt x="667" y="457"/>
                  <a:pt x="670" y="459"/>
                  <a:pt x="672" y="459"/>
                </a:cubicBezTo>
                <a:cubicBezTo>
                  <a:pt x="675" y="459"/>
                  <a:pt x="677" y="457"/>
                  <a:pt x="677" y="455"/>
                </a:cubicBezTo>
                <a:cubicBezTo>
                  <a:pt x="677" y="452"/>
                  <a:pt x="675" y="450"/>
                  <a:pt x="672" y="450"/>
                </a:cubicBezTo>
                <a:cubicBezTo>
                  <a:pt x="670" y="450"/>
                  <a:pt x="667" y="452"/>
                  <a:pt x="667" y="455"/>
                </a:cubicBezTo>
                <a:close/>
                <a:moveTo>
                  <a:pt x="1103" y="209"/>
                </a:moveTo>
                <a:cubicBezTo>
                  <a:pt x="1103" y="212"/>
                  <a:pt x="1105" y="214"/>
                  <a:pt x="1108" y="214"/>
                </a:cubicBezTo>
                <a:cubicBezTo>
                  <a:pt x="1110" y="214"/>
                  <a:pt x="1112" y="212"/>
                  <a:pt x="1112" y="209"/>
                </a:cubicBezTo>
                <a:cubicBezTo>
                  <a:pt x="1112" y="207"/>
                  <a:pt x="1110" y="205"/>
                  <a:pt x="1108" y="205"/>
                </a:cubicBezTo>
                <a:cubicBezTo>
                  <a:pt x="1105" y="205"/>
                  <a:pt x="1103" y="207"/>
                  <a:pt x="1103" y="209"/>
                </a:cubicBezTo>
                <a:close/>
                <a:moveTo>
                  <a:pt x="692" y="473"/>
                </a:moveTo>
                <a:cubicBezTo>
                  <a:pt x="695" y="473"/>
                  <a:pt x="697" y="471"/>
                  <a:pt x="697" y="468"/>
                </a:cubicBezTo>
                <a:cubicBezTo>
                  <a:pt x="697" y="466"/>
                  <a:pt x="695" y="464"/>
                  <a:pt x="692" y="464"/>
                </a:cubicBezTo>
                <a:cubicBezTo>
                  <a:pt x="690" y="464"/>
                  <a:pt x="688" y="466"/>
                  <a:pt x="688" y="468"/>
                </a:cubicBezTo>
                <a:cubicBezTo>
                  <a:pt x="688" y="471"/>
                  <a:pt x="690" y="473"/>
                  <a:pt x="692" y="473"/>
                </a:cubicBezTo>
                <a:close/>
                <a:moveTo>
                  <a:pt x="724" y="414"/>
                </a:moveTo>
                <a:cubicBezTo>
                  <a:pt x="724" y="411"/>
                  <a:pt x="722" y="409"/>
                  <a:pt x="720" y="409"/>
                </a:cubicBezTo>
                <a:cubicBezTo>
                  <a:pt x="717" y="409"/>
                  <a:pt x="715" y="411"/>
                  <a:pt x="715" y="414"/>
                </a:cubicBezTo>
                <a:cubicBezTo>
                  <a:pt x="715" y="416"/>
                  <a:pt x="717" y="418"/>
                  <a:pt x="720" y="418"/>
                </a:cubicBezTo>
                <a:cubicBezTo>
                  <a:pt x="722" y="418"/>
                  <a:pt x="724" y="416"/>
                  <a:pt x="724" y="414"/>
                </a:cubicBezTo>
                <a:close/>
                <a:moveTo>
                  <a:pt x="751" y="332"/>
                </a:moveTo>
                <a:cubicBezTo>
                  <a:pt x="751" y="330"/>
                  <a:pt x="749" y="328"/>
                  <a:pt x="747" y="328"/>
                </a:cubicBezTo>
                <a:cubicBezTo>
                  <a:pt x="744" y="328"/>
                  <a:pt x="742" y="330"/>
                  <a:pt x="742" y="332"/>
                </a:cubicBezTo>
                <a:cubicBezTo>
                  <a:pt x="742" y="335"/>
                  <a:pt x="744" y="337"/>
                  <a:pt x="747" y="337"/>
                </a:cubicBezTo>
                <a:cubicBezTo>
                  <a:pt x="749" y="337"/>
                  <a:pt x="751" y="335"/>
                  <a:pt x="751" y="332"/>
                </a:cubicBezTo>
                <a:close/>
                <a:moveTo>
                  <a:pt x="713" y="432"/>
                </a:moveTo>
                <a:cubicBezTo>
                  <a:pt x="715" y="432"/>
                  <a:pt x="717" y="430"/>
                  <a:pt x="717" y="428"/>
                </a:cubicBezTo>
                <a:cubicBezTo>
                  <a:pt x="717" y="425"/>
                  <a:pt x="715" y="423"/>
                  <a:pt x="713" y="423"/>
                </a:cubicBezTo>
                <a:cubicBezTo>
                  <a:pt x="710" y="423"/>
                  <a:pt x="708" y="425"/>
                  <a:pt x="708" y="428"/>
                </a:cubicBezTo>
                <a:cubicBezTo>
                  <a:pt x="708" y="430"/>
                  <a:pt x="710" y="432"/>
                  <a:pt x="713" y="432"/>
                </a:cubicBezTo>
                <a:close/>
                <a:moveTo>
                  <a:pt x="711" y="414"/>
                </a:moveTo>
                <a:cubicBezTo>
                  <a:pt x="711" y="411"/>
                  <a:pt x="709" y="409"/>
                  <a:pt x="706" y="409"/>
                </a:cubicBezTo>
                <a:cubicBezTo>
                  <a:pt x="704" y="409"/>
                  <a:pt x="702" y="411"/>
                  <a:pt x="702" y="414"/>
                </a:cubicBezTo>
                <a:cubicBezTo>
                  <a:pt x="702" y="416"/>
                  <a:pt x="704" y="418"/>
                  <a:pt x="706" y="418"/>
                </a:cubicBezTo>
                <a:cubicBezTo>
                  <a:pt x="709" y="418"/>
                  <a:pt x="711" y="416"/>
                  <a:pt x="711" y="414"/>
                </a:cubicBezTo>
                <a:close/>
                <a:moveTo>
                  <a:pt x="738" y="387"/>
                </a:moveTo>
                <a:cubicBezTo>
                  <a:pt x="738" y="384"/>
                  <a:pt x="736" y="382"/>
                  <a:pt x="733" y="382"/>
                </a:cubicBezTo>
                <a:cubicBezTo>
                  <a:pt x="731" y="382"/>
                  <a:pt x="729" y="384"/>
                  <a:pt x="729" y="387"/>
                </a:cubicBezTo>
                <a:cubicBezTo>
                  <a:pt x="729" y="389"/>
                  <a:pt x="731" y="391"/>
                  <a:pt x="733" y="391"/>
                </a:cubicBezTo>
                <a:cubicBezTo>
                  <a:pt x="736" y="391"/>
                  <a:pt x="738" y="389"/>
                  <a:pt x="738" y="387"/>
                </a:cubicBezTo>
                <a:close/>
                <a:moveTo>
                  <a:pt x="745" y="373"/>
                </a:moveTo>
                <a:cubicBezTo>
                  <a:pt x="745" y="370"/>
                  <a:pt x="743" y="368"/>
                  <a:pt x="740" y="368"/>
                </a:cubicBezTo>
                <a:cubicBezTo>
                  <a:pt x="738" y="368"/>
                  <a:pt x="736" y="370"/>
                  <a:pt x="736" y="373"/>
                </a:cubicBezTo>
                <a:cubicBezTo>
                  <a:pt x="736" y="375"/>
                  <a:pt x="738" y="378"/>
                  <a:pt x="740" y="378"/>
                </a:cubicBezTo>
                <a:cubicBezTo>
                  <a:pt x="743" y="378"/>
                  <a:pt x="745" y="375"/>
                  <a:pt x="745" y="373"/>
                </a:cubicBezTo>
                <a:close/>
                <a:moveTo>
                  <a:pt x="731" y="400"/>
                </a:moveTo>
                <a:cubicBezTo>
                  <a:pt x="731" y="398"/>
                  <a:pt x="729" y="396"/>
                  <a:pt x="727" y="396"/>
                </a:cubicBezTo>
                <a:cubicBezTo>
                  <a:pt x="724" y="396"/>
                  <a:pt x="722" y="398"/>
                  <a:pt x="722" y="400"/>
                </a:cubicBezTo>
                <a:cubicBezTo>
                  <a:pt x="722" y="403"/>
                  <a:pt x="724" y="405"/>
                  <a:pt x="727" y="405"/>
                </a:cubicBezTo>
                <a:cubicBezTo>
                  <a:pt x="729" y="405"/>
                  <a:pt x="731" y="403"/>
                  <a:pt x="731" y="400"/>
                </a:cubicBezTo>
                <a:close/>
                <a:moveTo>
                  <a:pt x="690" y="455"/>
                </a:moveTo>
                <a:cubicBezTo>
                  <a:pt x="690" y="452"/>
                  <a:pt x="688" y="450"/>
                  <a:pt x="686" y="450"/>
                </a:cubicBezTo>
                <a:cubicBezTo>
                  <a:pt x="683" y="450"/>
                  <a:pt x="681" y="452"/>
                  <a:pt x="681" y="455"/>
                </a:cubicBezTo>
                <a:cubicBezTo>
                  <a:pt x="681" y="457"/>
                  <a:pt x="683" y="459"/>
                  <a:pt x="686" y="459"/>
                </a:cubicBezTo>
                <a:cubicBezTo>
                  <a:pt x="688" y="459"/>
                  <a:pt x="690" y="457"/>
                  <a:pt x="690" y="455"/>
                </a:cubicBezTo>
                <a:close/>
                <a:moveTo>
                  <a:pt x="674" y="468"/>
                </a:moveTo>
                <a:cubicBezTo>
                  <a:pt x="674" y="471"/>
                  <a:pt x="676" y="473"/>
                  <a:pt x="679" y="473"/>
                </a:cubicBezTo>
                <a:cubicBezTo>
                  <a:pt x="681" y="473"/>
                  <a:pt x="683" y="471"/>
                  <a:pt x="683" y="468"/>
                </a:cubicBezTo>
                <a:cubicBezTo>
                  <a:pt x="683" y="466"/>
                  <a:pt x="681" y="464"/>
                  <a:pt x="679" y="464"/>
                </a:cubicBezTo>
                <a:cubicBezTo>
                  <a:pt x="676" y="464"/>
                  <a:pt x="674" y="466"/>
                  <a:pt x="674" y="468"/>
                </a:cubicBezTo>
                <a:close/>
                <a:moveTo>
                  <a:pt x="704" y="428"/>
                </a:moveTo>
                <a:cubicBezTo>
                  <a:pt x="704" y="425"/>
                  <a:pt x="702" y="423"/>
                  <a:pt x="699" y="423"/>
                </a:cubicBezTo>
                <a:cubicBezTo>
                  <a:pt x="697" y="423"/>
                  <a:pt x="695" y="425"/>
                  <a:pt x="695" y="428"/>
                </a:cubicBezTo>
                <a:cubicBezTo>
                  <a:pt x="695" y="430"/>
                  <a:pt x="697" y="432"/>
                  <a:pt x="699" y="432"/>
                </a:cubicBezTo>
                <a:cubicBezTo>
                  <a:pt x="702" y="432"/>
                  <a:pt x="704" y="430"/>
                  <a:pt x="704" y="428"/>
                </a:cubicBezTo>
                <a:close/>
                <a:moveTo>
                  <a:pt x="708" y="237"/>
                </a:moveTo>
                <a:cubicBezTo>
                  <a:pt x="708" y="239"/>
                  <a:pt x="710" y="241"/>
                  <a:pt x="713" y="241"/>
                </a:cubicBezTo>
                <a:cubicBezTo>
                  <a:pt x="715" y="241"/>
                  <a:pt x="717" y="239"/>
                  <a:pt x="717" y="237"/>
                </a:cubicBezTo>
                <a:cubicBezTo>
                  <a:pt x="717" y="234"/>
                  <a:pt x="715" y="232"/>
                  <a:pt x="713" y="232"/>
                </a:cubicBezTo>
                <a:cubicBezTo>
                  <a:pt x="710" y="232"/>
                  <a:pt x="708" y="234"/>
                  <a:pt x="708" y="237"/>
                </a:cubicBezTo>
                <a:close/>
                <a:moveTo>
                  <a:pt x="720" y="473"/>
                </a:moveTo>
                <a:cubicBezTo>
                  <a:pt x="722" y="473"/>
                  <a:pt x="724" y="471"/>
                  <a:pt x="724" y="468"/>
                </a:cubicBezTo>
                <a:cubicBezTo>
                  <a:pt x="724" y="466"/>
                  <a:pt x="722" y="464"/>
                  <a:pt x="720" y="464"/>
                </a:cubicBezTo>
                <a:cubicBezTo>
                  <a:pt x="717" y="464"/>
                  <a:pt x="715" y="466"/>
                  <a:pt x="715" y="468"/>
                </a:cubicBezTo>
                <a:cubicBezTo>
                  <a:pt x="715" y="471"/>
                  <a:pt x="717" y="473"/>
                  <a:pt x="720" y="473"/>
                </a:cubicBezTo>
                <a:close/>
                <a:moveTo>
                  <a:pt x="697" y="441"/>
                </a:moveTo>
                <a:cubicBezTo>
                  <a:pt x="697" y="439"/>
                  <a:pt x="695" y="437"/>
                  <a:pt x="692" y="437"/>
                </a:cubicBezTo>
                <a:cubicBezTo>
                  <a:pt x="690" y="437"/>
                  <a:pt x="688" y="439"/>
                  <a:pt x="688" y="441"/>
                </a:cubicBezTo>
                <a:cubicBezTo>
                  <a:pt x="688" y="444"/>
                  <a:pt x="690" y="446"/>
                  <a:pt x="692" y="446"/>
                </a:cubicBezTo>
                <a:cubicBezTo>
                  <a:pt x="695" y="446"/>
                  <a:pt x="697" y="444"/>
                  <a:pt x="697" y="441"/>
                </a:cubicBezTo>
                <a:close/>
                <a:moveTo>
                  <a:pt x="674" y="441"/>
                </a:moveTo>
                <a:cubicBezTo>
                  <a:pt x="674" y="444"/>
                  <a:pt x="676" y="446"/>
                  <a:pt x="679" y="446"/>
                </a:cubicBezTo>
                <a:cubicBezTo>
                  <a:pt x="681" y="446"/>
                  <a:pt x="683" y="444"/>
                  <a:pt x="683" y="441"/>
                </a:cubicBezTo>
                <a:cubicBezTo>
                  <a:pt x="683" y="439"/>
                  <a:pt x="681" y="437"/>
                  <a:pt x="679" y="437"/>
                </a:cubicBezTo>
                <a:cubicBezTo>
                  <a:pt x="676" y="437"/>
                  <a:pt x="674" y="439"/>
                  <a:pt x="674" y="441"/>
                </a:cubicBezTo>
                <a:close/>
                <a:moveTo>
                  <a:pt x="733" y="218"/>
                </a:moveTo>
                <a:cubicBezTo>
                  <a:pt x="731" y="218"/>
                  <a:pt x="729" y="220"/>
                  <a:pt x="729" y="223"/>
                </a:cubicBezTo>
                <a:cubicBezTo>
                  <a:pt x="729" y="225"/>
                  <a:pt x="731" y="227"/>
                  <a:pt x="733" y="227"/>
                </a:cubicBezTo>
                <a:cubicBezTo>
                  <a:pt x="736" y="227"/>
                  <a:pt x="738" y="225"/>
                  <a:pt x="738" y="223"/>
                </a:cubicBezTo>
                <a:cubicBezTo>
                  <a:pt x="738" y="220"/>
                  <a:pt x="736" y="218"/>
                  <a:pt x="733" y="218"/>
                </a:cubicBezTo>
                <a:close/>
                <a:moveTo>
                  <a:pt x="736" y="237"/>
                </a:moveTo>
                <a:cubicBezTo>
                  <a:pt x="736" y="239"/>
                  <a:pt x="738" y="241"/>
                  <a:pt x="740" y="241"/>
                </a:cubicBezTo>
                <a:cubicBezTo>
                  <a:pt x="743" y="241"/>
                  <a:pt x="745" y="239"/>
                  <a:pt x="745" y="237"/>
                </a:cubicBezTo>
                <a:cubicBezTo>
                  <a:pt x="745" y="234"/>
                  <a:pt x="743" y="232"/>
                  <a:pt x="740" y="232"/>
                </a:cubicBezTo>
                <a:cubicBezTo>
                  <a:pt x="738" y="232"/>
                  <a:pt x="736" y="234"/>
                  <a:pt x="736" y="237"/>
                </a:cubicBezTo>
                <a:close/>
                <a:moveTo>
                  <a:pt x="742" y="223"/>
                </a:moveTo>
                <a:cubicBezTo>
                  <a:pt x="742" y="225"/>
                  <a:pt x="744" y="227"/>
                  <a:pt x="747" y="227"/>
                </a:cubicBezTo>
                <a:cubicBezTo>
                  <a:pt x="749" y="227"/>
                  <a:pt x="751" y="225"/>
                  <a:pt x="751" y="223"/>
                </a:cubicBezTo>
                <a:cubicBezTo>
                  <a:pt x="751" y="220"/>
                  <a:pt x="749" y="218"/>
                  <a:pt x="747" y="218"/>
                </a:cubicBezTo>
                <a:cubicBezTo>
                  <a:pt x="744" y="218"/>
                  <a:pt x="742" y="220"/>
                  <a:pt x="742" y="223"/>
                </a:cubicBezTo>
                <a:close/>
                <a:moveTo>
                  <a:pt x="727" y="205"/>
                </a:moveTo>
                <a:cubicBezTo>
                  <a:pt x="724" y="205"/>
                  <a:pt x="722" y="207"/>
                  <a:pt x="722" y="209"/>
                </a:cubicBezTo>
                <a:cubicBezTo>
                  <a:pt x="722" y="212"/>
                  <a:pt x="724" y="214"/>
                  <a:pt x="727" y="214"/>
                </a:cubicBezTo>
                <a:cubicBezTo>
                  <a:pt x="729" y="214"/>
                  <a:pt x="731" y="212"/>
                  <a:pt x="731" y="209"/>
                </a:cubicBezTo>
                <a:cubicBezTo>
                  <a:pt x="731" y="207"/>
                  <a:pt x="729" y="205"/>
                  <a:pt x="727" y="205"/>
                </a:cubicBezTo>
                <a:close/>
                <a:moveTo>
                  <a:pt x="715" y="223"/>
                </a:moveTo>
                <a:cubicBezTo>
                  <a:pt x="715" y="225"/>
                  <a:pt x="717" y="227"/>
                  <a:pt x="720" y="227"/>
                </a:cubicBezTo>
                <a:cubicBezTo>
                  <a:pt x="722" y="227"/>
                  <a:pt x="724" y="225"/>
                  <a:pt x="724" y="223"/>
                </a:cubicBezTo>
                <a:cubicBezTo>
                  <a:pt x="724" y="220"/>
                  <a:pt x="722" y="218"/>
                  <a:pt x="720" y="218"/>
                </a:cubicBezTo>
                <a:cubicBezTo>
                  <a:pt x="717" y="218"/>
                  <a:pt x="715" y="220"/>
                  <a:pt x="715" y="223"/>
                </a:cubicBezTo>
                <a:close/>
                <a:moveTo>
                  <a:pt x="758" y="318"/>
                </a:moveTo>
                <a:cubicBezTo>
                  <a:pt x="758" y="316"/>
                  <a:pt x="756" y="314"/>
                  <a:pt x="754" y="314"/>
                </a:cubicBezTo>
                <a:cubicBezTo>
                  <a:pt x="751" y="314"/>
                  <a:pt x="749" y="316"/>
                  <a:pt x="749" y="318"/>
                </a:cubicBezTo>
                <a:cubicBezTo>
                  <a:pt x="749" y="321"/>
                  <a:pt x="751" y="323"/>
                  <a:pt x="754" y="323"/>
                </a:cubicBezTo>
                <a:cubicBezTo>
                  <a:pt x="756" y="323"/>
                  <a:pt x="758" y="321"/>
                  <a:pt x="758" y="318"/>
                </a:cubicBezTo>
                <a:close/>
                <a:moveTo>
                  <a:pt x="754" y="205"/>
                </a:moveTo>
                <a:cubicBezTo>
                  <a:pt x="751" y="205"/>
                  <a:pt x="749" y="207"/>
                  <a:pt x="749" y="209"/>
                </a:cubicBezTo>
                <a:cubicBezTo>
                  <a:pt x="749" y="212"/>
                  <a:pt x="751" y="214"/>
                  <a:pt x="754" y="214"/>
                </a:cubicBezTo>
                <a:cubicBezTo>
                  <a:pt x="756" y="214"/>
                  <a:pt x="758" y="212"/>
                  <a:pt x="758" y="209"/>
                </a:cubicBezTo>
                <a:cubicBezTo>
                  <a:pt x="758" y="207"/>
                  <a:pt x="756" y="205"/>
                  <a:pt x="754" y="205"/>
                </a:cubicBezTo>
                <a:close/>
                <a:moveTo>
                  <a:pt x="756" y="223"/>
                </a:moveTo>
                <a:cubicBezTo>
                  <a:pt x="756" y="225"/>
                  <a:pt x="758" y="227"/>
                  <a:pt x="761" y="227"/>
                </a:cubicBezTo>
                <a:cubicBezTo>
                  <a:pt x="763" y="227"/>
                  <a:pt x="765" y="225"/>
                  <a:pt x="765" y="223"/>
                </a:cubicBezTo>
                <a:cubicBezTo>
                  <a:pt x="765" y="220"/>
                  <a:pt x="763" y="218"/>
                  <a:pt x="761" y="218"/>
                </a:cubicBezTo>
                <a:cubicBezTo>
                  <a:pt x="758" y="218"/>
                  <a:pt x="756" y="220"/>
                  <a:pt x="756" y="223"/>
                </a:cubicBezTo>
                <a:close/>
                <a:moveTo>
                  <a:pt x="772" y="264"/>
                </a:moveTo>
                <a:cubicBezTo>
                  <a:pt x="772" y="261"/>
                  <a:pt x="770" y="259"/>
                  <a:pt x="767" y="259"/>
                </a:cubicBezTo>
                <a:cubicBezTo>
                  <a:pt x="765" y="259"/>
                  <a:pt x="763" y="261"/>
                  <a:pt x="763" y="264"/>
                </a:cubicBezTo>
                <a:cubicBezTo>
                  <a:pt x="763" y="266"/>
                  <a:pt x="765" y="268"/>
                  <a:pt x="767" y="268"/>
                </a:cubicBezTo>
                <a:cubicBezTo>
                  <a:pt x="770" y="268"/>
                  <a:pt x="772" y="266"/>
                  <a:pt x="772" y="264"/>
                </a:cubicBezTo>
                <a:close/>
                <a:moveTo>
                  <a:pt x="765" y="305"/>
                </a:moveTo>
                <a:cubicBezTo>
                  <a:pt x="765" y="302"/>
                  <a:pt x="763" y="300"/>
                  <a:pt x="761" y="300"/>
                </a:cubicBezTo>
                <a:cubicBezTo>
                  <a:pt x="758" y="300"/>
                  <a:pt x="756" y="302"/>
                  <a:pt x="756" y="305"/>
                </a:cubicBezTo>
                <a:cubicBezTo>
                  <a:pt x="756" y="307"/>
                  <a:pt x="758" y="309"/>
                  <a:pt x="761" y="309"/>
                </a:cubicBezTo>
                <a:cubicBezTo>
                  <a:pt x="763" y="309"/>
                  <a:pt x="765" y="307"/>
                  <a:pt x="765" y="305"/>
                </a:cubicBezTo>
                <a:close/>
                <a:moveTo>
                  <a:pt x="765" y="278"/>
                </a:moveTo>
                <a:cubicBezTo>
                  <a:pt x="765" y="275"/>
                  <a:pt x="763" y="273"/>
                  <a:pt x="761" y="273"/>
                </a:cubicBezTo>
                <a:cubicBezTo>
                  <a:pt x="758" y="273"/>
                  <a:pt x="756" y="275"/>
                  <a:pt x="756" y="278"/>
                </a:cubicBezTo>
                <a:cubicBezTo>
                  <a:pt x="756" y="280"/>
                  <a:pt x="758" y="282"/>
                  <a:pt x="761" y="282"/>
                </a:cubicBezTo>
                <a:cubicBezTo>
                  <a:pt x="763" y="282"/>
                  <a:pt x="765" y="280"/>
                  <a:pt x="765" y="278"/>
                </a:cubicBezTo>
                <a:close/>
                <a:moveTo>
                  <a:pt x="772" y="209"/>
                </a:moveTo>
                <a:cubicBezTo>
                  <a:pt x="772" y="207"/>
                  <a:pt x="770" y="205"/>
                  <a:pt x="767" y="205"/>
                </a:cubicBezTo>
                <a:cubicBezTo>
                  <a:pt x="765" y="205"/>
                  <a:pt x="763" y="207"/>
                  <a:pt x="763" y="209"/>
                </a:cubicBezTo>
                <a:cubicBezTo>
                  <a:pt x="763" y="212"/>
                  <a:pt x="765" y="214"/>
                  <a:pt x="767" y="214"/>
                </a:cubicBezTo>
                <a:cubicBezTo>
                  <a:pt x="770" y="214"/>
                  <a:pt x="772" y="212"/>
                  <a:pt x="772" y="209"/>
                </a:cubicBezTo>
                <a:close/>
                <a:moveTo>
                  <a:pt x="772" y="237"/>
                </a:moveTo>
                <a:cubicBezTo>
                  <a:pt x="772" y="234"/>
                  <a:pt x="770" y="232"/>
                  <a:pt x="767" y="232"/>
                </a:cubicBezTo>
                <a:cubicBezTo>
                  <a:pt x="765" y="232"/>
                  <a:pt x="763" y="234"/>
                  <a:pt x="763" y="237"/>
                </a:cubicBezTo>
                <a:cubicBezTo>
                  <a:pt x="763" y="239"/>
                  <a:pt x="765" y="241"/>
                  <a:pt x="767" y="241"/>
                </a:cubicBezTo>
                <a:cubicBezTo>
                  <a:pt x="770" y="241"/>
                  <a:pt x="772" y="239"/>
                  <a:pt x="772" y="237"/>
                </a:cubicBezTo>
                <a:close/>
                <a:moveTo>
                  <a:pt x="654" y="400"/>
                </a:moveTo>
                <a:cubicBezTo>
                  <a:pt x="654" y="403"/>
                  <a:pt x="656" y="405"/>
                  <a:pt x="658" y="405"/>
                </a:cubicBezTo>
                <a:cubicBezTo>
                  <a:pt x="661" y="405"/>
                  <a:pt x="663" y="403"/>
                  <a:pt x="663" y="400"/>
                </a:cubicBezTo>
                <a:cubicBezTo>
                  <a:pt x="663" y="398"/>
                  <a:pt x="661" y="396"/>
                  <a:pt x="658" y="396"/>
                </a:cubicBezTo>
                <a:cubicBezTo>
                  <a:pt x="656" y="396"/>
                  <a:pt x="654" y="398"/>
                  <a:pt x="654" y="400"/>
                </a:cubicBezTo>
                <a:close/>
                <a:moveTo>
                  <a:pt x="856" y="255"/>
                </a:moveTo>
                <a:cubicBezTo>
                  <a:pt x="858" y="255"/>
                  <a:pt x="860" y="253"/>
                  <a:pt x="860" y="250"/>
                </a:cubicBezTo>
                <a:cubicBezTo>
                  <a:pt x="860" y="248"/>
                  <a:pt x="858" y="246"/>
                  <a:pt x="856" y="246"/>
                </a:cubicBezTo>
                <a:cubicBezTo>
                  <a:pt x="853" y="246"/>
                  <a:pt x="851" y="248"/>
                  <a:pt x="851" y="250"/>
                </a:cubicBezTo>
                <a:cubicBezTo>
                  <a:pt x="851" y="253"/>
                  <a:pt x="853" y="255"/>
                  <a:pt x="856" y="255"/>
                </a:cubicBezTo>
                <a:close/>
                <a:moveTo>
                  <a:pt x="867" y="237"/>
                </a:moveTo>
                <a:cubicBezTo>
                  <a:pt x="867" y="234"/>
                  <a:pt x="865" y="232"/>
                  <a:pt x="863" y="232"/>
                </a:cubicBezTo>
                <a:cubicBezTo>
                  <a:pt x="860" y="232"/>
                  <a:pt x="858" y="234"/>
                  <a:pt x="858" y="237"/>
                </a:cubicBezTo>
                <a:cubicBezTo>
                  <a:pt x="858" y="239"/>
                  <a:pt x="860" y="241"/>
                  <a:pt x="863" y="241"/>
                </a:cubicBezTo>
                <a:cubicBezTo>
                  <a:pt x="865" y="241"/>
                  <a:pt x="867" y="239"/>
                  <a:pt x="867" y="237"/>
                </a:cubicBezTo>
                <a:close/>
                <a:moveTo>
                  <a:pt x="876" y="268"/>
                </a:moveTo>
                <a:cubicBezTo>
                  <a:pt x="879" y="268"/>
                  <a:pt x="881" y="266"/>
                  <a:pt x="881" y="264"/>
                </a:cubicBezTo>
                <a:cubicBezTo>
                  <a:pt x="881" y="261"/>
                  <a:pt x="879" y="259"/>
                  <a:pt x="876" y="259"/>
                </a:cubicBezTo>
                <a:cubicBezTo>
                  <a:pt x="874" y="259"/>
                  <a:pt x="872" y="261"/>
                  <a:pt x="872" y="264"/>
                </a:cubicBezTo>
                <a:cubicBezTo>
                  <a:pt x="872" y="266"/>
                  <a:pt x="874" y="268"/>
                  <a:pt x="876" y="268"/>
                </a:cubicBezTo>
                <a:close/>
                <a:moveTo>
                  <a:pt x="1119" y="278"/>
                </a:moveTo>
                <a:cubicBezTo>
                  <a:pt x="1119" y="275"/>
                  <a:pt x="1117" y="273"/>
                  <a:pt x="1115" y="273"/>
                </a:cubicBezTo>
                <a:cubicBezTo>
                  <a:pt x="1112" y="273"/>
                  <a:pt x="1110" y="275"/>
                  <a:pt x="1110" y="278"/>
                </a:cubicBezTo>
                <a:cubicBezTo>
                  <a:pt x="1110" y="280"/>
                  <a:pt x="1112" y="282"/>
                  <a:pt x="1115" y="282"/>
                </a:cubicBezTo>
                <a:cubicBezTo>
                  <a:pt x="1117" y="282"/>
                  <a:pt x="1119" y="280"/>
                  <a:pt x="1119" y="278"/>
                </a:cubicBezTo>
                <a:close/>
                <a:moveTo>
                  <a:pt x="1115" y="227"/>
                </a:moveTo>
                <a:cubicBezTo>
                  <a:pt x="1117" y="227"/>
                  <a:pt x="1119" y="225"/>
                  <a:pt x="1119" y="223"/>
                </a:cubicBezTo>
                <a:cubicBezTo>
                  <a:pt x="1119" y="220"/>
                  <a:pt x="1117" y="218"/>
                  <a:pt x="1115" y="218"/>
                </a:cubicBezTo>
                <a:cubicBezTo>
                  <a:pt x="1112" y="218"/>
                  <a:pt x="1110" y="220"/>
                  <a:pt x="1110" y="223"/>
                </a:cubicBezTo>
                <a:cubicBezTo>
                  <a:pt x="1110" y="225"/>
                  <a:pt x="1112" y="227"/>
                  <a:pt x="1115" y="227"/>
                </a:cubicBezTo>
                <a:close/>
                <a:moveTo>
                  <a:pt x="824" y="223"/>
                </a:moveTo>
                <a:cubicBezTo>
                  <a:pt x="824" y="225"/>
                  <a:pt x="826" y="227"/>
                  <a:pt x="829" y="227"/>
                </a:cubicBezTo>
                <a:cubicBezTo>
                  <a:pt x="831" y="227"/>
                  <a:pt x="833" y="225"/>
                  <a:pt x="833" y="223"/>
                </a:cubicBezTo>
                <a:cubicBezTo>
                  <a:pt x="833" y="220"/>
                  <a:pt x="831" y="218"/>
                  <a:pt x="829" y="218"/>
                </a:cubicBezTo>
                <a:cubicBezTo>
                  <a:pt x="826" y="218"/>
                  <a:pt x="824" y="220"/>
                  <a:pt x="824" y="223"/>
                </a:cubicBezTo>
                <a:close/>
                <a:moveTo>
                  <a:pt x="869" y="255"/>
                </a:moveTo>
                <a:cubicBezTo>
                  <a:pt x="872" y="255"/>
                  <a:pt x="874" y="253"/>
                  <a:pt x="874" y="250"/>
                </a:cubicBezTo>
                <a:cubicBezTo>
                  <a:pt x="874" y="248"/>
                  <a:pt x="872" y="246"/>
                  <a:pt x="869" y="246"/>
                </a:cubicBezTo>
                <a:cubicBezTo>
                  <a:pt x="867" y="246"/>
                  <a:pt x="865" y="248"/>
                  <a:pt x="865" y="250"/>
                </a:cubicBezTo>
                <a:cubicBezTo>
                  <a:pt x="865" y="253"/>
                  <a:pt x="867" y="255"/>
                  <a:pt x="869" y="255"/>
                </a:cubicBezTo>
                <a:close/>
                <a:moveTo>
                  <a:pt x="856" y="227"/>
                </a:moveTo>
                <a:cubicBezTo>
                  <a:pt x="858" y="227"/>
                  <a:pt x="860" y="225"/>
                  <a:pt x="860" y="223"/>
                </a:cubicBezTo>
                <a:cubicBezTo>
                  <a:pt x="860" y="220"/>
                  <a:pt x="858" y="218"/>
                  <a:pt x="856" y="218"/>
                </a:cubicBezTo>
                <a:cubicBezTo>
                  <a:pt x="853" y="218"/>
                  <a:pt x="851" y="220"/>
                  <a:pt x="851" y="223"/>
                </a:cubicBezTo>
                <a:cubicBezTo>
                  <a:pt x="851" y="225"/>
                  <a:pt x="853" y="227"/>
                  <a:pt x="856" y="227"/>
                </a:cubicBezTo>
                <a:close/>
                <a:moveTo>
                  <a:pt x="849" y="205"/>
                </a:moveTo>
                <a:cubicBezTo>
                  <a:pt x="847" y="205"/>
                  <a:pt x="845" y="207"/>
                  <a:pt x="845" y="209"/>
                </a:cubicBezTo>
                <a:cubicBezTo>
                  <a:pt x="845" y="212"/>
                  <a:pt x="847" y="214"/>
                  <a:pt x="849" y="214"/>
                </a:cubicBezTo>
                <a:cubicBezTo>
                  <a:pt x="852" y="214"/>
                  <a:pt x="854" y="212"/>
                  <a:pt x="854" y="209"/>
                </a:cubicBezTo>
                <a:cubicBezTo>
                  <a:pt x="854" y="207"/>
                  <a:pt x="852" y="205"/>
                  <a:pt x="849" y="205"/>
                </a:cubicBezTo>
                <a:close/>
                <a:moveTo>
                  <a:pt x="849" y="241"/>
                </a:moveTo>
                <a:cubicBezTo>
                  <a:pt x="852" y="241"/>
                  <a:pt x="854" y="239"/>
                  <a:pt x="854" y="237"/>
                </a:cubicBezTo>
                <a:cubicBezTo>
                  <a:pt x="854" y="234"/>
                  <a:pt x="852" y="232"/>
                  <a:pt x="849" y="232"/>
                </a:cubicBezTo>
                <a:cubicBezTo>
                  <a:pt x="847" y="232"/>
                  <a:pt x="845" y="234"/>
                  <a:pt x="845" y="237"/>
                </a:cubicBezTo>
                <a:cubicBezTo>
                  <a:pt x="845" y="239"/>
                  <a:pt x="847" y="241"/>
                  <a:pt x="849" y="241"/>
                </a:cubicBezTo>
                <a:close/>
                <a:moveTo>
                  <a:pt x="840" y="209"/>
                </a:moveTo>
                <a:cubicBezTo>
                  <a:pt x="840" y="207"/>
                  <a:pt x="838" y="205"/>
                  <a:pt x="835" y="205"/>
                </a:cubicBezTo>
                <a:cubicBezTo>
                  <a:pt x="833" y="205"/>
                  <a:pt x="831" y="207"/>
                  <a:pt x="831" y="209"/>
                </a:cubicBezTo>
                <a:cubicBezTo>
                  <a:pt x="831" y="212"/>
                  <a:pt x="833" y="214"/>
                  <a:pt x="835" y="214"/>
                </a:cubicBezTo>
                <a:cubicBezTo>
                  <a:pt x="838" y="214"/>
                  <a:pt x="840" y="212"/>
                  <a:pt x="840" y="209"/>
                </a:cubicBezTo>
                <a:close/>
                <a:moveTo>
                  <a:pt x="842" y="227"/>
                </a:moveTo>
                <a:cubicBezTo>
                  <a:pt x="845" y="227"/>
                  <a:pt x="847" y="225"/>
                  <a:pt x="847" y="223"/>
                </a:cubicBezTo>
                <a:cubicBezTo>
                  <a:pt x="847" y="220"/>
                  <a:pt x="845" y="218"/>
                  <a:pt x="842" y="218"/>
                </a:cubicBezTo>
                <a:cubicBezTo>
                  <a:pt x="840" y="218"/>
                  <a:pt x="838" y="220"/>
                  <a:pt x="838" y="223"/>
                </a:cubicBezTo>
                <a:cubicBezTo>
                  <a:pt x="838" y="225"/>
                  <a:pt x="840" y="227"/>
                  <a:pt x="842" y="227"/>
                </a:cubicBezTo>
                <a:close/>
                <a:moveTo>
                  <a:pt x="842" y="191"/>
                </a:moveTo>
                <a:cubicBezTo>
                  <a:pt x="840" y="191"/>
                  <a:pt x="838" y="193"/>
                  <a:pt x="838" y="196"/>
                </a:cubicBezTo>
                <a:cubicBezTo>
                  <a:pt x="838" y="198"/>
                  <a:pt x="840" y="200"/>
                  <a:pt x="842" y="200"/>
                </a:cubicBezTo>
                <a:cubicBezTo>
                  <a:pt x="845" y="200"/>
                  <a:pt x="847" y="198"/>
                  <a:pt x="847" y="196"/>
                </a:cubicBezTo>
                <a:cubicBezTo>
                  <a:pt x="847" y="193"/>
                  <a:pt x="845" y="191"/>
                  <a:pt x="842" y="191"/>
                </a:cubicBezTo>
                <a:close/>
                <a:moveTo>
                  <a:pt x="1115" y="255"/>
                </a:moveTo>
                <a:cubicBezTo>
                  <a:pt x="1117" y="255"/>
                  <a:pt x="1119" y="253"/>
                  <a:pt x="1119" y="250"/>
                </a:cubicBezTo>
                <a:cubicBezTo>
                  <a:pt x="1119" y="248"/>
                  <a:pt x="1117" y="246"/>
                  <a:pt x="1115" y="246"/>
                </a:cubicBezTo>
                <a:cubicBezTo>
                  <a:pt x="1112" y="246"/>
                  <a:pt x="1110" y="248"/>
                  <a:pt x="1110" y="250"/>
                </a:cubicBezTo>
                <a:cubicBezTo>
                  <a:pt x="1110" y="253"/>
                  <a:pt x="1112" y="255"/>
                  <a:pt x="1115" y="255"/>
                </a:cubicBezTo>
                <a:close/>
                <a:moveTo>
                  <a:pt x="1121" y="232"/>
                </a:moveTo>
                <a:cubicBezTo>
                  <a:pt x="1119" y="232"/>
                  <a:pt x="1117" y="234"/>
                  <a:pt x="1117" y="237"/>
                </a:cubicBezTo>
                <a:cubicBezTo>
                  <a:pt x="1117" y="239"/>
                  <a:pt x="1119" y="241"/>
                  <a:pt x="1121" y="241"/>
                </a:cubicBezTo>
                <a:cubicBezTo>
                  <a:pt x="1124" y="241"/>
                  <a:pt x="1126" y="239"/>
                  <a:pt x="1126" y="237"/>
                </a:cubicBezTo>
                <a:cubicBezTo>
                  <a:pt x="1126" y="234"/>
                  <a:pt x="1124" y="232"/>
                  <a:pt x="1121" y="232"/>
                </a:cubicBezTo>
                <a:close/>
                <a:moveTo>
                  <a:pt x="1115" y="473"/>
                </a:moveTo>
                <a:cubicBezTo>
                  <a:pt x="1117" y="473"/>
                  <a:pt x="1119" y="471"/>
                  <a:pt x="1119" y="468"/>
                </a:cubicBezTo>
                <a:cubicBezTo>
                  <a:pt x="1119" y="466"/>
                  <a:pt x="1117" y="464"/>
                  <a:pt x="1115" y="464"/>
                </a:cubicBezTo>
                <a:cubicBezTo>
                  <a:pt x="1112" y="464"/>
                  <a:pt x="1110" y="466"/>
                  <a:pt x="1110" y="468"/>
                </a:cubicBezTo>
                <a:cubicBezTo>
                  <a:pt x="1110" y="471"/>
                  <a:pt x="1112" y="473"/>
                  <a:pt x="1115" y="473"/>
                </a:cubicBezTo>
                <a:close/>
                <a:moveTo>
                  <a:pt x="1121" y="487"/>
                </a:moveTo>
                <a:cubicBezTo>
                  <a:pt x="1124" y="487"/>
                  <a:pt x="1126" y="485"/>
                  <a:pt x="1126" y="482"/>
                </a:cubicBezTo>
                <a:cubicBezTo>
                  <a:pt x="1126" y="480"/>
                  <a:pt x="1124" y="478"/>
                  <a:pt x="1121" y="478"/>
                </a:cubicBezTo>
                <a:cubicBezTo>
                  <a:pt x="1119" y="478"/>
                  <a:pt x="1117" y="480"/>
                  <a:pt x="1117" y="482"/>
                </a:cubicBezTo>
                <a:cubicBezTo>
                  <a:pt x="1117" y="485"/>
                  <a:pt x="1119" y="487"/>
                  <a:pt x="1121" y="487"/>
                </a:cubicBezTo>
                <a:close/>
                <a:moveTo>
                  <a:pt x="1126" y="264"/>
                </a:moveTo>
                <a:cubicBezTo>
                  <a:pt x="1126" y="261"/>
                  <a:pt x="1124" y="259"/>
                  <a:pt x="1121" y="259"/>
                </a:cubicBezTo>
                <a:cubicBezTo>
                  <a:pt x="1119" y="259"/>
                  <a:pt x="1117" y="261"/>
                  <a:pt x="1117" y="264"/>
                </a:cubicBezTo>
                <a:cubicBezTo>
                  <a:pt x="1117" y="266"/>
                  <a:pt x="1119" y="268"/>
                  <a:pt x="1121" y="268"/>
                </a:cubicBezTo>
                <a:cubicBezTo>
                  <a:pt x="1124" y="268"/>
                  <a:pt x="1126" y="266"/>
                  <a:pt x="1126" y="264"/>
                </a:cubicBezTo>
                <a:close/>
                <a:moveTo>
                  <a:pt x="1121" y="205"/>
                </a:moveTo>
                <a:cubicBezTo>
                  <a:pt x="1119" y="205"/>
                  <a:pt x="1117" y="207"/>
                  <a:pt x="1117" y="209"/>
                </a:cubicBezTo>
                <a:cubicBezTo>
                  <a:pt x="1117" y="212"/>
                  <a:pt x="1119" y="214"/>
                  <a:pt x="1121" y="214"/>
                </a:cubicBezTo>
                <a:cubicBezTo>
                  <a:pt x="1124" y="214"/>
                  <a:pt x="1126" y="212"/>
                  <a:pt x="1126" y="209"/>
                </a:cubicBezTo>
                <a:cubicBezTo>
                  <a:pt x="1126" y="207"/>
                  <a:pt x="1124" y="205"/>
                  <a:pt x="1121" y="205"/>
                </a:cubicBezTo>
                <a:close/>
                <a:moveTo>
                  <a:pt x="1115" y="191"/>
                </a:moveTo>
                <a:cubicBezTo>
                  <a:pt x="1112" y="191"/>
                  <a:pt x="1110" y="193"/>
                  <a:pt x="1110" y="196"/>
                </a:cubicBezTo>
                <a:cubicBezTo>
                  <a:pt x="1110" y="198"/>
                  <a:pt x="1112" y="200"/>
                  <a:pt x="1115" y="200"/>
                </a:cubicBezTo>
                <a:cubicBezTo>
                  <a:pt x="1117" y="200"/>
                  <a:pt x="1119" y="198"/>
                  <a:pt x="1119" y="196"/>
                </a:cubicBezTo>
                <a:cubicBezTo>
                  <a:pt x="1119" y="193"/>
                  <a:pt x="1117" y="191"/>
                  <a:pt x="1115" y="191"/>
                </a:cubicBezTo>
                <a:close/>
                <a:moveTo>
                  <a:pt x="1108" y="459"/>
                </a:moveTo>
                <a:cubicBezTo>
                  <a:pt x="1110" y="459"/>
                  <a:pt x="1112" y="457"/>
                  <a:pt x="1112" y="455"/>
                </a:cubicBezTo>
                <a:cubicBezTo>
                  <a:pt x="1112" y="452"/>
                  <a:pt x="1110" y="450"/>
                  <a:pt x="1108" y="450"/>
                </a:cubicBezTo>
                <a:cubicBezTo>
                  <a:pt x="1105" y="450"/>
                  <a:pt x="1103" y="452"/>
                  <a:pt x="1103" y="455"/>
                </a:cubicBezTo>
                <a:cubicBezTo>
                  <a:pt x="1103" y="457"/>
                  <a:pt x="1105" y="459"/>
                  <a:pt x="1108" y="459"/>
                </a:cubicBezTo>
                <a:close/>
                <a:moveTo>
                  <a:pt x="1090" y="237"/>
                </a:moveTo>
                <a:cubicBezTo>
                  <a:pt x="1090" y="239"/>
                  <a:pt x="1092" y="241"/>
                  <a:pt x="1094" y="241"/>
                </a:cubicBezTo>
                <a:cubicBezTo>
                  <a:pt x="1097" y="241"/>
                  <a:pt x="1099" y="239"/>
                  <a:pt x="1099" y="237"/>
                </a:cubicBezTo>
                <a:cubicBezTo>
                  <a:pt x="1099" y="234"/>
                  <a:pt x="1097" y="232"/>
                  <a:pt x="1094" y="232"/>
                </a:cubicBezTo>
                <a:cubicBezTo>
                  <a:pt x="1092" y="232"/>
                  <a:pt x="1090" y="234"/>
                  <a:pt x="1090" y="237"/>
                </a:cubicBezTo>
                <a:close/>
                <a:moveTo>
                  <a:pt x="1101" y="218"/>
                </a:moveTo>
                <a:cubicBezTo>
                  <a:pt x="1099" y="218"/>
                  <a:pt x="1096" y="220"/>
                  <a:pt x="1096" y="223"/>
                </a:cubicBezTo>
                <a:cubicBezTo>
                  <a:pt x="1096" y="225"/>
                  <a:pt x="1099" y="227"/>
                  <a:pt x="1101" y="227"/>
                </a:cubicBezTo>
                <a:cubicBezTo>
                  <a:pt x="1104" y="227"/>
                  <a:pt x="1106" y="225"/>
                  <a:pt x="1106" y="223"/>
                </a:cubicBezTo>
                <a:cubicBezTo>
                  <a:pt x="1106" y="220"/>
                  <a:pt x="1104" y="218"/>
                  <a:pt x="1101" y="218"/>
                </a:cubicBezTo>
                <a:close/>
                <a:moveTo>
                  <a:pt x="720" y="437"/>
                </a:moveTo>
                <a:cubicBezTo>
                  <a:pt x="717" y="437"/>
                  <a:pt x="715" y="439"/>
                  <a:pt x="715" y="441"/>
                </a:cubicBezTo>
                <a:cubicBezTo>
                  <a:pt x="715" y="444"/>
                  <a:pt x="717" y="446"/>
                  <a:pt x="720" y="446"/>
                </a:cubicBezTo>
                <a:cubicBezTo>
                  <a:pt x="722" y="446"/>
                  <a:pt x="724" y="444"/>
                  <a:pt x="724" y="441"/>
                </a:cubicBezTo>
                <a:cubicBezTo>
                  <a:pt x="724" y="439"/>
                  <a:pt x="722" y="437"/>
                  <a:pt x="720" y="437"/>
                </a:cubicBezTo>
                <a:close/>
                <a:moveTo>
                  <a:pt x="1094" y="296"/>
                </a:moveTo>
                <a:cubicBezTo>
                  <a:pt x="1097" y="296"/>
                  <a:pt x="1099" y="294"/>
                  <a:pt x="1099" y="291"/>
                </a:cubicBezTo>
                <a:cubicBezTo>
                  <a:pt x="1099" y="289"/>
                  <a:pt x="1097" y="287"/>
                  <a:pt x="1094" y="287"/>
                </a:cubicBezTo>
                <a:cubicBezTo>
                  <a:pt x="1092" y="287"/>
                  <a:pt x="1090" y="289"/>
                  <a:pt x="1090" y="291"/>
                </a:cubicBezTo>
                <a:cubicBezTo>
                  <a:pt x="1090" y="294"/>
                  <a:pt x="1092" y="296"/>
                  <a:pt x="1094" y="296"/>
                </a:cubicBezTo>
                <a:close/>
                <a:moveTo>
                  <a:pt x="1106" y="278"/>
                </a:moveTo>
                <a:cubicBezTo>
                  <a:pt x="1106" y="275"/>
                  <a:pt x="1104" y="273"/>
                  <a:pt x="1101" y="273"/>
                </a:cubicBezTo>
                <a:cubicBezTo>
                  <a:pt x="1099" y="273"/>
                  <a:pt x="1096" y="275"/>
                  <a:pt x="1096" y="278"/>
                </a:cubicBezTo>
                <a:cubicBezTo>
                  <a:pt x="1096" y="280"/>
                  <a:pt x="1099" y="282"/>
                  <a:pt x="1101" y="282"/>
                </a:cubicBezTo>
                <a:cubicBezTo>
                  <a:pt x="1104" y="282"/>
                  <a:pt x="1106" y="280"/>
                  <a:pt x="1106" y="278"/>
                </a:cubicBezTo>
                <a:close/>
                <a:moveTo>
                  <a:pt x="1108" y="287"/>
                </a:moveTo>
                <a:cubicBezTo>
                  <a:pt x="1105" y="287"/>
                  <a:pt x="1103" y="289"/>
                  <a:pt x="1103" y="291"/>
                </a:cubicBezTo>
                <a:cubicBezTo>
                  <a:pt x="1103" y="294"/>
                  <a:pt x="1105" y="296"/>
                  <a:pt x="1108" y="296"/>
                </a:cubicBezTo>
                <a:cubicBezTo>
                  <a:pt x="1110" y="296"/>
                  <a:pt x="1112" y="294"/>
                  <a:pt x="1112" y="291"/>
                </a:cubicBezTo>
                <a:cubicBezTo>
                  <a:pt x="1112" y="289"/>
                  <a:pt x="1110" y="287"/>
                  <a:pt x="1108" y="287"/>
                </a:cubicBezTo>
                <a:close/>
                <a:moveTo>
                  <a:pt x="1103" y="264"/>
                </a:moveTo>
                <a:cubicBezTo>
                  <a:pt x="1103" y="266"/>
                  <a:pt x="1105" y="268"/>
                  <a:pt x="1108" y="268"/>
                </a:cubicBezTo>
                <a:cubicBezTo>
                  <a:pt x="1110" y="268"/>
                  <a:pt x="1112" y="266"/>
                  <a:pt x="1112" y="264"/>
                </a:cubicBezTo>
                <a:cubicBezTo>
                  <a:pt x="1112" y="261"/>
                  <a:pt x="1110" y="259"/>
                  <a:pt x="1108" y="259"/>
                </a:cubicBezTo>
                <a:cubicBezTo>
                  <a:pt x="1105" y="259"/>
                  <a:pt x="1103" y="261"/>
                  <a:pt x="1103" y="264"/>
                </a:cubicBezTo>
                <a:close/>
                <a:moveTo>
                  <a:pt x="779" y="250"/>
                </a:moveTo>
                <a:cubicBezTo>
                  <a:pt x="779" y="248"/>
                  <a:pt x="777" y="246"/>
                  <a:pt x="774" y="246"/>
                </a:cubicBezTo>
                <a:cubicBezTo>
                  <a:pt x="772" y="246"/>
                  <a:pt x="770" y="248"/>
                  <a:pt x="770" y="250"/>
                </a:cubicBezTo>
                <a:cubicBezTo>
                  <a:pt x="770" y="253"/>
                  <a:pt x="772" y="255"/>
                  <a:pt x="774" y="255"/>
                </a:cubicBezTo>
                <a:cubicBezTo>
                  <a:pt x="777" y="255"/>
                  <a:pt x="779" y="253"/>
                  <a:pt x="779" y="250"/>
                </a:cubicBezTo>
                <a:close/>
                <a:moveTo>
                  <a:pt x="779" y="278"/>
                </a:moveTo>
                <a:cubicBezTo>
                  <a:pt x="779" y="275"/>
                  <a:pt x="777" y="273"/>
                  <a:pt x="774" y="273"/>
                </a:cubicBezTo>
                <a:cubicBezTo>
                  <a:pt x="772" y="273"/>
                  <a:pt x="770" y="275"/>
                  <a:pt x="770" y="278"/>
                </a:cubicBezTo>
                <a:cubicBezTo>
                  <a:pt x="770" y="280"/>
                  <a:pt x="772" y="282"/>
                  <a:pt x="774" y="282"/>
                </a:cubicBezTo>
                <a:cubicBezTo>
                  <a:pt x="777" y="282"/>
                  <a:pt x="779" y="280"/>
                  <a:pt x="779" y="278"/>
                </a:cubicBezTo>
                <a:close/>
                <a:moveTo>
                  <a:pt x="772" y="318"/>
                </a:moveTo>
                <a:cubicBezTo>
                  <a:pt x="772" y="316"/>
                  <a:pt x="770" y="314"/>
                  <a:pt x="767" y="314"/>
                </a:cubicBezTo>
                <a:cubicBezTo>
                  <a:pt x="765" y="314"/>
                  <a:pt x="763" y="316"/>
                  <a:pt x="763" y="318"/>
                </a:cubicBezTo>
                <a:cubicBezTo>
                  <a:pt x="763" y="321"/>
                  <a:pt x="765" y="323"/>
                  <a:pt x="767" y="323"/>
                </a:cubicBezTo>
                <a:cubicBezTo>
                  <a:pt x="770" y="323"/>
                  <a:pt x="772" y="321"/>
                  <a:pt x="772" y="318"/>
                </a:cubicBezTo>
                <a:close/>
                <a:moveTo>
                  <a:pt x="792" y="196"/>
                </a:moveTo>
                <a:cubicBezTo>
                  <a:pt x="792" y="193"/>
                  <a:pt x="790" y="191"/>
                  <a:pt x="788" y="191"/>
                </a:cubicBezTo>
                <a:cubicBezTo>
                  <a:pt x="785" y="191"/>
                  <a:pt x="783" y="193"/>
                  <a:pt x="783" y="196"/>
                </a:cubicBezTo>
                <a:cubicBezTo>
                  <a:pt x="783" y="198"/>
                  <a:pt x="785" y="200"/>
                  <a:pt x="788" y="200"/>
                </a:cubicBezTo>
                <a:cubicBezTo>
                  <a:pt x="790" y="200"/>
                  <a:pt x="792" y="198"/>
                  <a:pt x="792" y="196"/>
                </a:cubicBezTo>
                <a:close/>
                <a:moveTo>
                  <a:pt x="786" y="209"/>
                </a:moveTo>
                <a:cubicBezTo>
                  <a:pt x="786" y="207"/>
                  <a:pt x="784" y="205"/>
                  <a:pt x="781" y="205"/>
                </a:cubicBezTo>
                <a:cubicBezTo>
                  <a:pt x="778" y="205"/>
                  <a:pt x="776" y="207"/>
                  <a:pt x="776" y="209"/>
                </a:cubicBezTo>
                <a:cubicBezTo>
                  <a:pt x="776" y="212"/>
                  <a:pt x="778" y="214"/>
                  <a:pt x="781" y="214"/>
                </a:cubicBezTo>
                <a:cubicBezTo>
                  <a:pt x="784" y="214"/>
                  <a:pt x="786" y="212"/>
                  <a:pt x="786" y="209"/>
                </a:cubicBezTo>
                <a:close/>
                <a:moveTo>
                  <a:pt x="829" y="200"/>
                </a:moveTo>
                <a:cubicBezTo>
                  <a:pt x="831" y="200"/>
                  <a:pt x="833" y="198"/>
                  <a:pt x="833" y="196"/>
                </a:cubicBezTo>
                <a:cubicBezTo>
                  <a:pt x="833" y="193"/>
                  <a:pt x="831" y="191"/>
                  <a:pt x="829" y="191"/>
                </a:cubicBezTo>
                <a:cubicBezTo>
                  <a:pt x="826" y="191"/>
                  <a:pt x="824" y="193"/>
                  <a:pt x="824" y="196"/>
                </a:cubicBezTo>
                <a:cubicBezTo>
                  <a:pt x="824" y="198"/>
                  <a:pt x="826" y="200"/>
                  <a:pt x="829" y="200"/>
                </a:cubicBezTo>
                <a:close/>
                <a:moveTo>
                  <a:pt x="772" y="291"/>
                </a:moveTo>
                <a:cubicBezTo>
                  <a:pt x="772" y="289"/>
                  <a:pt x="770" y="287"/>
                  <a:pt x="767" y="287"/>
                </a:cubicBezTo>
                <a:cubicBezTo>
                  <a:pt x="765" y="287"/>
                  <a:pt x="763" y="289"/>
                  <a:pt x="763" y="291"/>
                </a:cubicBezTo>
                <a:cubicBezTo>
                  <a:pt x="763" y="294"/>
                  <a:pt x="765" y="296"/>
                  <a:pt x="767" y="296"/>
                </a:cubicBezTo>
                <a:cubicBezTo>
                  <a:pt x="770" y="296"/>
                  <a:pt x="772" y="294"/>
                  <a:pt x="772" y="291"/>
                </a:cubicBezTo>
                <a:close/>
                <a:moveTo>
                  <a:pt x="765" y="332"/>
                </a:moveTo>
                <a:cubicBezTo>
                  <a:pt x="765" y="330"/>
                  <a:pt x="763" y="328"/>
                  <a:pt x="761" y="328"/>
                </a:cubicBezTo>
                <a:cubicBezTo>
                  <a:pt x="758" y="328"/>
                  <a:pt x="756" y="330"/>
                  <a:pt x="756" y="332"/>
                </a:cubicBezTo>
                <a:cubicBezTo>
                  <a:pt x="756" y="335"/>
                  <a:pt x="758" y="337"/>
                  <a:pt x="761" y="337"/>
                </a:cubicBezTo>
                <a:cubicBezTo>
                  <a:pt x="763" y="337"/>
                  <a:pt x="765" y="335"/>
                  <a:pt x="765" y="332"/>
                </a:cubicBezTo>
                <a:close/>
                <a:moveTo>
                  <a:pt x="731" y="428"/>
                </a:moveTo>
                <a:cubicBezTo>
                  <a:pt x="731" y="425"/>
                  <a:pt x="729" y="423"/>
                  <a:pt x="727" y="423"/>
                </a:cubicBezTo>
                <a:cubicBezTo>
                  <a:pt x="724" y="423"/>
                  <a:pt x="722" y="425"/>
                  <a:pt x="722" y="428"/>
                </a:cubicBezTo>
                <a:cubicBezTo>
                  <a:pt x="722" y="430"/>
                  <a:pt x="724" y="432"/>
                  <a:pt x="727" y="432"/>
                </a:cubicBezTo>
                <a:cubicBezTo>
                  <a:pt x="729" y="432"/>
                  <a:pt x="731" y="430"/>
                  <a:pt x="731" y="428"/>
                </a:cubicBezTo>
                <a:close/>
                <a:moveTo>
                  <a:pt x="745" y="400"/>
                </a:moveTo>
                <a:cubicBezTo>
                  <a:pt x="745" y="398"/>
                  <a:pt x="743" y="396"/>
                  <a:pt x="740" y="396"/>
                </a:cubicBezTo>
                <a:cubicBezTo>
                  <a:pt x="738" y="396"/>
                  <a:pt x="736" y="398"/>
                  <a:pt x="736" y="400"/>
                </a:cubicBezTo>
                <a:cubicBezTo>
                  <a:pt x="736" y="403"/>
                  <a:pt x="738" y="405"/>
                  <a:pt x="740" y="405"/>
                </a:cubicBezTo>
                <a:cubicBezTo>
                  <a:pt x="743" y="405"/>
                  <a:pt x="745" y="403"/>
                  <a:pt x="745" y="400"/>
                </a:cubicBezTo>
                <a:close/>
                <a:moveTo>
                  <a:pt x="738" y="414"/>
                </a:moveTo>
                <a:cubicBezTo>
                  <a:pt x="738" y="411"/>
                  <a:pt x="736" y="409"/>
                  <a:pt x="733" y="409"/>
                </a:cubicBezTo>
                <a:cubicBezTo>
                  <a:pt x="731" y="409"/>
                  <a:pt x="729" y="411"/>
                  <a:pt x="729" y="414"/>
                </a:cubicBezTo>
                <a:cubicBezTo>
                  <a:pt x="729" y="416"/>
                  <a:pt x="731" y="418"/>
                  <a:pt x="733" y="418"/>
                </a:cubicBezTo>
                <a:cubicBezTo>
                  <a:pt x="736" y="418"/>
                  <a:pt x="738" y="416"/>
                  <a:pt x="738" y="414"/>
                </a:cubicBezTo>
                <a:close/>
                <a:moveTo>
                  <a:pt x="665" y="164"/>
                </a:moveTo>
                <a:cubicBezTo>
                  <a:pt x="663" y="164"/>
                  <a:pt x="661" y="166"/>
                  <a:pt x="661" y="168"/>
                </a:cubicBezTo>
                <a:cubicBezTo>
                  <a:pt x="661" y="171"/>
                  <a:pt x="663" y="173"/>
                  <a:pt x="665" y="173"/>
                </a:cubicBezTo>
                <a:cubicBezTo>
                  <a:pt x="668" y="173"/>
                  <a:pt x="670" y="171"/>
                  <a:pt x="670" y="168"/>
                </a:cubicBezTo>
                <a:cubicBezTo>
                  <a:pt x="670" y="166"/>
                  <a:pt x="668" y="164"/>
                  <a:pt x="665" y="164"/>
                </a:cubicBezTo>
                <a:close/>
                <a:moveTo>
                  <a:pt x="758" y="346"/>
                </a:moveTo>
                <a:cubicBezTo>
                  <a:pt x="758" y="343"/>
                  <a:pt x="756" y="341"/>
                  <a:pt x="754" y="341"/>
                </a:cubicBezTo>
                <a:cubicBezTo>
                  <a:pt x="751" y="341"/>
                  <a:pt x="749" y="343"/>
                  <a:pt x="749" y="346"/>
                </a:cubicBezTo>
                <a:cubicBezTo>
                  <a:pt x="749" y="348"/>
                  <a:pt x="751" y="350"/>
                  <a:pt x="754" y="350"/>
                </a:cubicBezTo>
                <a:cubicBezTo>
                  <a:pt x="756" y="350"/>
                  <a:pt x="758" y="348"/>
                  <a:pt x="758" y="346"/>
                </a:cubicBezTo>
                <a:close/>
                <a:moveTo>
                  <a:pt x="774" y="218"/>
                </a:moveTo>
                <a:cubicBezTo>
                  <a:pt x="772" y="218"/>
                  <a:pt x="770" y="220"/>
                  <a:pt x="770" y="223"/>
                </a:cubicBezTo>
                <a:cubicBezTo>
                  <a:pt x="770" y="225"/>
                  <a:pt x="772" y="227"/>
                  <a:pt x="774" y="227"/>
                </a:cubicBezTo>
                <a:cubicBezTo>
                  <a:pt x="777" y="227"/>
                  <a:pt x="779" y="225"/>
                  <a:pt x="779" y="223"/>
                </a:cubicBezTo>
                <a:cubicBezTo>
                  <a:pt x="779" y="220"/>
                  <a:pt x="777" y="218"/>
                  <a:pt x="774" y="218"/>
                </a:cubicBezTo>
                <a:close/>
                <a:moveTo>
                  <a:pt x="790" y="237"/>
                </a:moveTo>
                <a:cubicBezTo>
                  <a:pt x="790" y="239"/>
                  <a:pt x="792" y="241"/>
                  <a:pt x="795" y="241"/>
                </a:cubicBezTo>
                <a:cubicBezTo>
                  <a:pt x="797" y="241"/>
                  <a:pt x="799" y="239"/>
                  <a:pt x="799" y="237"/>
                </a:cubicBezTo>
                <a:cubicBezTo>
                  <a:pt x="799" y="234"/>
                  <a:pt x="797" y="232"/>
                  <a:pt x="795" y="232"/>
                </a:cubicBezTo>
                <a:cubicBezTo>
                  <a:pt x="792" y="232"/>
                  <a:pt x="790" y="234"/>
                  <a:pt x="790" y="237"/>
                </a:cubicBezTo>
                <a:close/>
                <a:moveTo>
                  <a:pt x="813" y="237"/>
                </a:moveTo>
                <a:cubicBezTo>
                  <a:pt x="813" y="234"/>
                  <a:pt x="811" y="232"/>
                  <a:pt x="808" y="232"/>
                </a:cubicBezTo>
                <a:cubicBezTo>
                  <a:pt x="806" y="232"/>
                  <a:pt x="804" y="234"/>
                  <a:pt x="804" y="237"/>
                </a:cubicBezTo>
                <a:cubicBezTo>
                  <a:pt x="804" y="239"/>
                  <a:pt x="806" y="241"/>
                  <a:pt x="808" y="241"/>
                </a:cubicBezTo>
                <a:cubicBezTo>
                  <a:pt x="811" y="241"/>
                  <a:pt x="813" y="239"/>
                  <a:pt x="813" y="237"/>
                </a:cubicBezTo>
                <a:close/>
                <a:moveTo>
                  <a:pt x="801" y="255"/>
                </a:moveTo>
                <a:cubicBezTo>
                  <a:pt x="804" y="255"/>
                  <a:pt x="806" y="253"/>
                  <a:pt x="806" y="250"/>
                </a:cubicBezTo>
                <a:cubicBezTo>
                  <a:pt x="806" y="248"/>
                  <a:pt x="804" y="246"/>
                  <a:pt x="801" y="246"/>
                </a:cubicBezTo>
                <a:cubicBezTo>
                  <a:pt x="799" y="246"/>
                  <a:pt x="797" y="248"/>
                  <a:pt x="797" y="250"/>
                </a:cubicBezTo>
                <a:cubicBezTo>
                  <a:pt x="797" y="253"/>
                  <a:pt x="799" y="255"/>
                  <a:pt x="801" y="255"/>
                </a:cubicBezTo>
                <a:close/>
                <a:moveTo>
                  <a:pt x="813" y="209"/>
                </a:moveTo>
                <a:cubicBezTo>
                  <a:pt x="813" y="207"/>
                  <a:pt x="811" y="205"/>
                  <a:pt x="808" y="205"/>
                </a:cubicBezTo>
                <a:cubicBezTo>
                  <a:pt x="806" y="205"/>
                  <a:pt x="804" y="207"/>
                  <a:pt x="804" y="209"/>
                </a:cubicBezTo>
                <a:cubicBezTo>
                  <a:pt x="804" y="212"/>
                  <a:pt x="806" y="214"/>
                  <a:pt x="808" y="214"/>
                </a:cubicBezTo>
                <a:cubicBezTo>
                  <a:pt x="811" y="214"/>
                  <a:pt x="813" y="212"/>
                  <a:pt x="813" y="209"/>
                </a:cubicBezTo>
                <a:close/>
                <a:moveTo>
                  <a:pt x="826" y="182"/>
                </a:moveTo>
                <a:cubicBezTo>
                  <a:pt x="826" y="179"/>
                  <a:pt x="824" y="177"/>
                  <a:pt x="822" y="177"/>
                </a:cubicBezTo>
                <a:cubicBezTo>
                  <a:pt x="819" y="177"/>
                  <a:pt x="817" y="179"/>
                  <a:pt x="817" y="182"/>
                </a:cubicBezTo>
                <a:cubicBezTo>
                  <a:pt x="817" y="185"/>
                  <a:pt x="819" y="187"/>
                  <a:pt x="822" y="187"/>
                </a:cubicBezTo>
                <a:cubicBezTo>
                  <a:pt x="824" y="187"/>
                  <a:pt x="826" y="185"/>
                  <a:pt x="826" y="182"/>
                </a:cubicBezTo>
                <a:close/>
                <a:moveTo>
                  <a:pt x="820" y="196"/>
                </a:moveTo>
                <a:cubicBezTo>
                  <a:pt x="820" y="193"/>
                  <a:pt x="818" y="191"/>
                  <a:pt x="815" y="191"/>
                </a:cubicBezTo>
                <a:cubicBezTo>
                  <a:pt x="813" y="191"/>
                  <a:pt x="810" y="193"/>
                  <a:pt x="810" y="196"/>
                </a:cubicBezTo>
                <a:cubicBezTo>
                  <a:pt x="810" y="198"/>
                  <a:pt x="813" y="200"/>
                  <a:pt x="815" y="200"/>
                </a:cubicBezTo>
                <a:cubicBezTo>
                  <a:pt x="818" y="200"/>
                  <a:pt x="820" y="198"/>
                  <a:pt x="820" y="196"/>
                </a:cubicBezTo>
                <a:close/>
                <a:moveTo>
                  <a:pt x="795" y="214"/>
                </a:moveTo>
                <a:cubicBezTo>
                  <a:pt x="797" y="214"/>
                  <a:pt x="799" y="212"/>
                  <a:pt x="799" y="209"/>
                </a:cubicBezTo>
                <a:cubicBezTo>
                  <a:pt x="799" y="207"/>
                  <a:pt x="797" y="205"/>
                  <a:pt x="795" y="205"/>
                </a:cubicBezTo>
                <a:cubicBezTo>
                  <a:pt x="792" y="205"/>
                  <a:pt x="790" y="207"/>
                  <a:pt x="790" y="209"/>
                </a:cubicBezTo>
                <a:cubicBezTo>
                  <a:pt x="790" y="212"/>
                  <a:pt x="792" y="214"/>
                  <a:pt x="795" y="214"/>
                </a:cubicBezTo>
                <a:close/>
                <a:moveTo>
                  <a:pt x="806" y="196"/>
                </a:moveTo>
                <a:cubicBezTo>
                  <a:pt x="806" y="193"/>
                  <a:pt x="804" y="191"/>
                  <a:pt x="801" y="191"/>
                </a:cubicBezTo>
                <a:cubicBezTo>
                  <a:pt x="799" y="191"/>
                  <a:pt x="797" y="193"/>
                  <a:pt x="797" y="196"/>
                </a:cubicBezTo>
                <a:cubicBezTo>
                  <a:pt x="797" y="198"/>
                  <a:pt x="799" y="200"/>
                  <a:pt x="801" y="200"/>
                </a:cubicBezTo>
                <a:cubicBezTo>
                  <a:pt x="804" y="200"/>
                  <a:pt x="806" y="198"/>
                  <a:pt x="806" y="196"/>
                </a:cubicBezTo>
                <a:close/>
                <a:moveTo>
                  <a:pt x="797" y="223"/>
                </a:moveTo>
                <a:cubicBezTo>
                  <a:pt x="797" y="225"/>
                  <a:pt x="799" y="227"/>
                  <a:pt x="801" y="227"/>
                </a:cubicBezTo>
                <a:cubicBezTo>
                  <a:pt x="804" y="227"/>
                  <a:pt x="806" y="225"/>
                  <a:pt x="806" y="223"/>
                </a:cubicBezTo>
                <a:cubicBezTo>
                  <a:pt x="806" y="220"/>
                  <a:pt x="804" y="218"/>
                  <a:pt x="801" y="218"/>
                </a:cubicBezTo>
                <a:cubicBezTo>
                  <a:pt x="799" y="218"/>
                  <a:pt x="797" y="220"/>
                  <a:pt x="797" y="223"/>
                </a:cubicBezTo>
                <a:close/>
                <a:moveTo>
                  <a:pt x="815" y="173"/>
                </a:moveTo>
                <a:cubicBezTo>
                  <a:pt x="818" y="173"/>
                  <a:pt x="820" y="171"/>
                  <a:pt x="820" y="168"/>
                </a:cubicBezTo>
                <a:cubicBezTo>
                  <a:pt x="820" y="166"/>
                  <a:pt x="818" y="164"/>
                  <a:pt x="815" y="164"/>
                </a:cubicBezTo>
                <a:cubicBezTo>
                  <a:pt x="813" y="164"/>
                  <a:pt x="810" y="166"/>
                  <a:pt x="810" y="168"/>
                </a:cubicBezTo>
                <a:cubicBezTo>
                  <a:pt x="810" y="171"/>
                  <a:pt x="813" y="173"/>
                  <a:pt x="815" y="173"/>
                </a:cubicBezTo>
                <a:close/>
                <a:moveTo>
                  <a:pt x="801" y="164"/>
                </a:moveTo>
                <a:cubicBezTo>
                  <a:pt x="799" y="164"/>
                  <a:pt x="797" y="166"/>
                  <a:pt x="797" y="168"/>
                </a:cubicBezTo>
                <a:cubicBezTo>
                  <a:pt x="797" y="171"/>
                  <a:pt x="799" y="173"/>
                  <a:pt x="801" y="173"/>
                </a:cubicBezTo>
                <a:cubicBezTo>
                  <a:pt x="804" y="173"/>
                  <a:pt x="806" y="171"/>
                  <a:pt x="806" y="168"/>
                </a:cubicBezTo>
                <a:cubicBezTo>
                  <a:pt x="806" y="166"/>
                  <a:pt x="804" y="164"/>
                  <a:pt x="801" y="164"/>
                </a:cubicBezTo>
                <a:close/>
                <a:moveTo>
                  <a:pt x="790" y="182"/>
                </a:moveTo>
                <a:cubicBezTo>
                  <a:pt x="790" y="185"/>
                  <a:pt x="792" y="187"/>
                  <a:pt x="795" y="187"/>
                </a:cubicBezTo>
                <a:cubicBezTo>
                  <a:pt x="797" y="187"/>
                  <a:pt x="799" y="185"/>
                  <a:pt x="799" y="182"/>
                </a:cubicBezTo>
                <a:cubicBezTo>
                  <a:pt x="799" y="179"/>
                  <a:pt x="797" y="177"/>
                  <a:pt x="795" y="177"/>
                </a:cubicBezTo>
                <a:cubicBezTo>
                  <a:pt x="792" y="177"/>
                  <a:pt x="790" y="179"/>
                  <a:pt x="790" y="182"/>
                </a:cubicBezTo>
                <a:close/>
                <a:moveTo>
                  <a:pt x="804" y="182"/>
                </a:moveTo>
                <a:cubicBezTo>
                  <a:pt x="804" y="185"/>
                  <a:pt x="806" y="187"/>
                  <a:pt x="808" y="187"/>
                </a:cubicBezTo>
                <a:cubicBezTo>
                  <a:pt x="811" y="187"/>
                  <a:pt x="813" y="185"/>
                  <a:pt x="813" y="182"/>
                </a:cubicBezTo>
                <a:cubicBezTo>
                  <a:pt x="813" y="179"/>
                  <a:pt x="811" y="177"/>
                  <a:pt x="808" y="177"/>
                </a:cubicBezTo>
                <a:cubicBezTo>
                  <a:pt x="806" y="177"/>
                  <a:pt x="804" y="179"/>
                  <a:pt x="804" y="182"/>
                </a:cubicBezTo>
                <a:close/>
                <a:moveTo>
                  <a:pt x="667" y="482"/>
                </a:moveTo>
                <a:cubicBezTo>
                  <a:pt x="667" y="485"/>
                  <a:pt x="670" y="487"/>
                  <a:pt x="672" y="487"/>
                </a:cubicBezTo>
                <a:cubicBezTo>
                  <a:pt x="675" y="487"/>
                  <a:pt x="677" y="485"/>
                  <a:pt x="677" y="482"/>
                </a:cubicBezTo>
                <a:cubicBezTo>
                  <a:pt x="677" y="480"/>
                  <a:pt x="675" y="478"/>
                  <a:pt x="672" y="478"/>
                </a:cubicBezTo>
                <a:cubicBezTo>
                  <a:pt x="670" y="478"/>
                  <a:pt x="667" y="480"/>
                  <a:pt x="667" y="482"/>
                </a:cubicBezTo>
                <a:close/>
                <a:moveTo>
                  <a:pt x="615" y="332"/>
                </a:moveTo>
                <a:cubicBezTo>
                  <a:pt x="615" y="330"/>
                  <a:pt x="613" y="328"/>
                  <a:pt x="611" y="328"/>
                </a:cubicBezTo>
                <a:cubicBezTo>
                  <a:pt x="608" y="328"/>
                  <a:pt x="606" y="330"/>
                  <a:pt x="606" y="332"/>
                </a:cubicBezTo>
                <a:cubicBezTo>
                  <a:pt x="606" y="335"/>
                  <a:pt x="608" y="337"/>
                  <a:pt x="611" y="337"/>
                </a:cubicBezTo>
                <a:cubicBezTo>
                  <a:pt x="613" y="337"/>
                  <a:pt x="615" y="335"/>
                  <a:pt x="615" y="332"/>
                </a:cubicBezTo>
                <a:close/>
                <a:moveTo>
                  <a:pt x="1081" y="287"/>
                </a:moveTo>
                <a:cubicBezTo>
                  <a:pt x="1078" y="287"/>
                  <a:pt x="1076" y="289"/>
                  <a:pt x="1076" y="291"/>
                </a:cubicBezTo>
                <a:cubicBezTo>
                  <a:pt x="1076" y="294"/>
                  <a:pt x="1078" y="296"/>
                  <a:pt x="1081" y="296"/>
                </a:cubicBezTo>
                <a:cubicBezTo>
                  <a:pt x="1083" y="296"/>
                  <a:pt x="1085" y="294"/>
                  <a:pt x="1085" y="291"/>
                </a:cubicBezTo>
                <a:cubicBezTo>
                  <a:pt x="1085" y="289"/>
                  <a:pt x="1083" y="287"/>
                  <a:pt x="1081" y="287"/>
                </a:cubicBezTo>
                <a:close/>
                <a:moveTo>
                  <a:pt x="604" y="350"/>
                </a:moveTo>
                <a:cubicBezTo>
                  <a:pt x="606" y="350"/>
                  <a:pt x="608" y="348"/>
                  <a:pt x="608" y="346"/>
                </a:cubicBezTo>
                <a:cubicBezTo>
                  <a:pt x="608" y="343"/>
                  <a:pt x="606" y="341"/>
                  <a:pt x="604" y="341"/>
                </a:cubicBezTo>
                <a:cubicBezTo>
                  <a:pt x="601" y="341"/>
                  <a:pt x="599" y="343"/>
                  <a:pt x="599" y="346"/>
                </a:cubicBezTo>
                <a:cubicBezTo>
                  <a:pt x="599" y="348"/>
                  <a:pt x="601" y="350"/>
                  <a:pt x="604" y="350"/>
                </a:cubicBezTo>
                <a:close/>
                <a:moveTo>
                  <a:pt x="604" y="323"/>
                </a:moveTo>
                <a:cubicBezTo>
                  <a:pt x="606" y="323"/>
                  <a:pt x="608" y="321"/>
                  <a:pt x="608" y="318"/>
                </a:cubicBezTo>
                <a:cubicBezTo>
                  <a:pt x="608" y="316"/>
                  <a:pt x="606" y="314"/>
                  <a:pt x="604" y="314"/>
                </a:cubicBezTo>
                <a:cubicBezTo>
                  <a:pt x="601" y="314"/>
                  <a:pt x="599" y="316"/>
                  <a:pt x="599" y="318"/>
                </a:cubicBezTo>
                <a:cubicBezTo>
                  <a:pt x="599" y="321"/>
                  <a:pt x="601" y="323"/>
                  <a:pt x="604" y="323"/>
                </a:cubicBezTo>
                <a:close/>
                <a:moveTo>
                  <a:pt x="602" y="332"/>
                </a:moveTo>
                <a:cubicBezTo>
                  <a:pt x="602" y="330"/>
                  <a:pt x="600" y="328"/>
                  <a:pt x="597" y="328"/>
                </a:cubicBezTo>
                <a:cubicBezTo>
                  <a:pt x="595" y="328"/>
                  <a:pt x="593" y="330"/>
                  <a:pt x="593" y="332"/>
                </a:cubicBezTo>
                <a:cubicBezTo>
                  <a:pt x="593" y="335"/>
                  <a:pt x="595" y="337"/>
                  <a:pt x="597" y="337"/>
                </a:cubicBezTo>
                <a:cubicBezTo>
                  <a:pt x="600" y="337"/>
                  <a:pt x="602" y="335"/>
                  <a:pt x="602" y="332"/>
                </a:cubicBezTo>
                <a:close/>
                <a:moveTo>
                  <a:pt x="1081" y="450"/>
                </a:moveTo>
                <a:cubicBezTo>
                  <a:pt x="1078" y="450"/>
                  <a:pt x="1076" y="452"/>
                  <a:pt x="1076" y="455"/>
                </a:cubicBezTo>
                <a:cubicBezTo>
                  <a:pt x="1076" y="457"/>
                  <a:pt x="1078" y="459"/>
                  <a:pt x="1081" y="459"/>
                </a:cubicBezTo>
                <a:cubicBezTo>
                  <a:pt x="1083" y="459"/>
                  <a:pt x="1085" y="457"/>
                  <a:pt x="1085" y="455"/>
                </a:cubicBezTo>
                <a:cubicBezTo>
                  <a:pt x="1085" y="452"/>
                  <a:pt x="1083" y="450"/>
                  <a:pt x="1081" y="450"/>
                </a:cubicBezTo>
                <a:close/>
                <a:moveTo>
                  <a:pt x="1081" y="232"/>
                </a:moveTo>
                <a:cubicBezTo>
                  <a:pt x="1078" y="232"/>
                  <a:pt x="1076" y="234"/>
                  <a:pt x="1076" y="237"/>
                </a:cubicBezTo>
                <a:cubicBezTo>
                  <a:pt x="1076" y="239"/>
                  <a:pt x="1078" y="241"/>
                  <a:pt x="1081" y="241"/>
                </a:cubicBezTo>
                <a:cubicBezTo>
                  <a:pt x="1083" y="241"/>
                  <a:pt x="1085" y="239"/>
                  <a:pt x="1085" y="237"/>
                </a:cubicBezTo>
                <a:cubicBezTo>
                  <a:pt x="1085" y="234"/>
                  <a:pt x="1083" y="232"/>
                  <a:pt x="1081" y="232"/>
                </a:cubicBezTo>
                <a:close/>
                <a:moveTo>
                  <a:pt x="586" y="291"/>
                </a:moveTo>
                <a:cubicBezTo>
                  <a:pt x="586" y="294"/>
                  <a:pt x="588" y="296"/>
                  <a:pt x="590" y="296"/>
                </a:cubicBezTo>
                <a:cubicBezTo>
                  <a:pt x="593" y="296"/>
                  <a:pt x="595" y="294"/>
                  <a:pt x="595" y="291"/>
                </a:cubicBezTo>
                <a:cubicBezTo>
                  <a:pt x="595" y="289"/>
                  <a:pt x="593" y="287"/>
                  <a:pt x="590" y="287"/>
                </a:cubicBezTo>
                <a:cubicBezTo>
                  <a:pt x="588" y="287"/>
                  <a:pt x="586" y="289"/>
                  <a:pt x="586" y="291"/>
                </a:cubicBezTo>
                <a:close/>
                <a:moveTo>
                  <a:pt x="597" y="273"/>
                </a:moveTo>
                <a:cubicBezTo>
                  <a:pt x="595" y="273"/>
                  <a:pt x="593" y="275"/>
                  <a:pt x="593" y="278"/>
                </a:cubicBezTo>
                <a:cubicBezTo>
                  <a:pt x="593" y="280"/>
                  <a:pt x="595" y="282"/>
                  <a:pt x="597" y="282"/>
                </a:cubicBezTo>
                <a:cubicBezTo>
                  <a:pt x="600" y="282"/>
                  <a:pt x="602" y="280"/>
                  <a:pt x="602" y="278"/>
                </a:cubicBezTo>
                <a:cubicBezTo>
                  <a:pt x="602" y="275"/>
                  <a:pt x="600" y="273"/>
                  <a:pt x="597" y="273"/>
                </a:cubicBezTo>
                <a:close/>
                <a:moveTo>
                  <a:pt x="608" y="291"/>
                </a:moveTo>
                <a:cubicBezTo>
                  <a:pt x="608" y="289"/>
                  <a:pt x="606" y="287"/>
                  <a:pt x="604" y="287"/>
                </a:cubicBezTo>
                <a:cubicBezTo>
                  <a:pt x="601" y="287"/>
                  <a:pt x="599" y="289"/>
                  <a:pt x="599" y="291"/>
                </a:cubicBezTo>
                <a:cubicBezTo>
                  <a:pt x="599" y="294"/>
                  <a:pt x="601" y="296"/>
                  <a:pt x="604" y="296"/>
                </a:cubicBezTo>
                <a:cubicBezTo>
                  <a:pt x="606" y="296"/>
                  <a:pt x="608" y="294"/>
                  <a:pt x="608" y="291"/>
                </a:cubicBezTo>
                <a:close/>
                <a:moveTo>
                  <a:pt x="590" y="350"/>
                </a:moveTo>
                <a:cubicBezTo>
                  <a:pt x="593" y="350"/>
                  <a:pt x="595" y="348"/>
                  <a:pt x="595" y="346"/>
                </a:cubicBezTo>
                <a:cubicBezTo>
                  <a:pt x="595" y="343"/>
                  <a:pt x="593" y="341"/>
                  <a:pt x="590" y="341"/>
                </a:cubicBezTo>
                <a:cubicBezTo>
                  <a:pt x="588" y="341"/>
                  <a:pt x="586" y="343"/>
                  <a:pt x="586" y="346"/>
                </a:cubicBezTo>
                <a:cubicBezTo>
                  <a:pt x="586" y="348"/>
                  <a:pt x="588" y="350"/>
                  <a:pt x="590" y="350"/>
                </a:cubicBezTo>
                <a:close/>
                <a:moveTo>
                  <a:pt x="1022" y="346"/>
                </a:moveTo>
                <a:cubicBezTo>
                  <a:pt x="1022" y="348"/>
                  <a:pt x="1024" y="350"/>
                  <a:pt x="1026" y="350"/>
                </a:cubicBezTo>
                <a:cubicBezTo>
                  <a:pt x="1029" y="350"/>
                  <a:pt x="1031" y="348"/>
                  <a:pt x="1031" y="346"/>
                </a:cubicBezTo>
                <a:cubicBezTo>
                  <a:pt x="1031" y="343"/>
                  <a:pt x="1029" y="341"/>
                  <a:pt x="1026" y="341"/>
                </a:cubicBezTo>
                <a:cubicBezTo>
                  <a:pt x="1024" y="341"/>
                  <a:pt x="1022" y="343"/>
                  <a:pt x="1022" y="346"/>
                </a:cubicBezTo>
                <a:close/>
                <a:moveTo>
                  <a:pt x="579" y="305"/>
                </a:moveTo>
                <a:cubicBezTo>
                  <a:pt x="579" y="307"/>
                  <a:pt x="581" y="309"/>
                  <a:pt x="583" y="309"/>
                </a:cubicBezTo>
                <a:cubicBezTo>
                  <a:pt x="586" y="309"/>
                  <a:pt x="588" y="307"/>
                  <a:pt x="588" y="305"/>
                </a:cubicBezTo>
                <a:cubicBezTo>
                  <a:pt x="588" y="302"/>
                  <a:pt x="586" y="300"/>
                  <a:pt x="583" y="300"/>
                </a:cubicBezTo>
                <a:cubicBezTo>
                  <a:pt x="581" y="300"/>
                  <a:pt x="579" y="302"/>
                  <a:pt x="579" y="305"/>
                </a:cubicBezTo>
                <a:close/>
                <a:moveTo>
                  <a:pt x="579" y="332"/>
                </a:moveTo>
                <a:cubicBezTo>
                  <a:pt x="579" y="335"/>
                  <a:pt x="581" y="337"/>
                  <a:pt x="583" y="337"/>
                </a:cubicBezTo>
                <a:cubicBezTo>
                  <a:pt x="586" y="337"/>
                  <a:pt x="588" y="335"/>
                  <a:pt x="588" y="332"/>
                </a:cubicBezTo>
                <a:cubicBezTo>
                  <a:pt x="588" y="330"/>
                  <a:pt x="586" y="328"/>
                  <a:pt x="583" y="328"/>
                </a:cubicBezTo>
                <a:cubicBezTo>
                  <a:pt x="581" y="328"/>
                  <a:pt x="579" y="330"/>
                  <a:pt x="579" y="332"/>
                </a:cubicBezTo>
                <a:close/>
                <a:moveTo>
                  <a:pt x="1031" y="318"/>
                </a:moveTo>
                <a:cubicBezTo>
                  <a:pt x="1031" y="316"/>
                  <a:pt x="1029" y="314"/>
                  <a:pt x="1026" y="314"/>
                </a:cubicBezTo>
                <a:cubicBezTo>
                  <a:pt x="1024" y="314"/>
                  <a:pt x="1022" y="316"/>
                  <a:pt x="1022" y="318"/>
                </a:cubicBezTo>
                <a:cubicBezTo>
                  <a:pt x="1022" y="321"/>
                  <a:pt x="1024" y="323"/>
                  <a:pt x="1026" y="323"/>
                </a:cubicBezTo>
                <a:cubicBezTo>
                  <a:pt x="1029" y="323"/>
                  <a:pt x="1031" y="321"/>
                  <a:pt x="1031" y="318"/>
                </a:cubicBezTo>
                <a:close/>
                <a:moveTo>
                  <a:pt x="688" y="332"/>
                </a:moveTo>
                <a:cubicBezTo>
                  <a:pt x="688" y="335"/>
                  <a:pt x="690" y="337"/>
                  <a:pt x="692" y="337"/>
                </a:cubicBezTo>
                <a:cubicBezTo>
                  <a:pt x="695" y="337"/>
                  <a:pt x="697" y="335"/>
                  <a:pt x="697" y="332"/>
                </a:cubicBezTo>
                <a:cubicBezTo>
                  <a:pt x="697" y="330"/>
                  <a:pt x="695" y="328"/>
                  <a:pt x="692" y="328"/>
                </a:cubicBezTo>
                <a:cubicBezTo>
                  <a:pt x="690" y="328"/>
                  <a:pt x="688" y="330"/>
                  <a:pt x="688" y="332"/>
                </a:cubicBezTo>
                <a:close/>
                <a:moveTo>
                  <a:pt x="704" y="318"/>
                </a:moveTo>
                <a:cubicBezTo>
                  <a:pt x="704" y="316"/>
                  <a:pt x="702" y="314"/>
                  <a:pt x="699" y="314"/>
                </a:cubicBezTo>
                <a:cubicBezTo>
                  <a:pt x="697" y="314"/>
                  <a:pt x="695" y="316"/>
                  <a:pt x="695" y="318"/>
                </a:cubicBezTo>
                <a:cubicBezTo>
                  <a:pt x="695" y="321"/>
                  <a:pt x="697" y="323"/>
                  <a:pt x="699" y="323"/>
                </a:cubicBezTo>
                <a:cubicBezTo>
                  <a:pt x="702" y="323"/>
                  <a:pt x="704" y="321"/>
                  <a:pt x="704" y="318"/>
                </a:cubicBezTo>
                <a:close/>
                <a:moveTo>
                  <a:pt x="692" y="355"/>
                </a:moveTo>
                <a:cubicBezTo>
                  <a:pt x="690" y="355"/>
                  <a:pt x="688" y="357"/>
                  <a:pt x="688" y="359"/>
                </a:cubicBezTo>
                <a:cubicBezTo>
                  <a:pt x="688" y="362"/>
                  <a:pt x="690" y="364"/>
                  <a:pt x="692" y="364"/>
                </a:cubicBezTo>
                <a:cubicBezTo>
                  <a:pt x="695" y="364"/>
                  <a:pt x="697" y="362"/>
                  <a:pt x="697" y="359"/>
                </a:cubicBezTo>
                <a:cubicBezTo>
                  <a:pt x="697" y="357"/>
                  <a:pt x="695" y="355"/>
                  <a:pt x="692" y="355"/>
                </a:cubicBezTo>
                <a:close/>
                <a:moveTo>
                  <a:pt x="681" y="346"/>
                </a:moveTo>
                <a:cubicBezTo>
                  <a:pt x="681" y="348"/>
                  <a:pt x="683" y="350"/>
                  <a:pt x="686" y="350"/>
                </a:cubicBezTo>
                <a:cubicBezTo>
                  <a:pt x="688" y="350"/>
                  <a:pt x="690" y="348"/>
                  <a:pt x="690" y="346"/>
                </a:cubicBezTo>
                <a:cubicBezTo>
                  <a:pt x="690" y="343"/>
                  <a:pt x="688" y="341"/>
                  <a:pt x="686" y="341"/>
                </a:cubicBezTo>
                <a:cubicBezTo>
                  <a:pt x="683" y="341"/>
                  <a:pt x="681" y="343"/>
                  <a:pt x="681" y="346"/>
                </a:cubicBezTo>
                <a:close/>
                <a:moveTo>
                  <a:pt x="704" y="346"/>
                </a:moveTo>
                <a:cubicBezTo>
                  <a:pt x="704" y="343"/>
                  <a:pt x="702" y="341"/>
                  <a:pt x="699" y="341"/>
                </a:cubicBezTo>
                <a:cubicBezTo>
                  <a:pt x="697" y="341"/>
                  <a:pt x="695" y="343"/>
                  <a:pt x="695" y="346"/>
                </a:cubicBezTo>
                <a:cubicBezTo>
                  <a:pt x="695" y="348"/>
                  <a:pt x="697" y="350"/>
                  <a:pt x="699" y="350"/>
                </a:cubicBezTo>
                <a:cubicBezTo>
                  <a:pt x="702" y="350"/>
                  <a:pt x="704" y="348"/>
                  <a:pt x="704" y="346"/>
                </a:cubicBezTo>
                <a:close/>
                <a:moveTo>
                  <a:pt x="674" y="359"/>
                </a:moveTo>
                <a:cubicBezTo>
                  <a:pt x="674" y="362"/>
                  <a:pt x="676" y="364"/>
                  <a:pt x="679" y="364"/>
                </a:cubicBezTo>
                <a:cubicBezTo>
                  <a:pt x="681" y="364"/>
                  <a:pt x="683" y="362"/>
                  <a:pt x="683" y="359"/>
                </a:cubicBezTo>
                <a:cubicBezTo>
                  <a:pt x="683" y="357"/>
                  <a:pt x="681" y="355"/>
                  <a:pt x="679" y="355"/>
                </a:cubicBezTo>
                <a:cubicBezTo>
                  <a:pt x="676" y="355"/>
                  <a:pt x="674" y="357"/>
                  <a:pt x="674" y="359"/>
                </a:cubicBezTo>
                <a:close/>
                <a:moveTo>
                  <a:pt x="736" y="291"/>
                </a:moveTo>
                <a:cubicBezTo>
                  <a:pt x="736" y="294"/>
                  <a:pt x="738" y="296"/>
                  <a:pt x="740" y="296"/>
                </a:cubicBezTo>
                <a:cubicBezTo>
                  <a:pt x="743" y="296"/>
                  <a:pt x="745" y="294"/>
                  <a:pt x="745" y="291"/>
                </a:cubicBezTo>
                <a:cubicBezTo>
                  <a:pt x="745" y="289"/>
                  <a:pt x="743" y="287"/>
                  <a:pt x="740" y="287"/>
                </a:cubicBezTo>
                <a:cubicBezTo>
                  <a:pt x="738" y="287"/>
                  <a:pt x="736" y="289"/>
                  <a:pt x="736" y="291"/>
                </a:cubicBezTo>
                <a:close/>
                <a:moveTo>
                  <a:pt x="747" y="282"/>
                </a:moveTo>
                <a:cubicBezTo>
                  <a:pt x="749" y="282"/>
                  <a:pt x="751" y="280"/>
                  <a:pt x="751" y="278"/>
                </a:cubicBezTo>
                <a:cubicBezTo>
                  <a:pt x="751" y="275"/>
                  <a:pt x="749" y="273"/>
                  <a:pt x="747" y="273"/>
                </a:cubicBezTo>
                <a:cubicBezTo>
                  <a:pt x="744" y="273"/>
                  <a:pt x="742" y="275"/>
                  <a:pt x="742" y="278"/>
                </a:cubicBezTo>
                <a:cubicBezTo>
                  <a:pt x="742" y="280"/>
                  <a:pt x="744" y="282"/>
                  <a:pt x="747" y="282"/>
                </a:cubicBezTo>
                <a:close/>
                <a:moveTo>
                  <a:pt x="661" y="223"/>
                </a:moveTo>
                <a:cubicBezTo>
                  <a:pt x="661" y="225"/>
                  <a:pt x="663" y="227"/>
                  <a:pt x="665" y="227"/>
                </a:cubicBezTo>
                <a:cubicBezTo>
                  <a:pt x="668" y="227"/>
                  <a:pt x="670" y="225"/>
                  <a:pt x="670" y="223"/>
                </a:cubicBezTo>
                <a:cubicBezTo>
                  <a:pt x="670" y="220"/>
                  <a:pt x="668" y="218"/>
                  <a:pt x="665" y="218"/>
                </a:cubicBezTo>
                <a:cubicBezTo>
                  <a:pt x="663" y="218"/>
                  <a:pt x="661" y="220"/>
                  <a:pt x="661" y="223"/>
                </a:cubicBezTo>
                <a:close/>
                <a:moveTo>
                  <a:pt x="670" y="196"/>
                </a:moveTo>
                <a:cubicBezTo>
                  <a:pt x="670" y="193"/>
                  <a:pt x="668" y="191"/>
                  <a:pt x="665" y="191"/>
                </a:cubicBezTo>
                <a:cubicBezTo>
                  <a:pt x="663" y="191"/>
                  <a:pt x="661" y="193"/>
                  <a:pt x="661" y="196"/>
                </a:cubicBezTo>
                <a:cubicBezTo>
                  <a:pt x="661" y="198"/>
                  <a:pt x="663" y="200"/>
                  <a:pt x="665" y="200"/>
                </a:cubicBezTo>
                <a:cubicBezTo>
                  <a:pt x="668" y="200"/>
                  <a:pt x="670" y="198"/>
                  <a:pt x="670" y="196"/>
                </a:cubicBezTo>
                <a:close/>
                <a:moveTo>
                  <a:pt x="727" y="287"/>
                </a:moveTo>
                <a:cubicBezTo>
                  <a:pt x="724" y="287"/>
                  <a:pt x="722" y="289"/>
                  <a:pt x="722" y="291"/>
                </a:cubicBezTo>
                <a:cubicBezTo>
                  <a:pt x="722" y="294"/>
                  <a:pt x="724" y="296"/>
                  <a:pt x="727" y="296"/>
                </a:cubicBezTo>
                <a:cubicBezTo>
                  <a:pt x="729" y="296"/>
                  <a:pt x="731" y="294"/>
                  <a:pt x="731" y="291"/>
                </a:cubicBezTo>
                <a:cubicBezTo>
                  <a:pt x="731" y="289"/>
                  <a:pt x="729" y="287"/>
                  <a:pt x="727" y="287"/>
                </a:cubicBezTo>
                <a:close/>
                <a:moveTo>
                  <a:pt x="729" y="305"/>
                </a:moveTo>
                <a:cubicBezTo>
                  <a:pt x="729" y="307"/>
                  <a:pt x="731" y="309"/>
                  <a:pt x="733" y="309"/>
                </a:cubicBezTo>
                <a:cubicBezTo>
                  <a:pt x="736" y="309"/>
                  <a:pt x="738" y="307"/>
                  <a:pt x="738" y="305"/>
                </a:cubicBezTo>
                <a:cubicBezTo>
                  <a:pt x="738" y="302"/>
                  <a:pt x="736" y="300"/>
                  <a:pt x="733" y="300"/>
                </a:cubicBezTo>
                <a:cubicBezTo>
                  <a:pt x="731" y="300"/>
                  <a:pt x="729" y="302"/>
                  <a:pt x="729" y="305"/>
                </a:cubicBezTo>
                <a:close/>
                <a:moveTo>
                  <a:pt x="727" y="323"/>
                </a:moveTo>
                <a:cubicBezTo>
                  <a:pt x="729" y="323"/>
                  <a:pt x="731" y="321"/>
                  <a:pt x="731" y="318"/>
                </a:cubicBezTo>
                <a:cubicBezTo>
                  <a:pt x="731" y="316"/>
                  <a:pt x="729" y="314"/>
                  <a:pt x="727" y="314"/>
                </a:cubicBezTo>
                <a:cubicBezTo>
                  <a:pt x="724" y="314"/>
                  <a:pt x="722" y="316"/>
                  <a:pt x="722" y="318"/>
                </a:cubicBezTo>
                <a:cubicBezTo>
                  <a:pt x="722" y="321"/>
                  <a:pt x="724" y="323"/>
                  <a:pt x="727" y="323"/>
                </a:cubicBezTo>
                <a:close/>
                <a:moveTo>
                  <a:pt x="1199" y="155"/>
                </a:moveTo>
                <a:cubicBezTo>
                  <a:pt x="1199" y="157"/>
                  <a:pt x="1201" y="159"/>
                  <a:pt x="1203" y="159"/>
                </a:cubicBezTo>
                <a:cubicBezTo>
                  <a:pt x="1206" y="159"/>
                  <a:pt x="1208" y="157"/>
                  <a:pt x="1208" y="155"/>
                </a:cubicBezTo>
                <a:cubicBezTo>
                  <a:pt x="1208" y="152"/>
                  <a:pt x="1206" y="150"/>
                  <a:pt x="1203" y="150"/>
                </a:cubicBezTo>
                <a:cubicBezTo>
                  <a:pt x="1201" y="150"/>
                  <a:pt x="1199" y="152"/>
                  <a:pt x="1199" y="155"/>
                </a:cubicBezTo>
                <a:close/>
                <a:moveTo>
                  <a:pt x="686" y="378"/>
                </a:moveTo>
                <a:cubicBezTo>
                  <a:pt x="688" y="378"/>
                  <a:pt x="690" y="375"/>
                  <a:pt x="690" y="373"/>
                </a:cubicBezTo>
                <a:cubicBezTo>
                  <a:pt x="690" y="370"/>
                  <a:pt x="688" y="368"/>
                  <a:pt x="686" y="368"/>
                </a:cubicBezTo>
                <a:cubicBezTo>
                  <a:pt x="683" y="368"/>
                  <a:pt x="681" y="370"/>
                  <a:pt x="681" y="373"/>
                </a:cubicBezTo>
                <a:cubicBezTo>
                  <a:pt x="681" y="375"/>
                  <a:pt x="683" y="378"/>
                  <a:pt x="686" y="378"/>
                </a:cubicBezTo>
                <a:close/>
                <a:moveTo>
                  <a:pt x="1210" y="137"/>
                </a:moveTo>
                <a:cubicBezTo>
                  <a:pt x="1207" y="137"/>
                  <a:pt x="1205" y="139"/>
                  <a:pt x="1205" y="141"/>
                </a:cubicBezTo>
                <a:cubicBezTo>
                  <a:pt x="1205" y="144"/>
                  <a:pt x="1207" y="146"/>
                  <a:pt x="1210" y="146"/>
                </a:cubicBezTo>
                <a:cubicBezTo>
                  <a:pt x="1212" y="146"/>
                  <a:pt x="1215" y="144"/>
                  <a:pt x="1215" y="141"/>
                </a:cubicBezTo>
                <a:cubicBezTo>
                  <a:pt x="1215" y="139"/>
                  <a:pt x="1212" y="137"/>
                  <a:pt x="1210" y="137"/>
                </a:cubicBezTo>
                <a:close/>
                <a:moveTo>
                  <a:pt x="1219" y="114"/>
                </a:moveTo>
                <a:cubicBezTo>
                  <a:pt x="1219" y="116"/>
                  <a:pt x="1221" y="118"/>
                  <a:pt x="1224" y="118"/>
                </a:cubicBezTo>
                <a:cubicBezTo>
                  <a:pt x="1226" y="118"/>
                  <a:pt x="1228" y="116"/>
                  <a:pt x="1228" y="114"/>
                </a:cubicBezTo>
                <a:cubicBezTo>
                  <a:pt x="1228" y="111"/>
                  <a:pt x="1226" y="109"/>
                  <a:pt x="1224" y="109"/>
                </a:cubicBezTo>
                <a:cubicBezTo>
                  <a:pt x="1221" y="109"/>
                  <a:pt x="1219" y="111"/>
                  <a:pt x="1219" y="114"/>
                </a:cubicBezTo>
                <a:close/>
                <a:moveTo>
                  <a:pt x="1208" y="127"/>
                </a:moveTo>
                <a:cubicBezTo>
                  <a:pt x="1208" y="125"/>
                  <a:pt x="1206" y="123"/>
                  <a:pt x="1203" y="123"/>
                </a:cubicBezTo>
                <a:cubicBezTo>
                  <a:pt x="1201" y="123"/>
                  <a:pt x="1199" y="125"/>
                  <a:pt x="1199" y="127"/>
                </a:cubicBezTo>
                <a:cubicBezTo>
                  <a:pt x="1199" y="130"/>
                  <a:pt x="1201" y="132"/>
                  <a:pt x="1203" y="132"/>
                </a:cubicBezTo>
                <a:cubicBezTo>
                  <a:pt x="1206" y="132"/>
                  <a:pt x="1208" y="130"/>
                  <a:pt x="1208" y="127"/>
                </a:cubicBezTo>
                <a:close/>
                <a:moveTo>
                  <a:pt x="1203" y="514"/>
                </a:moveTo>
                <a:cubicBezTo>
                  <a:pt x="1206" y="514"/>
                  <a:pt x="1208" y="512"/>
                  <a:pt x="1208" y="509"/>
                </a:cubicBezTo>
                <a:cubicBezTo>
                  <a:pt x="1208" y="507"/>
                  <a:pt x="1206" y="505"/>
                  <a:pt x="1203" y="505"/>
                </a:cubicBezTo>
                <a:cubicBezTo>
                  <a:pt x="1201" y="505"/>
                  <a:pt x="1199" y="507"/>
                  <a:pt x="1199" y="509"/>
                </a:cubicBezTo>
                <a:cubicBezTo>
                  <a:pt x="1199" y="512"/>
                  <a:pt x="1201" y="514"/>
                  <a:pt x="1203" y="514"/>
                </a:cubicBezTo>
                <a:close/>
                <a:moveTo>
                  <a:pt x="1210" y="528"/>
                </a:moveTo>
                <a:cubicBezTo>
                  <a:pt x="1212" y="528"/>
                  <a:pt x="1215" y="526"/>
                  <a:pt x="1215" y="523"/>
                </a:cubicBezTo>
                <a:cubicBezTo>
                  <a:pt x="1215" y="521"/>
                  <a:pt x="1212" y="519"/>
                  <a:pt x="1210" y="519"/>
                </a:cubicBezTo>
                <a:cubicBezTo>
                  <a:pt x="1207" y="519"/>
                  <a:pt x="1205" y="521"/>
                  <a:pt x="1205" y="523"/>
                </a:cubicBezTo>
                <a:cubicBezTo>
                  <a:pt x="1205" y="526"/>
                  <a:pt x="1207" y="528"/>
                  <a:pt x="1210" y="528"/>
                </a:cubicBezTo>
                <a:close/>
                <a:moveTo>
                  <a:pt x="1230" y="105"/>
                </a:moveTo>
                <a:cubicBezTo>
                  <a:pt x="1233" y="105"/>
                  <a:pt x="1235" y="103"/>
                  <a:pt x="1235" y="100"/>
                </a:cubicBezTo>
                <a:cubicBezTo>
                  <a:pt x="1235" y="98"/>
                  <a:pt x="1233" y="96"/>
                  <a:pt x="1230" y="96"/>
                </a:cubicBezTo>
                <a:cubicBezTo>
                  <a:pt x="1228" y="96"/>
                  <a:pt x="1226" y="98"/>
                  <a:pt x="1226" y="100"/>
                </a:cubicBezTo>
                <a:cubicBezTo>
                  <a:pt x="1226" y="103"/>
                  <a:pt x="1228" y="105"/>
                  <a:pt x="1230" y="105"/>
                </a:cubicBezTo>
                <a:close/>
                <a:moveTo>
                  <a:pt x="1226" y="619"/>
                </a:moveTo>
                <a:cubicBezTo>
                  <a:pt x="1226" y="621"/>
                  <a:pt x="1228" y="623"/>
                  <a:pt x="1230" y="623"/>
                </a:cubicBezTo>
                <a:cubicBezTo>
                  <a:pt x="1233" y="623"/>
                  <a:pt x="1235" y="621"/>
                  <a:pt x="1235" y="619"/>
                </a:cubicBezTo>
                <a:cubicBezTo>
                  <a:pt x="1235" y="616"/>
                  <a:pt x="1233" y="614"/>
                  <a:pt x="1230" y="614"/>
                </a:cubicBezTo>
                <a:cubicBezTo>
                  <a:pt x="1228" y="614"/>
                  <a:pt x="1226" y="616"/>
                  <a:pt x="1226" y="619"/>
                </a:cubicBezTo>
                <a:close/>
                <a:moveTo>
                  <a:pt x="1244" y="105"/>
                </a:moveTo>
                <a:cubicBezTo>
                  <a:pt x="1247" y="105"/>
                  <a:pt x="1249" y="103"/>
                  <a:pt x="1249" y="100"/>
                </a:cubicBezTo>
                <a:cubicBezTo>
                  <a:pt x="1249" y="98"/>
                  <a:pt x="1247" y="96"/>
                  <a:pt x="1244" y="96"/>
                </a:cubicBezTo>
                <a:cubicBezTo>
                  <a:pt x="1242" y="96"/>
                  <a:pt x="1240" y="98"/>
                  <a:pt x="1240" y="100"/>
                </a:cubicBezTo>
                <a:cubicBezTo>
                  <a:pt x="1240" y="103"/>
                  <a:pt x="1242" y="105"/>
                  <a:pt x="1244" y="105"/>
                </a:cubicBezTo>
                <a:close/>
                <a:moveTo>
                  <a:pt x="1235" y="127"/>
                </a:moveTo>
                <a:cubicBezTo>
                  <a:pt x="1235" y="125"/>
                  <a:pt x="1233" y="123"/>
                  <a:pt x="1230" y="123"/>
                </a:cubicBezTo>
                <a:cubicBezTo>
                  <a:pt x="1228" y="123"/>
                  <a:pt x="1226" y="125"/>
                  <a:pt x="1226" y="127"/>
                </a:cubicBezTo>
                <a:cubicBezTo>
                  <a:pt x="1226" y="130"/>
                  <a:pt x="1228" y="132"/>
                  <a:pt x="1230" y="132"/>
                </a:cubicBezTo>
                <a:cubicBezTo>
                  <a:pt x="1233" y="132"/>
                  <a:pt x="1235" y="130"/>
                  <a:pt x="1235" y="127"/>
                </a:cubicBezTo>
                <a:close/>
                <a:moveTo>
                  <a:pt x="1249" y="127"/>
                </a:moveTo>
                <a:cubicBezTo>
                  <a:pt x="1249" y="125"/>
                  <a:pt x="1247" y="123"/>
                  <a:pt x="1244" y="123"/>
                </a:cubicBezTo>
                <a:cubicBezTo>
                  <a:pt x="1242" y="123"/>
                  <a:pt x="1240" y="125"/>
                  <a:pt x="1240" y="127"/>
                </a:cubicBezTo>
                <a:cubicBezTo>
                  <a:pt x="1240" y="130"/>
                  <a:pt x="1242" y="132"/>
                  <a:pt x="1244" y="132"/>
                </a:cubicBezTo>
                <a:cubicBezTo>
                  <a:pt x="1247" y="132"/>
                  <a:pt x="1249" y="130"/>
                  <a:pt x="1249" y="127"/>
                </a:cubicBezTo>
                <a:close/>
                <a:moveTo>
                  <a:pt x="1233" y="114"/>
                </a:moveTo>
                <a:cubicBezTo>
                  <a:pt x="1233" y="116"/>
                  <a:pt x="1235" y="118"/>
                  <a:pt x="1237" y="118"/>
                </a:cubicBezTo>
                <a:cubicBezTo>
                  <a:pt x="1240" y="118"/>
                  <a:pt x="1242" y="116"/>
                  <a:pt x="1242" y="114"/>
                </a:cubicBezTo>
                <a:cubicBezTo>
                  <a:pt x="1242" y="111"/>
                  <a:pt x="1240" y="109"/>
                  <a:pt x="1237" y="109"/>
                </a:cubicBezTo>
                <a:cubicBezTo>
                  <a:pt x="1235" y="109"/>
                  <a:pt x="1233" y="111"/>
                  <a:pt x="1233" y="114"/>
                </a:cubicBezTo>
                <a:close/>
                <a:moveTo>
                  <a:pt x="1242" y="141"/>
                </a:moveTo>
                <a:cubicBezTo>
                  <a:pt x="1242" y="139"/>
                  <a:pt x="1240" y="137"/>
                  <a:pt x="1237" y="137"/>
                </a:cubicBezTo>
                <a:cubicBezTo>
                  <a:pt x="1235" y="137"/>
                  <a:pt x="1233" y="139"/>
                  <a:pt x="1233" y="141"/>
                </a:cubicBezTo>
                <a:cubicBezTo>
                  <a:pt x="1233" y="144"/>
                  <a:pt x="1235" y="146"/>
                  <a:pt x="1237" y="146"/>
                </a:cubicBezTo>
                <a:cubicBezTo>
                  <a:pt x="1240" y="146"/>
                  <a:pt x="1242" y="144"/>
                  <a:pt x="1242" y="141"/>
                </a:cubicBezTo>
                <a:close/>
                <a:moveTo>
                  <a:pt x="1205" y="114"/>
                </a:moveTo>
                <a:cubicBezTo>
                  <a:pt x="1205" y="116"/>
                  <a:pt x="1207" y="118"/>
                  <a:pt x="1210" y="118"/>
                </a:cubicBezTo>
                <a:cubicBezTo>
                  <a:pt x="1212" y="118"/>
                  <a:pt x="1215" y="116"/>
                  <a:pt x="1215" y="114"/>
                </a:cubicBezTo>
                <a:cubicBezTo>
                  <a:pt x="1215" y="111"/>
                  <a:pt x="1212" y="109"/>
                  <a:pt x="1210" y="109"/>
                </a:cubicBezTo>
                <a:cubicBezTo>
                  <a:pt x="1207" y="109"/>
                  <a:pt x="1205" y="111"/>
                  <a:pt x="1205" y="114"/>
                </a:cubicBezTo>
                <a:close/>
                <a:moveTo>
                  <a:pt x="1158" y="127"/>
                </a:moveTo>
                <a:cubicBezTo>
                  <a:pt x="1158" y="130"/>
                  <a:pt x="1160" y="132"/>
                  <a:pt x="1162" y="132"/>
                </a:cubicBezTo>
                <a:cubicBezTo>
                  <a:pt x="1165" y="132"/>
                  <a:pt x="1167" y="130"/>
                  <a:pt x="1167" y="127"/>
                </a:cubicBezTo>
                <a:cubicBezTo>
                  <a:pt x="1167" y="125"/>
                  <a:pt x="1165" y="123"/>
                  <a:pt x="1162" y="123"/>
                </a:cubicBezTo>
                <a:cubicBezTo>
                  <a:pt x="1160" y="123"/>
                  <a:pt x="1158" y="125"/>
                  <a:pt x="1158" y="127"/>
                </a:cubicBezTo>
                <a:close/>
                <a:moveTo>
                  <a:pt x="1180" y="127"/>
                </a:moveTo>
                <a:cubicBezTo>
                  <a:pt x="1180" y="125"/>
                  <a:pt x="1178" y="123"/>
                  <a:pt x="1176" y="123"/>
                </a:cubicBezTo>
                <a:cubicBezTo>
                  <a:pt x="1173" y="123"/>
                  <a:pt x="1171" y="125"/>
                  <a:pt x="1171" y="127"/>
                </a:cubicBezTo>
                <a:cubicBezTo>
                  <a:pt x="1171" y="130"/>
                  <a:pt x="1173" y="132"/>
                  <a:pt x="1176" y="132"/>
                </a:cubicBezTo>
                <a:cubicBezTo>
                  <a:pt x="1178" y="132"/>
                  <a:pt x="1180" y="130"/>
                  <a:pt x="1180" y="127"/>
                </a:cubicBezTo>
                <a:close/>
                <a:moveTo>
                  <a:pt x="574" y="359"/>
                </a:moveTo>
                <a:cubicBezTo>
                  <a:pt x="574" y="357"/>
                  <a:pt x="572" y="355"/>
                  <a:pt x="570" y="355"/>
                </a:cubicBezTo>
                <a:cubicBezTo>
                  <a:pt x="567" y="355"/>
                  <a:pt x="565" y="357"/>
                  <a:pt x="565" y="359"/>
                </a:cubicBezTo>
                <a:cubicBezTo>
                  <a:pt x="565" y="362"/>
                  <a:pt x="567" y="364"/>
                  <a:pt x="570" y="364"/>
                </a:cubicBezTo>
                <a:cubicBezTo>
                  <a:pt x="572" y="364"/>
                  <a:pt x="574" y="362"/>
                  <a:pt x="574" y="359"/>
                </a:cubicBezTo>
                <a:close/>
                <a:moveTo>
                  <a:pt x="1169" y="109"/>
                </a:moveTo>
                <a:cubicBezTo>
                  <a:pt x="1167" y="109"/>
                  <a:pt x="1165" y="111"/>
                  <a:pt x="1165" y="114"/>
                </a:cubicBezTo>
                <a:cubicBezTo>
                  <a:pt x="1165" y="116"/>
                  <a:pt x="1167" y="118"/>
                  <a:pt x="1169" y="118"/>
                </a:cubicBezTo>
                <a:cubicBezTo>
                  <a:pt x="1172" y="118"/>
                  <a:pt x="1174" y="116"/>
                  <a:pt x="1174" y="114"/>
                </a:cubicBezTo>
                <a:cubicBezTo>
                  <a:pt x="1174" y="111"/>
                  <a:pt x="1172" y="109"/>
                  <a:pt x="1169" y="109"/>
                </a:cubicBezTo>
                <a:close/>
                <a:moveTo>
                  <a:pt x="602" y="305"/>
                </a:moveTo>
                <a:cubicBezTo>
                  <a:pt x="602" y="302"/>
                  <a:pt x="600" y="300"/>
                  <a:pt x="597" y="300"/>
                </a:cubicBezTo>
                <a:cubicBezTo>
                  <a:pt x="595" y="300"/>
                  <a:pt x="593" y="302"/>
                  <a:pt x="593" y="305"/>
                </a:cubicBezTo>
                <a:cubicBezTo>
                  <a:pt x="593" y="307"/>
                  <a:pt x="595" y="309"/>
                  <a:pt x="597" y="309"/>
                </a:cubicBezTo>
                <a:cubicBezTo>
                  <a:pt x="600" y="309"/>
                  <a:pt x="602" y="307"/>
                  <a:pt x="602" y="305"/>
                </a:cubicBezTo>
                <a:close/>
                <a:moveTo>
                  <a:pt x="563" y="368"/>
                </a:moveTo>
                <a:cubicBezTo>
                  <a:pt x="561" y="368"/>
                  <a:pt x="559" y="370"/>
                  <a:pt x="559" y="373"/>
                </a:cubicBezTo>
                <a:cubicBezTo>
                  <a:pt x="559" y="375"/>
                  <a:pt x="561" y="378"/>
                  <a:pt x="563" y="378"/>
                </a:cubicBezTo>
                <a:cubicBezTo>
                  <a:pt x="566" y="378"/>
                  <a:pt x="568" y="375"/>
                  <a:pt x="568" y="373"/>
                </a:cubicBezTo>
                <a:cubicBezTo>
                  <a:pt x="568" y="370"/>
                  <a:pt x="566" y="368"/>
                  <a:pt x="563" y="368"/>
                </a:cubicBezTo>
                <a:close/>
                <a:moveTo>
                  <a:pt x="1169" y="137"/>
                </a:moveTo>
                <a:cubicBezTo>
                  <a:pt x="1167" y="137"/>
                  <a:pt x="1165" y="139"/>
                  <a:pt x="1165" y="141"/>
                </a:cubicBezTo>
                <a:cubicBezTo>
                  <a:pt x="1165" y="144"/>
                  <a:pt x="1167" y="146"/>
                  <a:pt x="1169" y="146"/>
                </a:cubicBezTo>
                <a:cubicBezTo>
                  <a:pt x="1172" y="146"/>
                  <a:pt x="1174" y="144"/>
                  <a:pt x="1174" y="141"/>
                </a:cubicBezTo>
                <a:cubicBezTo>
                  <a:pt x="1174" y="139"/>
                  <a:pt x="1172" y="137"/>
                  <a:pt x="1169" y="137"/>
                </a:cubicBezTo>
                <a:close/>
                <a:moveTo>
                  <a:pt x="1221" y="127"/>
                </a:moveTo>
                <a:cubicBezTo>
                  <a:pt x="1221" y="125"/>
                  <a:pt x="1219" y="123"/>
                  <a:pt x="1217" y="123"/>
                </a:cubicBezTo>
                <a:cubicBezTo>
                  <a:pt x="1214" y="123"/>
                  <a:pt x="1212" y="125"/>
                  <a:pt x="1212" y="127"/>
                </a:cubicBezTo>
                <a:cubicBezTo>
                  <a:pt x="1212" y="130"/>
                  <a:pt x="1214" y="132"/>
                  <a:pt x="1217" y="132"/>
                </a:cubicBezTo>
                <a:cubicBezTo>
                  <a:pt x="1219" y="132"/>
                  <a:pt x="1221" y="130"/>
                  <a:pt x="1221" y="127"/>
                </a:cubicBezTo>
                <a:close/>
                <a:moveTo>
                  <a:pt x="1217" y="105"/>
                </a:moveTo>
                <a:cubicBezTo>
                  <a:pt x="1219" y="105"/>
                  <a:pt x="1221" y="103"/>
                  <a:pt x="1221" y="100"/>
                </a:cubicBezTo>
                <a:cubicBezTo>
                  <a:pt x="1221" y="98"/>
                  <a:pt x="1219" y="96"/>
                  <a:pt x="1217" y="96"/>
                </a:cubicBezTo>
                <a:cubicBezTo>
                  <a:pt x="1214" y="96"/>
                  <a:pt x="1212" y="98"/>
                  <a:pt x="1212" y="100"/>
                </a:cubicBezTo>
                <a:cubicBezTo>
                  <a:pt x="1212" y="103"/>
                  <a:pt x="1214" y="105"/>
                  <a:pt x="1217" y="105"/>
                </a:cubicBezTo>
                <a:close/>
                <a:moveTo>
                  <a:pt x="1203" y="105"/>
                </a:moveTo>
                <a:cubicBezTo>
                  <a:pt x="1206" y="105"/>
                  <a:pt x="1208" y="103"/>
                  <a:pt x="1208" y="100"/>
                </a:cubicBezTo>
                <a:cubicBezTo>
                  <a:pt x="1208" y="98"/>
                  <a:pt x="1206" y="96"/>
                  <a:pt x="1203" y="96"/>
                </a:cubicBezTo>
                <a:cubicBezTo>
                  <a:pt x="1201" y="96"/>
                  <a:pt x="1199" y="98"/>
                  <a:pt x="1199" y="100"/>
                </a:cubicBezTo>
                <a:cubicBezTo>
                  <a:pt x="1199" y="103"/>
                  <a:pt x="1201" y="105"/>
                  <a:pt x="1203" y="105"/>
                </a:cubicBezTo>
                <a:close/>
                <a:moveTo>
                  <a:pt x="590" y="314"/>
                </a:moveTo>
                <a:cubicBezTo>
                  <a:pt x="588" y="314"/>
                  <a:pt x="586" y="316"/>
                  <a:pt x="586" y="318"/>
                </a:cubicBezTo>
                <a:cubicBezTo>
                  <a:pt x="586" y="321"/>
                  <a:pt x="588" y="323"/>
                  <a:pt x="590" y="323"/>
                </a:cubicBezTo>
                <a:cubicBezTo>
                  <a:pt x="593" y="323"/>
                  <a:pt x="595" y="321"/>
                  <a:pt x="595" y="318"/>
                </a:cubicBezTo>
                <a:cubicBezTo>
                  <a:pt x="595" y="316"/>
                  <a:pt x="593" y="314"/>
                  <a:pt x="590" y="314"/>
                </a:cubicBezTo>
                <a:close/>
                <a:moveTo>
                  <a:pt x="1192" y="114"/>
                </a:moveTo>
                <a:cubicBezTo>
                  <a:pt x="1192" y="116"/>
                  <a:pt x="1194" y="118"/>
                  <a:pt x="1196" y="118"/>
                </a:cubicBezTo>
                <a:cubicBezTo>
                  <a:pt x="1199" y="118"/>
                  <a:pt x="1201" y="116"/>
                  <a:pt x="1201" y="114"/>
                </a:cubicBezTo>
                <a:cubicBezTo>
                  <a:pt x="1201" y="111"/>
                  <a:pt x="1199" y="109"/>
                  <a:pt x="1196" y="109"/>
                </a:cubicBezTo>
                <a:cubicBezTo>
                  <a:pt x="1194" y="109"/>
                  <a:pt x="1192" y="111"/>
                  <a:pt x="1192" y="114"/>
                </a:cubicBezTo>
                <a:close/>
                <a:moveTo>
                  <a:pt x="1176" y="159"/>
                </a:moveTo>
                <a:cubicBezTo>
                  <a:pt x="1178" y="159"/>
                  <a:pt x="1180" y="157"/>
                  <a:pt x="1180" y="155"/>
                </a:cubicBezTo>
                <a:cubicBezTo>
                  <a:pt x="1180" y="152"/>
                  <a:pt x="1178" y="150"/>
                  <a:pt x="1176" y="150"/>
                </a:cubicBezTo>
                <a:cubicBezTo>
                  <a:pt x="1173" y="150"/>
                  <a:pt x="1171" y="152"/>
                  <a:pt x="1171" y="155"/>
                </a:cubicBezTo>
                <a:cubicBezTo>
                  <a:pt x="1171" y="157"/>
                  <a:pt x="1173" y="159"/>
                  <a:pt x="1176" y="159"/>
                </a:cubicBezTo>
                <a:close/>
                <a:moveTo>
                  <a:pt x="704" y="400"/>
                </a:moveTo>
                <a:cubicBezTo>
                  <a:pt x="704" y="398"/>
                  <a:pt x="702" y="396"/>
                  <a:pt x="699" y="396"/>
                </a:cubicBezTo>
                <a:cubicBezTo>
                  <a:pt x="697" y="396"/>
                  <a:pt x="695" y="398"/>
                  <a:pt x="695" y="400"/>
                </a:cubicBezTo>
                <a:cubicBezTo>
                  <a:pt x="695" y="403"/>
                  <a:pt x="697" y="405"/>
                  <a:pt x="699" y="405"/>
                </a:cubicBezTo>
                <a:cubicBezTo>
                  <a:pt x="702" y="405"/>
                  <a:pt x="704" y="403"/>
                  <a:pt x="704" y="400"/>
                </a:cubicBezTo>
                <a:close/>
                <a:moveTo>
                  <a:pt x="727" y="241"/>
                </a:moveTo>
                <a:cubicBezTo>
                  <a:pt x="729" y="241"/>
                  <a:pt x="731" y="239"/>
                  <a:pt x="731" y="237"/>
                </a:cubicBezTo>
                <a:cubicBezTo>
                  <a:pt x="731" y="234"/>
                  <a:pt x="729" y="232"/>
                  <a:pt x="727" y="232"/>
                </a:cubicBezTo>
                <a:cubicBezTo>
                  <a:pt x="724" y="232"/>
                  <a:pt x="722" y="234"/>
                  <a:pt x="722" y="237"/>
                </a:cubicBezTo>
                <a:cubicBezTo>
                  <a:pt x="722" y="239"/>
                  <a:pt x="724" y="241"/>
                  <a:pt x="727" y="241"/>
                </a:cubicBezTo>
                <a:close/>
                <a:moveTo>
                  <a:pt x="727" y="268"/>
                </a:moveTo>
                <a:cubicBezTo>
                  <a:pt x="729" y="268"/>
                  <a:pt x="731" y="266"/>
                  <a:pt x="731" y="264"/>
                </a:cubicBezTo>
                <a:cubicBezTo>
                  <a:pt x="731" y="261"/>
                  <a:pt x="729" y="259"/>
                  <a:pt x="727" y="259"/>
                </a:cubicBezTo>
                <a:cubicBezTo>
                  <a:pt x="724" y="259"/>
                  <a:pt x="722" y="261"/>
                  <a:pt x="722" y="264"/>
                </a:cubicBezTo>
                <a:cubicBezTo>
                  <a:pt x="722" y="266"/>
                  <a:pt x="724" y="268"/>
                  <a:pt x="727" y="268"/>
                </a:cubicBezTo>
                <a:close/>
                <a:moveTo>
                  <a:pt x="736" y="264"/>
                </a:moveTo>
                <a:cubicBezTo>
                  <a:pt x="736" y="266"/>
                  <a:pt x="738" y="268"/>
                  <a:pt x="740" y="268"/>
                </a:cubicBezTo>
                <a:cubicBezTo>
                  <a:pt x="743" y="268"/>
                  <a:pt x="745" y="266"/>
                  <a:pt x="745" y="264"/>
                </a:cubicBezTo>
                <a:cubicBezTo>
                  <a:pt x="745" y="261"/>
                  <a:pt x="743" y="259"/>
                  <a:pt x="740" y="259"/>
                </a:cubicBezTo>
                <a:cubicBezTo>
                  <a:pt x="738" y="259"/>
                  <a:pt x="736" y="261"/>
                  <a:pt x="736" y="264"/>
                </a:cubicBezTo>
                <a:close/>
                <a:moveTo>
                  <a:pt x="702" y="278"/>
                </a:moveTo>
                <a:cubicBezTo>
                  <a:pt x="702" y="280"/>
                  <a:pt x="704" y="282"/>
                  <a:pt x="706" y="282"/>
                </a:cubicBezTo>
                <a:cubicBezTo>
                  <a:pt x="709" y="282"/>
                  <a:pt x="711" y="280"/>
                  <a:pt x="711" y="278"/>
                </a:cubicBezTo>
                <a:cubicBezTo>
                  <a:pt x="711" y="275"/>
                  <a:pt x="709" y="273"/>
                  <a:pt x="706" y="273"/>
                </a:cubicBezTo>
                <a:cubicBezTo>
                  <a:pt x="704" y="273"/>
                  <a:pt x="702" y="275"/>
                  <a:pt x="702" y="278"/>
                </a:cubicBezTo>
                <a:close/>
                <a:moveTo>
                  <a:pt x="713" y="259"/>
                </a:moveTo>
                <a:cubicBezTo>
                  <a:pt x="710" y="259"/>
                  <a:pt x="708" y="261"/>
                  <a:pt x="708" y="264"/>
                </a:cubicBezTo>
                <a:cubicBezTo>
                  <a:pt x="708" y="266"/>
                  <a:pt x="710" y="268"/>
                  <a:pt x="713" y="268"/>
                </a:cubicBezTo>
                <a:cubicBezTo>
                  <a:pt x="715" y="268"/>
                  <a:pt x="717" y="266"/>
                  <a:pt x="717" y="264"/>
                </a:cubicBezTo>
                <a:cubicBezTo>
                  <a:pt x="717" y="261"/>
                  <a:pt x="715" y="259"/>
                  <a:pt x="713" y="259"/>
                </a:cubicBezTo>
                <a:close/>
                <a:moveTo>
                  <a:pt x="715" y="278"/>
                </a:moveTo>
                <a:cubicBezTo>
                  <a:pt x="715" y="280"/>
                  <a:pt x="717" y="282"/>
                  <a:pt x="720" y="282"/>
                </a:cubicBezTo>
                <a:cubicBezTo>
                  <a:pt x="722" y="282"/>
                  <a:pt x="724" y="280"/>
                  <a:pt x="724" y="278"/>
                </a:cubicBezTo>
                <a:cubicBezTo>
                  <a:pt x="724" y="275"/>
                  <a:pt x="722" y="273"/>
                  <a:pt x="720" y="273"/>
                </a:cubicBezTo>
                <a:cubicBezTo>
                  <a:pt x="717" y="273"/>
                  <a:pt x="715" y="275"/>
                  <a:pt x="715" y="278"/>
                </a:cubicBezTo>
                <a:close/>
                <a:moveTo>
                  <a:pt x="729" y="278"/>
                </a:moveTo>
                <a:cubicBezTo>
                  <a:pt x="729" y="280"/>
                  <a:pt x="731" y="282"/>
                  <a:pt x="733" y="282"/>
                </a:cubicBezTo>
                <a:cubicBezTo>
                  <a:pt x="736" y="282"/>
                  <a:pt x="738" y="280"/>
                  <a:pt x="738" y="278"/>
                </a:cubicBezTo>
                <a:cubicBezTo>
                  <a:pt x="738" y="275"/>
                  <a:pt x="736" y="273"/>
                  <a:pt x="733" y="273"/>
                </a:cubicBezTo>
                <a:cubicBezTo>
                  <a:pt x="731" y="273"/>
                  <a:pt x="729" y="275"/>
                  <a:pt x="729" y="278"/>
                </a:cubicBezTo>
                <a:close/>
                <a:moveTo>
                  <a:pt x="758" y="264"/>
                </a:moveTo>
                <a:cubicBezTo>
                  <a:pt x="758" y="261"/>
                  <a:pt x="756" y="259"/>
                  <a:pt x="754" y="259"/>
                </a:cubicBezTo>
                <a:cubicBezTo>
                  <a:pt x="751" y="259"/>
                  <a:pt x="749" y="261"/>
                  <a:pt x="749" y="264"/>
                </a:cubicBezTo>
                <a:cubicBezTo>
                  <a:pt x="749" y="266"/>
                  <a:pt x="751" y="268"/>
                  <a:pt x="754" y="268"/>
                </a:cubicBezTo>
                <a:cubicBezTo>
                  <a:pt x="756" y="268"/>
                  <a:pt x="758" y="266"/>
                  <a:pt x="758" y="264"/>
                </a:cubicBezTo>
                <a:close/>
                <a:moveTo>
                  <a:pt x="758" y="291"/>
                </a:moveTo>
                <a:cubicBezTo>
                  <a:pt x="758" y="289"/>
                  <a:pt x="756" y="287"/>
                  <a:pt x="754" y="287"/>
                </a:cubicBezTo>
                <a:cubicBezTo>
                  <a:pt x="751" y="287"/>
                  <a:pt x="749" y="289"/>
                  <a:pt x="749" y="291"/>
                </a:cubicBezTo>
                <a:cubicBezTo>
                  <a:pt x="749" y="294"/>
                  <a:pt x="751" y="296"/>
                  <a:pt x="754" y="296"/>
                </a:cubicBezTo>
                <a:cubicBezTo>
                  <a:pt x="756" y="296"/>
                  <a:pt x="758" y="294"/>
                  <a:pt x="758" y="291"/>
                </a:cubicBezTo>
                <a:close/>
                <a:moveTo>
                  <a:pt x="751" y="305"/>
                </a:moveTo>
                <a:cubicBezTo>
                  <a:pt x="751" y="302"/>
                  <a:pt x="749" y="300"/>
                  <a:pt x="747" y="300"/>
                </a:cubicBezTo>
                <a:cubicBezTo>
                  <a:pt x="744" y="300"/>
                  <a:pt x="742" y="302"/>
                  <a:pt x="742" y="305"/>
                </a:cubicBezTo>
                <a:cubicBezTo>
                  <a:pt x="742" y="307"/>
                  <a:pt x="744" y="309"/>
                  <a:pt x="747" y="309"/>
                </a:cubicBezTo>
                <a:cubicBezTo>
                  <a:pt x="749" y="309"/>
                  <a:pt x="751" y="307"/>
                  <a:pt x="751" y="305"/>
                </a:cubicBezTo>
                <a:close/>
                <a:moveTo>
                  <a:pt x="754" y="232"/>
                </a:moveTo>
                <a:cubicBezTo>
                  <a:pt x="751" y="232"/>
                  <a:pt x="749" y="234"/>
                  <a:pt x="749" y="237"/>
                </a:cubicBezTo>
                <a:cubicBezTo>
                  <a:pt x="749" y="239"/>
                  <a:pt x="751" y="241"/>
                  <a:pt x="754" y="241"/>
                </a:cubicBezTo>
                <a:cubicBezTo>
                  <a:pt x="756" y="241"/>
                  <a:pt x="758" y="239"/>
                  <a:pt x="758" y="237"/>
                </a:cubicBezTo>
                <a:cubicBezTo>
                  <a:pt x="758" y="234"/>
                  <a:pt x="756" y="232"/>
                  <a:pt x="754" y="232"/>
                </a:cubicBezTo>
                <a:close/>
                <a:moveTo>
                  <a:pt x="765" y="250"/>
                </a:moveTo>
                <a:cubicBezTo>
                  <a:pt x="765" y="248"/>
                  <a:pt x="763" y="246"/>
                  <a:pt x="761" y="246"/>
                </a:cubicBezTo>
                <a:cubicBezTo>
                  <a:pt x="758" y="246"/>
                  <a:pt x="756" y="248"/>
                  <a:pt x="756" y="250"/>
                </a:cubicBezTo>
                <a:cubicBezTo>
                  <a:pt x="756" y="253"/>
                  <a:pt x="758" y="255"/>
                  <a:pt x="761" y="255"/>
                </a:cubicBezTo>
                <a:cubicBezTo>
                  <a:pt x="763" y="255"/>
                  <a:pt x="765" y="253"/>
                  <a:pt x="765" y="250"/>
                </a:cubicBezTo>
                <a:close/>
                <a:moveTo>
                  <a:pt x="742" y="250"/>
                </a:moveTo>
                <a:cubicBezTo>
                  <a:pt x="742" y="253"/>
                  <a:pt x="744" y="255"/>
                  <a:pt x="747" y="255"/>
                </a:cubicBezTo>
                <a:cubicBezTo>
                  <a:pt x="749" y="255"/>
                  <a:pt x="751" y="253"/>
                  <a:pt x="751" y="250"/>
                </a:cubicBezTo>
                <a:cubicBezTo>
                  <a:pt x="751" y="248"/>
                  <a:pt x="749" y="246"/>
                  <a:pt x="747" y="246"/>
                </a:cubicBezTo>
                <a:cubicBezTo>
                  <a:pt x="744" y="246"/>
                  <a:pt x="742" y="248"/>
                  <a:pt x="742" y="250"/>
                </a:cubicBezTo>
                <a:close/>
                <a:moveTo>
                  <a:pt x="688" y="250"/>
                </a:moveTo>
                <a:cubicBezTo>
                  <a:pt x="688" y="253"/>
                  <a:pt x="690" y="255"/>
                  <a:pt x="692" y="255"/>
                </a:cubicBezTo>
                <a:cubicBezTo>
                  <a:pt x="695" y="255"/>
                  <a:pt x="697" y="253"/>
                  <a:pt x="697" y="250"/>
                </a:cubicBezTo>
                <a:cubicBezTo>
                  <a:pt x="697" y="248"/>
                  <a:pt x="695" y="246"/>
                  <a:pt x="692" y="246"/>
                </a:cubicBezTo>
                <a:cubicBezTo>
                  <a:pt x="690" y="246"/>
                  <a:pt x="688" y="248"/>
                  <a:pt x="688" y="250"/>
                </a:cubicBezTo>
                <a:close/>
                <a:moveTo>
                  <a:pt x="647" y="332"/>
                </a:moveTo>
                <a:cubicBezTo>
                  <a:pt x="647" y="335"/>
                  <a:pt x="649" y="337"/>
                  <a:pt x="652" y="337"/>
                </a:cubicBezTo>
                <a:cubicBezTo>
                  <a:pt x="654" y="337"/>
                  <a:pt x="656" y="335"/>
                  <a:pt x="656" y="332"/>
                </a:cubicBezTo>
                <a:cubicBezTo>
                  <a:pt x="656" y="330"/>
                  <a:pt x="654" y="328"/>
                  <a:pt x="652" y="328"/>
                </a:cubicBezTo>
                <a:cubicBezTo>
                  <a:pt x="649" y="328"/>
                  <a:pt x="647" y="330"/>
                  <a:pt x="647" y="332"/>
                </a:cubicBezTo>
                <a:close/>
                <a:moveTo>
                  <a:pt x="658" y="314"/>
                </a:moveTo>
                <a:cubicBezTo>
                  <a:pt x="656" y="314"/>
                  <a:pt x="654" y="316"/>
                  <a:pt x="654" y="318"/>
                </a:cubicBezTo>
                <a:cubicBezTo>
                  <a:pt x="654" y="321"/>
                  <a:pt x="656" y="323"/>
                  <a:pt x="658" y="323"/>
                </a:cubicBezTo>
                <a:cubicBezTo>
                  <a:pt x="661" y="323"/>
                  <a:pt x="663" y="321"/>
                  <a:pt x="663" y="318"/>
                </a:cubicBezTo>
                <a:cubicBezTo>
                  <a:pt x="663" y="316"/>
                  <a:pt x="661" y="314"/>
                  <a:pt x="658" y="314"/>
                </a:cubicBezTo>
                <a:close/>
                <a:moveTo>
                  <a:pt x="658" y="350"/>
                </a:moveTo>
                <a:cubicBezTo>
                  <a:pt x="661" y="350"/>
                  <a:pt x="663" y="348"/>
                  <a:pt x="663" y="346"/>
                </a:cubicBezTo>
                <a:cubicBezTo>
                  <a:pt x="663" y="343"/>
                  <a:pt x="661" y="341"/>
                  <a:pt x="658" y="341"/>
                </a:cubicBezTo>
                <a:cubicBezTo>
                  <a:pt x="656" y="341"/>
                  <a:pt x="654" y="343"/>
                  <a:pt x="654" y="346"/>
                </a:cubicBezTo>
                <a:cubicBezTo>
                  <a:pt x="654" y="348"/>
                  <a:pt x="656" y="350"/>
                  <a:pt x="658" y="350"/>
                </a:cubicBezTo>
                <a:close/>
                <a:moveTo>
                  <a:pt x="661" y="387"/>
                </a:moveTo>
                <a:cubicBezTo>
                  <a:pt x="661" y="389"/>
                  <a:pt x="663" y="391"/>
                  <a:pt x="665" y="391"/>
                </a:cubicBezTo>
                <a:cubicBezTo>
                  <a:pt x="668" y="391"/>
                  <a:pt x="670" y="389"/>
                  <a:pt x="670" y="387"/>
                </a:cubicBezTo>
                <a:cubicBezTo>
                  <a:pt x="670" y="384"/>
                  <a:pt x="668" y="382"/>
                  <a:pt x="665" y="382"/>
                </a:cubicBezTo>
                <a:cubicBezTo>
                  <a:pt x="663" y="382"/>
                  <a:pt x="661" y="384"/>
                  <a:pt x="661" y="387"/>
                </a:cubicBezTo>
                <a:close/>
                <a:moveTo>
                  <a:pt x="665" y="364"/>
                </a:moveTo>
                <a:cubicBezTo>
                  <a:pt x="668" y="364"/>
                  <a:pt x="670" y="362"/>
                  <a:pt x="670" y="359"/>
                </a:cubicBezTo>
                <a:cubicBezTo>
                  <a:pt x="670" y="357"/>
                  <a:pt x="668" y="355"/>
                  <a:pt x="665" y="355"/>
                </a:cubicBezTo>
                <a:cubicBezTo>
                  <a:pt x="663" y="355"/>
                  <a:pt x="661" y="357"/>
                  <a:pt x="661" y="359"/>
                </a:cubicBezTo>
                <a:cubicBezTo>
                  <a:pt x="661" y="362"/>
                  <a:pt x="663" y="364"/>
                  <a:pt x="665" y="364"/>
                </a:cubicBezTo>
                <a:close/>
                <a:moveTo>
                  <a:pt x="661" y="332"/>
                </a:moveTo>
                <a:cubicBezTo>
                  <a:pt x="661" y="335"/>
                  <a:pt x="663" y="337"/>
                  <a:pt x="665" y="337"/>
                </a:cubicBezTo>
                <a:cubicBezTo>
                  <a:pt x="668" y="337"/>
                  <a:pt x="670" y="335"/>
                  <a:pt x="670" y="332"/>
                </a:cubicBezTo>
                <a:cubicBezTo>
                  <a:pt x="670" y="330"/>
                  <a:pt x="668" y="328"/>
                  <a:pt x="665" y="328"/>
                </a:cubicBezTo>
                <a:cubicBezTo>
                  <a:pt x="663" y="328"/>
                  <a:pt x="661" y="330"/>
                  <a:pt x="661" y="332"/>
                </a:cubicBezTo>
                <a:close/>
                <a:moveTo>
                  <a:pt x="745" y="318"/>
                </a:moveTo>
                <a:cubicBezTo>
                  <a:pt x="745" y="316"/>
                  <a:pt x="743" y="314"/>
                  <a:pt x="740" y="314"/>
                </a:cubicBezTo>
                <a:cubicBezTo>
                  <a:pt x="738" y="314"/>
                  <a:pt x="736" y="316"/>
                  <a:pt x="736" y="318"/>
                </a:cubicBezTo>
                <a:cubicBezTo>
                  <a:pt x="736" y="321"/>
                  <a:pt x="738" y="323"/>
                  <a:pt x="740" y="323"/>
                </a:cubicBezTo>
                <a:cubicBezTo>
                  <a:pt x="743" y="323"/>
                  <a:pt x="745" y="321"/>
                  <a:pt x="745" y="318"/>
                </a:cubicBezTo>
                <a:close/>
                <a:moveTo>
                  <a:pt x="681" y="264"/>
                </a:moveTo>
                <a:cubicBezTo>
                  <a:pt x="681" y="266"/>
                  <a:pt x="683" y="268"/>
                  <a:pt x="686" y="268"/>
                </a:cubicBezTo>
                <a:cubicBezTo>
                  <a:pt x="688" y="268"/>
                  <a:pt x="690" y="266"/>
                  <a:pt x="690" y="264"/>
                </a:cubicBezTo>
                <a:cubicBezTo>
                  <a:pt x="690" y="261"/>
                  <a:pt x="688" y="259"/>
                  <a:pt x="686" y="259"/>
                </a:cubicBezTo>
                <a:cubicBezTo>
                  <a:pt x="683" y="259"/>
                  <a:pt x="681" y="261"/>
                  <a:pt x="681" y="264"/>
                </a:cubicBezTo>
                <a:close/>
                <a:moveTo>
                  <a:pt x="699" y="232"/>
                </a:moveTo>
                <a:cubicBezTo>
                  <a:pt x="697" y="232"/>
                  <a:pt x="695" y="234"/>
                  <a:pt x="695" y="237"/>
                </a:cubicBezTo>
                <a:cubicBezTo>
                  <a:pt x="695" y="239"/>
                  <a:pt x="697" y="241"/>
                  <a:pt x="699" y="241"/>
                </a:cubicBezTo>
                <a:cubicBezTo>
                  <a:pt x="702" y="241"/>
                  <a:pt x="704" y="239"/>
                  <a:pt x="704" y="237"/>
                </a:cubicBezTo>
                <a:cubicBezTo>
                  <a:pt x="704" y="234"/>
                  <a:pt x="702" y="232"/>
                  <a:pt x="699" y="232"/>
                </a:cubicBezTo>
                <a:close/>
                <a:moveTo>
                  <a:pt x="674" y="278"/>
                </a:moveTo>
                <a:cubicBezTo>
                  <a:pt x="674" y="280"/>
                  <a:pt x="676" y="282"/>
                  <a:pt x="679" y="282"/>
                </a:cubicBezTo>
                <a:cubicBezTo>
                  <a:pt x="681" y="282"/>
                  <a:pt x="683" y="280"/>
                  <a:pt x="683" y="278"/>
                </a:cubicBezTo>
                <a:cubicBezTo>
                  <a:pt x="683" y="275"/>
                  <a:pt x="681" y="273"/>
                  <a:pt x="679" y="273"/>
                </a:cubicBezTo>
                <a:cubicBezTo>
                  <a:pt x="676" y="273"/>
                  <a:pt x="674" y="275"/>
                  <a:pt x="674" y="278"/>
                </a:cubicBezTo>
                <a:close/>
                <a:moveTo>
                  <a:pt x="667" y="318"/>
                </a:moveTo>
                <a:cubicBezTo>
                  <a:pt x="667" y="321"/>
                  <a:pt x="670" y="323"/>
                  <a:pt x="672" y="323"/>
                </a:cubicBezTo>
                <a:cubicBezTo>
                  <a:pt x="675" y="323"/>
                  <a:pt x="677" y="321"/>
                  <a:pt x="677" y="318"/>
                </a:cubicBezTo>
                <a:cubicBezTo>
                  <a:pt x="677" y="316"/>
                  <a:pt x="675" y="314"/>
                  <a:pt x="672" y="314"/>
                </a:cubicBezTo>
                <a:cubicBezTo>
                  <a:pt x="670" y="314"/>
                  <a:pt x="667" y="316"/>
                  <a:pt x="667" y="318"/>
                </a:cubicBezTo>
                <a:close/>
                <a:moveTo>
                  <a:pt x="665" y="246"/>
                </a:moveTo>
                <a:cubicBezTo>
                  <a:pt x="663" y="246"/>
                  <a:pt x="661" y="248"/>
                  <a:pt x="661" y="250"/>
                </a:cubicBezTo>
                <a:cubicBezTo>
                  <a:pt x="661" y="253"/>
                  <a:pt x="663" y="255"/>
                  <a:pt x="665" y="255"/>
                </a:cubicBezTo>
                <a:cubicBezTo>
                  <a:pt x="668" y="255"/>
                  <a:pt x="670" y="253"/>
                  <a:pt x="670" y="250"/>
                </a:cubicBezTo>
                <a:cubicBezTo>
                  <a:pt x="670" y="248"/>
                  <a:pt x="668" y="246"/>
                  <a:pt x="665" y="246"/>
                </a:cubicBezTo>
                <a:close/>
                <a:moveTo>
                  <a:pt x="679" y="309"/>
                </a:moveTo>
                <a:cubicBezTo>
                  <a:pt x="681" y="309"/>
                  <a:pt x="683" y="307"/>
                  <a:pt x="683" y="305"/>
                </a:cubicBezTo>
                <a:cubicBezTo>
                  <a:pt x="683" y="302"/>
                  <a:pt x="681" y="300"/>
                  <a:pt x="679" y="300"/>
                </a:cubicBezTo>
                <a:cubicBezTo>
                  <a:pt x="676" y="300"/>
                  <a:pt x="674" y="302"/>
                  <a:pt x="674" y="305"/>
                </a:cubicBezTo>
                <a:cubicBezTo>
                  <a:pt x="674" y="307"/>
                  <a:pt x="676" y="309"/>
                  <a:pt x="679" y="309"/>
                </a:cubicBezTo>
                <a:close/>
                <a:moveTo>
                  <a:pt x="667" y="346"/>
                </a:moveTo>
                <a:cubicBezTo>
                  <a:pt x="667" y="348"/>
                  <a:pt x="670" y="350"/>
                  <a:pt x="672" y="350"/>
                </a:cubicBezTo>
                <a:cubicBezTo>
                  <a:pt x="675" y="350"/>
                  <a:pt x="677" y="348"/>
                  <a:pt x="677" y="346"/>
                </a:cubicBezTo>
                <a:cubicBezTo>
                  <a:pt x="677" y="343"/>
                  <a:pt x="675" y="341"/>
                  <a:pt x="672" y="341"/>
                </a:cubicBezTo>
                <a:cubicBezTo>
                  <a:pt x="670" y="341"/>
                  <a:pt x="667" y="343"/>
                  <a:pt x="667" y="346"/>
                </a:cubicBezTo>
                <a:close/>
                <a:moveTo>
                  <a:pt x="702" y="332"/>
                </a:moveTo>
                <a:cubicBezTo>
                  <a:pt x="702" y="335"/>
                  <a:pt x="704" y="337"/>
                  <a:pt x="706" y="337"/>
                </a:cubicBezTo>
                <a:cubicBezTo>
                  <a:pt x="709" y="337"/>
                  <a:pt x="711" y="335"/>
                  <a:pt x="711" y="332"/>
                </a:cubicBezTo>
                <a:cubicBezTo>
                  <a:pt x="711" y="330"/>
                  <a:pt x="709" y="328"/>
                  <a:pt x="706" y="328"/>
                </a:cubicBezTo>
                <a:cubicBezTo>
                  <a:pt x="704" y="328"/>
                  <a:pt x="702" y="330"/>
                  <a:pt x="702" y="332"/>
                </a:cubicBezTo>
                <a:close/>
                <a:moveTo>
                  <a:pt x="699" y="287"/>
                </a:moveTo>
                <a:cubicBezTo>
                  <a:pt x="697" y="287"/>
                  <a:pt x="695" y="289"/>
                  <a:pt x="695" y="291"/>
                </a:cubicBezTo>
                <a:cubicBezTo>
                  <a:pt x="695" y="294"/>
                  <a:pt x="697" y="296"/>
                  <a:pt x="699" y="296"/>
                </a:cubicBezTo>
                <a:cubicBezTo>
                  <a:pt x="702" y="296"/>
                  <a:pt x="704" y="294"/>
                  <a:pt x="704" y="291"/>
                </a:cubicBezTo>
                <a:cubicBezTo>
                  <a:pt x="704" y="289"/>
                  <a:pt x="702" y="287"/>
                  <a:pt x="699" y="287"/>
                </a:cubicBezTo>
                <a:close/>
                <a:moveTo>
                  <a:pt x="713" y="314"/>
                </a:moveTo>
                <a:cubicBezTo>
                  <a:pt x="710" y="314"/>
                  <a:pt x="708" y="316"/>
                  <a:pt x="708" y="318"/>
                </a:cubicBezTo>
                <a:cubicBezTo>
                  <a:pt x="708" y="321"/>
                  <a:pt x="710" y="323"/>
                  <a:pt x="713" y="323"/>
                </a:cubicBezTo>
                <a:cubicBezTo>
                  <a:pt x="715" y="323"/>
                  <a:pt x="717" y="321"/>
                  <a:pt x="717" y="318"/>
                </a:cubicBezTo>
                <a:cubicBezTo>
                  <a:pt x="717" y="316"/>
                  <a:pt x="715" y="314"/>
                  <a:pt x="713" y="314"/>
                </a:cubicBezTo>
                <a:close/>
                <a:moveTo>
                  <a:pt x="704" y="264"/>
                </a:moveTo>
                <a:cubicBezTo>
                  <a:pt x="704" y="261"/>
                  <a:pt x="702" y="259"/>
                  <a:pt x="699" y="259"/>
                </a:cubicBezTo>
                <a:cubicBezTo>
                  <a:pt x="697" y="259"/>
                  <a:pt x="695" y="261"/>
                  <a:pt x="695" y="264"/>
                </a:cubicBezTo>
                <a:cubicBezTo>
                  <a:pt x="695" y="266"/>
                  <a:pt x="697" y="268"/>
                  <a:pt x="699" y="268"/>
                </a:cubicBezTo>
                <a:cubicBezTo>
                  <a:pt x="702" y="268"/>
                  <a:pt x="704" y="266"/>
                  <a:pt x="704" y="264"/>
                </a:cubicBezTo>
                <a:close/>
                <a:moveTo>
                  <a:pt x="715" y="332"/>
                </a:moveTo>
                <a:cubicBezTo>
                  <a:pt x="715" y="335"/>
                  <a:pt x="717" y="337"/>
                  <a:pt x="720" y="337"/>
                </a:cubicBezTo>
                <a:cubicBezTo>
                  <a:pt x="722" y="337"/>
                  <a:pt x="724" y="335"/>
                  <a:pt x="724" y="332"/>
                </a:cubicBezTo>
                <a:cubicBezTo>
                  <a:pt x="724" y="330"/>
                  <a:pt x="722" y="328"/>
                  <a:pt x="720" y="328"/>
                </a:cubicBezTo>
                <a:cubicBezTo>
                  <a:pt x="717" y="328"/>
                  <a:pt x="715" y="330"/>
                  <a:pt x="715" y="332"/>
                </a:cubicBezTo>
                <a:close/>
                <a:moveTo>
                  <a:pt x="688" y="278"/>
                </a:moveTo>
                <a:cubicBezTo>
                  <a:pt x="688" y="280"/>
                  <a:pt x="690" y="282"/>
                  <a:pt x="692" y="282"/>
                </a:cubicBezTo>
                <a:cubicBezTo>
                  <a:pt x="695" y="282"/>
                  <a:pt x="697" y="280"/>
                  <a:pt x="697" y="278"/>
                </a:cubicBezTo>
                <a:cubicBezTo>
                  <a:pt x="697" y="275"/>
                  <a:pt x="695" y="273"/>
                  <a:pt x="692" y="273"/>
                </a:cubicBezTo>
                <a:cubicBezTo>
                  <a:pt x="690" y="273"/>
                  <a:pt x="688" y="275"/>
                  <a:pt x="688" y="278"/>
                </a:cubicBezTo>
                <a:close/>
                <a:moveTo>
                  <a:pt x="704" y="373"/>
                </a:moveTo>
                <a:cubicBezTo>
                  <a:pt x="704" y="370"/>
                  <a:pt x="702" y="368"/>
                  <a:pt x="699" y="368"/>
                </a:cubicBezTo>
                <a:cubicBezTo>
                  <a:pt x="697" y="368"/>
                  <a:pt x="695" y="370"/>
                  <a:pt x="695" y="373"/>
                </a:cubicBezTo>
                <a:cubicBezTo>
                  <a:pt x="695" y="375"/>
                  <a:pt x="697" y="378"/>
                  <a:pt x="699" y="378"/>
                </a:cubicBezTo>
                <a:cubicBezTo>
                  <a:pt x="702" y="378"/>
                  <a:pt x="704" y="375"/>
                  <a:pt x="704" y="373"/>
                </a:cubicBezTo>
                <a:close/>
                <a:moveTo>
                  <a:pt x="713" y="350"/>
                </a:moveTo>
                <a:cubicBezTo>
                  <a:pt x="715" y="350"/>
                  <a:pt x="717" y="348"/>
                  <a:pt x="717" y="346"/>
                </a:cubicBezTo>
                <a:cubicBezTo>
                  <a:pt x="717" y="343"/>
                  <a:pt x="715" y="341"/>
                  <a:pt x="713" y="341"/>
                </a:cubicBezTo>
                <a:cubicBezTo>
                  <a:pt x="710" y="341"/>
                  <a:pt x="708" y="343"/>
                  <a:pt x="708" y="346"/>
                </a:cubicBezTo>
                <a:cubicBezTo>
                  <a:pt x="708" y="348"/>
                  <a:pt x="710" y="350"/>
                  <a:pt x="713" y="350"/>
                </a:cubicBezTo>
                <a:close/>
                <a:moveTo>
                  <a:pt x="711" y="359"/>
                </a:moveTo>
                <a:cubicBezTo>
                  <a:pt x="711" y="357"/>
                  <a:pt x="709" y="355"/>
                  <a:pt x="706" y="355"/>
                </a:cubicBezTo>
                <a:cubicBezTo>
                  <a:pt x="704" y="355"/>
                  <a:pt x="702" y="357"/>
                  <a:pt x="702" y="359"/>
                </a:cubicBezTo>
                <a:cubicBezTo>
                  <a:pt x="702" y="362"/>
                  <a:pt x="704" y="364"/>
                  <a:pt x="706" y="364"/>
                </a:cubicBezTo>
                <a:cubicBezTo>
                  <a:pt x="709" y="364"/>
                  <a:pt x="711" y="362"/>
                  <a:pt x="711" y="359"/>
                </a:cubicBezTo>
                <a:close/>
                <a:moveTo>
                  <a:pt x="692" y="309"/>
                </a:moveTo>
                <a:cubicBezTo>
                  <a:pt x="695" y="309"/>
                  <a:pt x="697" y="307"/>
                  <a:pt x="697" y="305"/>
                </a:cubicBezTo>
                <a:cubicBezTo>
                  <a:pt x="697" y="302"/>
                  <a:pt x="695" y="300"/>
                  <a:pt x="692" y="300"/>
                </a:cubicBezTo>
                <a:cubicBezTo>
                  <a:pt x="690" y="300"/>
                  <a:pt x="688" y="302"/>
                  <a:pt x="688" y="305"/>
                </a:cubicBezTo>
                <a:cubicBezTo>
                  <a:pt x="688" y="307"/>
                  <a:pt x="690" y="309"/>
                  <a:pt x="692" y="309"/>
                </a:cubicBezTo>
                <a:close/>
                <a:moveTo>
                  <a:pt x="724" y="359"/>
                </a:moveTo>
                <a:cubicBezTo>
                  <a:pt x="724" y="357"/>
                  <a:pt x="722" y="355"/>
                  <a:pt x="720" y="355"/>
                </a:cubicBezTo>
                <a:cubicBezTo>
                  <a:pt x="717" y="355"/>
                  <a:pt x="715" y="357"/>
                  <a:pt x="715" y="359"/>
                </a:cubicBezTo>
                <a:cubicBezTo>
                  <a:pt x="715" y="362"/>
                  <a:pt x="717" y="364"/>
                  <a:pt x="720" y="364"/>
                </a:cubicBezTo>
                <a:cubicBezTo>
                  <a:pt x="722" y="364"/>
                  <a:pt x="724" y="362"/>
                  <a:pt x="724" y="359"/>
                </a:cubicBezTo>
                <a:close/>
                <a:moveTo>
                  <a:pt x="713" y="378"/>
                </a:moveTo>
                <a:cubicBezTo>
                  <a:pt x="715" y="378"/>
                  <a:pt x="717" y="375"/>
                  <a:pt x="717" y="373"/>
                </a:cubicBezTo>
                <a:cubicBezTo>
                  <a:pt x="717" y="370"/>
                  <a:pt x="715" y="368"/>
                  <a:pt x="713" y="368"/>
                </a:cubicBezTo>
                <a:cubicBezTo>
                  <a:pt x="710" y="368"/>
                  <a:pt x="708" y="370"/>
                  <a:pt x="708" y="373"/>
                </a:cubicBezTo>
                <a:cubicBezTo>
                  <a:pt x="708" y="375"/>
                  <a:pt x="710" y="378"/>
                  <a:pt x="713" y="378"/>
                </a:cubicBezTo>
                <a:close/>
                <a:moveTo>
                  <a:pt x="731" y="346"/>
                </a:moveTo>
                <a:cubicBezTo>
                  <a:pt x="731" y="343"/>
                  <a:pt x="729" y="341"/>
                  <a:pt x="727" y="341"/>
                </a:cubicBezTo>
                <a:cubicBezTo>
                  <a:pt x="724" y="341"/>
                  <a:pt x="722" y="343"/>
                  <a:pt x="722" y="346"/>
                </a:cubicBezTo>
                <a:cubicBezTo>
                  <a:pt x="722" y="348"/>
                  <a:pt x="724" y="350"/>
                  <a:pt x="727" y="350"/>
                </a:cubicBezTo>
                <a:cubicBezTo>
                  <a:pt x="729" y="350"/>
                  <a:pt x="731" y="348"/>
                  <a:pt x="731" y="346"/>
                </a:cubicBezTo>
                <a:close/>
                <a:moveTo>
                  <a:pt x="679" y="391"/>
                </a:moveTo>
                <a:cubicBezTo>
                  <a:pt x="681" y="391"/>
                  <a:pt x="683" y="389"/>
                  <a:pt x="683" y="387"/>
                </a:cubicBezTo>
                <a:cubicBezTo>
                  <a:pt x="683" y="384"/>
                  <a:pt x="681" y="382"/>
                  <a:pt x="679" y="382"/>
                </a:cubicBezTo>
                <a:cubicBezTo>
                  <a:pt x="676" y="382"/>
                  <a:pt x="674" y="384"/>
                  <a:pt x="674" y="387"/>
                </a:cubicBezTo>
                <a:cubicBezTo>
                  <a:pt x="674" y="389"/>
                  <a:pt x="676" y="391"/>
                  <a:pt x="679" y="391"/>
                </a:cubicBezTo>
                <a:close/>
                <a:moveTo>
                  <a:pt x="711" y="387"/>
                </a:moveTo>
                <a:cubicBezTo>
                  <a:pt x="711" y="384"/>
                  <a:pt x="709" y="382"/>
                  <a:pt x="706" y="382"/>
                </a:cubicBezTo>
                <a:cubicBezTo>
                  <a:pt x="704" y="382"/>
                  <a:pt x="702" y="384"/>
                  <a:pt x="702" y="387"/>
                </a:cubicBezTo>
                <a:cubicBezTo>
                  <a:pt x="702" y="389"/>
                  <a:pt x="704" y="391"/>
                  <a:pt x="706" y="391"/>
                </a:cubicBezTo>
                <a:cubicBezTo>
                  <a:pt x="709" y="391"/>
                  <a:pt x="711" y="389"/>
                  <a:pt x="711" y="387"/>
                </a:cubicBezTo>
                <a:close/>
                <a:moveTo>
                  <a:pt x="672" y="405"/>
                </a:moveTo>
                <a:cubicBezTo>
                  <a:pt x="675" y="405"/>
                  <a:pt x="677" y="403"/>
                  <a:pt x="677" y="400"/>
                </a:cubicBezTo>
                <a:cubicBezTo>
                  <a:pt x="677" y="398"/>
                  <a:pt x="675" y="396"/>
                  <a:pt x="672" y="396"/>
                </a:cubicBezTo>
                <a:cubicBezTo>
                  <a:pt x="670" y="396"/>
                  <a:pt x="667" y="398"/>
                  <a:pt x="667" y="400"/>
                </a:cubicBezTo>
                <a:cubicBezTo>
                  <a:pt x="667" y="403"/>
                  <a:pt x="670" y="405"/>
                  <a:pt x="672" y="405"/>
                </a:cubicBezTo>
                <a:close/>
                <a:moveTo>
                  <a:pt x="713" y="405"/>
                </a:moveTo>
                <a:cubicBezTo>
                  <a:pt x="715" y="405"/>
                  <a:pt x="717" y="403"/>
                  <a:pt x="717" y="400"/>
                </a:cubicBezTo>
                <a:cubicBezTo>
                  <a:pt x="717" y="398"/>
                  <a:pt x="715" y="396"/>
                  <a:pt x="713" y="396"/>
                </a:cubicBezTo>
                <a:cubicBezTo>
                  <a:pt x="710" y="396"/>
                  <a:pt x="708" y="398"/>
                  <a:pt x="708" y="400"/>
                </a:cubicBezTo>
                <a:cubicBezTo>
                  <a:pt x="708" y="403"/>
                  <a:pt x="710" y="405"/>
                  <a:pt x="713" y="405"/>
                </a:cubicBezTo>
                <a:close/>
                <a:moveTo>
                  <a:pt x="697" y="414"/>
                </a:moveTo>
                <a:cubicBezTo>
                  <a:pt x="697" y="411"/>
                  <a:pt x="695" y="409"/>
                  <a:pt x="692" y="409"/>
                </a:cubicBezTo>
                <a:cubicBezTo>
                  <a:pt x="690" y="409"/>
                  <a:pt x="688" y="411"/>
                  <a:pt x="688" y="414"/>
                </a:cubicBezTo>
                <a:cubicBezTo>
                  <a:pt x="688" y="416"/>
                  <a:pt x="690" y="418"/>
                  <a:pt x="692" y="418"/>
                </a:cubicBezTo>
                <a:cubicBezTo>
                  <a:pt x="695" y="418"/>
                  <a:pt x="697" y="416"/>
                  <a:pt x="697" y="414"/>
                </a:cubicBezTo>
                <a:close/>
                <a:moveTo>
                  <a:pt x="731" y="373"/>
                </a:moveTo>
                <a:cubicBezTo>
                  <a:pt x="731" y="370"/>
                  <a:pt x="729" y="368"/>
                  <a:pt x="727" y="368"/>
                </a:cubicBezTo>
                <a:cubicBezTo>
                  <a:pt x="724" y="368"/>
                  <a:pt x="722" y="370"/>
                  <a:pt x="722" y="373"/>
                </a:cubicBezTo>
                <a:cubicBezTo>
                  <a:pt x="722" y="375"/>
                  <a:pt x="724" y="378"/>
                  <a:pt x="727" y="378"/>
                </a:cubicBezTo>
                <a:cubicBezTo>
                  <a:pt x="729" y="378"/>
                  <a:pt x="731" y="375"/>
                  <a:pt x="731" y="373"/>
                </a:cubicBezTo>
                <a:close/>
                <a:moveTo>
                  <a:pt x="724" y="387"/>
                </a:moveTo>
                <a:cubicBezTo>
                  <a:pt x="724" y="384"/>
                  <a:pt x="722" y="382"/>
                  <a:pt x="720" y="382"/>
                </a:cubicBezTo>
                <a:cubicBezTo>
                  <a:pt x="717" y="382"/>
                  <a:pt x="715" y="384"/>
                  <a:pt x="715" y="387"/>
                </a:cubicBezTo>
                <a:cubicBezTo>
                  <a:pt x="715" y="389"/>
                  <a:pt x="717" y="391"/>
                  <a:pt x="720" y="391"/>
                </a:cubicBezTo>
                <a:cubicBezTo>
                  <a:pt x="722" y="391"/>
                  <a:pt x="724" y="389"/>
                  <a:pt x="724" y="387"/>
                </a:cubicBezTo>
                <a:close/>
                <a:moveTo>
                  <a:pt x="681" y="428"/>
                </a:moveTo>
                <a:cubicBezTo>
                  <a:pt x="681" y="430"/>
                  <a:pt x="683" y="432"/>
                  <a:pt x="686" y="432"/>
                </a:cubicBezTo>
                <a:cubicBezTo>
                  <a:pt x="688" y="432"/>
                  <a:pt x="690" y="430"/>
                  <a:pt x="690" y="428"/>
                </a:cubicBezTo>
                <a:cubicBezTo>
                  <a:pt x="690" y="425"/>
                  <a:pt x="688" y="423"/>
                  <a:pt x="686" y="423"/>
                </a:cubicBezTo>
                <a:cubicBezTo>
                  <a:pt x="683" y="423"/>
                  <a:pt x="681" y="425"/>
                  <a:pt x="681" y="428"/>
                </a:cubicBezTo>
                <a:close/>
                <a:moveTo>
                  <a:pt x="692" y="391"/>
                </a:moveTo>
                <a:cubicBezTo>
                  <a:pt x="695" y="391"/>
                  <a:pt x="697" y="389"/>
                  <a:pt x="697" y="387"/>
                </a:cubicBezTo>
                <a:cubicBezTo>
                  <a:pt x="697" y="384"/>
                  <a:pt x="695" y="382"/>
                  <a:pt x="692" y="382"/>
                </a:cubicBezTo>
                <a:cubicBezTo>
                  <a:pt x="690" y="382"/>
                  <a:pt x="688" y="384"/>
                  <a:pt x="688" y="387"/>
                </a:cubicBezTo>
                <a:cubicBezTo>
                  <a:pt x="688" y="389"/>
                  <a:pt x="690" y="391"/>
                  <a:pt x="692" y="391"/>
                </a:cubicBezTo>
                <a:close/>
                <a:moveTo>
                  <a:pt x="681" y="318"/>
                </a:moveTo>
                <a:cubicBezTo>
                  <a:pt x="681" y="321"/>
                  <a:pt x="683" y="323"/>
                  <a:pt x="686" y="323"/>
                </a:cubicBezTo>
                <a:cubicBezTo>
                  <a:pt x="688" y="323"/>
                  <a:pt x="690" y="321"/>
                  <a:pt x="690" y="318"/>
                </a:cubicBezTo>
                <a:cubicBezTo>
                  <a:pt x="690" y="316"/>
                  <a:pt x="688" y="314"/>
                  <a:pt x="686" y="314"/>
                </a:cubicBezTo>
                <a:cubicBezTo>
                  <a:pt x="683" y="314"/>
                  <a:pt x="681" y="316"/>
                  <a:pt x="681" y="318"/>
                </a:cubicBezTo>
                <a:close/>
                <a:moveTo>
                  <a:pt x="667" y="373"/>
                </a:moveTo>
                <a:cubicBezTo>
                  <a:pt x="667" y="375"/>
                  <a:pt x="670" y="378"/>
                  <a:pt x="672" y="378"/>
                </a:cubicBezTo>
                <a:cubicBezTo>
                  <a:pt x="675" y="378"/>
                  <a:pt x="677" y="375"/>
                  <a:pt x="677" y="373"/>
                </a:cubicBezTo>
                <a:cubicBezTo>
                  <a:pt x="677" y="370"/>
                  <a:pt x="675" y="368"/>
                  <a:pt x="672" y="368"/>
                </a:cubicBezTo>
                <a:cubicBezTo>
                  <a:pt x="670" y="368"/>
                  <a:pt x="667" y="370"/>
                  <a:pt x="667" y="373"/>
                </a:cubicBezTo>
                <a:close/>
                <a:moveTo>
                  <a:pt x="674" y="332"/>
                </a:moveTo>
                <a:cubicBezTo>
                  <a:pt x="674" y="335"/>
                  <a:pt x="676" y="337"/>
                  <a:pt x="679" y="337"/>
                </a:cubicBezTo>
                <a:cubicBezTo>
                  <a:pt x="681" y="337"/>
                  <a:pt x="683" y="335"/>
                  <a:pt x="683" y="332"/>
                </a:cubicBezTo>
                <a:cubicBezTo>
                  <a:pt x="683" y="330"/>
                  <a:pt x="681" y="328"/>
                  <a:pt x="679" y="328"/>
                </a:cubicBezTo>
                <a:cubicBezTo>
                  <a:pt x="676" y="328"/>
                  <a:pt x="674" y="330"/>
                  <a:pt x="674" y="332"/>
                </a:cubicBezTo>
                <a:close/>
                <a:moveTo>
                  <a:pt x="738" y="359"/>
                </a:moveTo>
                <a:cubicBezTo>
                  <a:pt x="738" y="357"/>
                  <a:pt x="736" y="355"/>
                  <a:pt x="733" y="355"/>
                </a:cubicBezTo>
                <a:cubicBezTo>
                  <a:pt x="731" y="355"/>
                  <a:pt x="729" y="357"/>
                  <a:pt x="729" y="359"/>
                </a:cubicBezTo>
                <a:cubicBezTo>
                  <a:pt x="729" y="362"/>
                  <a:pt x="731" y="364"/>
                  <a:pt x="733" y="364"/>
                </a:cubicBezTo>
                <a:cubicBezTo>
                  <a:pt x="736" y="364"/>
                  <a:pt x="738" y="362"/>
                  <a:pt x="738" y="359"/>
                </a:cubicBezTo>
                <a:close/>
                <a:moveTo>
                  <a:pt x="686" y="405"/>
                </a:moveTo>
                <a:cubicBezTo>
                  <a:pt x="688" y="405"/>
                  <a:pt x="690" y="403"/>
                  <a:pt x="690" y="400"/>
                </a:cubicBezTo>
                <a:cubicBezTo>
                  <a:pt x="690" y="398"/>
                  <a:pt x="688" y="396"/>
                  <a:pt x="686" y="396"/>
                </a:cubicBezTo>
                <a:cubicBezTo>
                  <a:pt x="683" y="396"/>
                  <a:pt x="681" y="398"/>
                  <a:pt x="681" y="400"/>
                </a:cubicBezTo>
                <a:cubicBezTo>
                  <a:pt x="681" y="403"/>
                  <a:pt x="683" y="405"/>
                  <a:pt x="686" y="405"/>
                </a:cubicBezTo>
                <a:close/>
                <a:moveTo>
                  <a:pt x="751" y="387"/>
                </a:moveTo>
                <a:cubicBezTo>
                  <a:pt x="751" y="384"/>
                  <a:pt x="749" y="382"/>
                  <a:pt x="747" y="382"/>
                </a:cubicBezTo>
                <a:cubicBezTo>
                  <a:pt x="744" y="382"/>
                  <a:pt x="742" y="384"/>
                  <a:pt x="742" y="387"/>
                </a:cubicBezTo>
                <a:cubicBezTo>
                  <a:pt x="742" y="389"/>
                  <a:pt x="744" y="391"/>
                  <a:pt x="747" y="391"/>
                </a:cubicBezTo>
                <a:cubicBezTo>
                  <a:pt x="749" y="391"/>
                  <a:pt x="751" y="389"/>
                  <a:pt x="751" y="387"/>
                </a:cubicBezTo>
                <a:close/>
                <a:moveTo>
                  <a:pt x="1090" y="482"/>
                </a:moveTo>
                <a:cubicBezTo>
                  <a:pt x="1090" y="485"/>
                  <a:pt x="1092" y="487"/>
                  <a:pt x="1094" y="487"/>
                </a:cubicBezTo>
                <a:cubicBezTo>
                  <a:pt x="1097" y="487"/>
                  <a:pt x="1099" y="485"/>
                  <a:pt x="1099" y="482"/>
                </a:cubicBezTo>
                <a:cubicBezTo>
                  <a:pt x="1099" y="480"/>
                  <a:pt x="1097" y="478"/>
                  <a:pt x="1094" y="478"/>
                </a:cubicBezTo>
                <a:cubicBezTo>
                  <a:pt x="1092" y="478"/>
                  <a:pt x="1090" y="480"/>
                  <a:pt x="1090" y="482"/>
                </a:cubicBezTo>
                <a:close/>
                <a:moveTo>
                  <a:pt x="1121" y="150"/>
                </a:moveTo>
                <a:cubicBezTo>
                  <a:pt x="1119" y="150"/>
                  <a:pt x="1117" y="152"/>
                  <a:pt x="1117" y="155"/>
                </a:cubicBezTo>
                <a:cubicBezTo>
                  <a:pt x="1117" y="157"/>
                  <a:pt x="1119" y="159"/>
                  <a:pt x="1121" y="159"/>
                </a:cubicBezTo>
                <a:cubicBezTo>
                  <a:pt x="1124" y="159"/>
                  <a:pt x="1126" y="157"/>
                  <a:pt x="1126" y="155"/>
                </a:cubicBezTo>
                <a:cubicBezTo>
                  <a:pt x="1126" y="152"/>
                  <a:pt x="1124" y="150"/>
                  <a:pt x="1121" y="150"/>
                </a:cubicBezTo>
                <a:close/>
                <a:moveTo>
                  <a:pt x="1115" y="500"/>
                </a:moveTo>
                <a:cubicBezTo>
                  <a:pt x="1117" y="500"/>
                  <a:pt x="1119" y="498"/>
                  <a:pt x="1119" y="496"/>
                </a:cubicBezTo>
                <a:cubicBezTo>
                  <a:pt x="1119" y="493"/>
                  <a:pt x="1117" y="491"/>
                  <a:pt x="1115" y="491"/>
                </a:cubicBezTo>
                <a:cubicBezTo>
                  <a:pt x="1112" y="491"/>
                  <a:pt x="1110" y="493"/>
                  <a:pt x="1110" y="496"/>
                </a:cubicBezTo>
                <a:cubicBezTo>
                  <a:pt x="1110" y="498"/>
                  <a:pt x="1112" y="500"/>
                  <a:pt x="1115" y="500"/>
                </a:cubicBezTo>
                <a:close/>
                <a:moveTo>
                  <a:pt x="1108" y="487"/>
                </a:moveTo>
                <a:cubicBezTo>
                  <a:pt x="1110" y="487"/>
                  <a:pt x="1112" y="485"/>
                  <a:pt x="1112" y="482"/>
                </a:cubicBezTo>
                <a:cubicBezTo>
                  <a:pt x="1112" y="480"/>
                  <a:pt x="1110" y="478"/>
                  <a:pt x="1108" y="478"/>
                </a:cubicBezTo>
                <a:cubicBezTo>
                  <a:pt x="1105" y="478"/>
                  <a:pt x="1103" y="480"/>
                  <a:pt x="1103" y="482"/>
                </a:cubicBezTo>
                <a:cubicBezTo>
                  <a:pt x="1103" y="485"/>
                  <a:pt x="1105" y="487"/>
                  <a:pt x="1108" y="487"/>
                </a:cubicBezTo>
                <a:close/>
                <a:moveTo>
                  <a:pt x="1121" y="514"/>
                </a:moveTo>
                <a:cubicBezTo>
                  <a:pt x="1124" y="514"/>
                  <a:pt x="1126" y="512"/>
                  <a:pt x="1126" y="509"/>
                </a:cubicBezTo>
                <a:cubicBezTo>
                  <a:pt x="1126" y="507"/>
                  <a:pt x="1124" y="505"/>
                  <a:pt x="1121" y="505"/>
                </a:cubicBezTo>
                <a:cubicBezTo>
                  <a:pt x="1119" y="505"/>
                  <a:pt x="1117" y="507"/>
                  <a:pt x="1117" y="509"/>
                </a:cubicBezTo>
                <a:cubicBezTo>
                  <a:pt x="1117" y="512"/>
                  <a:pt x="1119" y="514"/>
                  <a:pt x="1121" y="514"/>
                </a:cubicBezTo>
                <a:close/>
                <a:moveTo>
                  <a:pt x="1133" y="468"/>
                </a:moveTo>
                <a:cubicBezTo>
                  <a:pt x="1133" y="466"/>
                  <a:pt x="1131" y="464"/>
                  <a:pt x="1128" y="464"/>
                </a:cubicBezTo>
                <a:cubicBezTo>
                  <a:pt x="1126" y="464"/>
                  <a:pt x="1124" y="466"/>
                  <a:pt x="1124" y="468"/>
                </a:cubicBezTo>
                <a:cubicBezTo>
                  <a:pt x="1124" y="471"/>
                  <a:pt x="1126" y="473"/>
                  <a:pt x="1128" y="473"/>
                </a:cubicBezTo>
                <a:cubicBezTo>
                  <a:pt x="1131" y="473"/>
                  <a:pt x="1133" y="471"/>
                  <a:pt x="1133" y="468"/>
                </a:cubicBezTo>
                <a:close/>
                <a:moveTo>
                  <a:pt x="890" y="296"/>
                </a:moveTo>
                <a:cubicBezTo>
                  <a:pt x="892" y="296"/>
                  <a:pt x="894" y="294"/>
                  <a:pt x="894" y="291"/>
                </a:cubicBezTo>
                <a:cubicBezTo>
                  <a:pt x="894" y="289"/>
                  <a:pt x="892" y="287"/>
                  <a:pt x="890" y="287"/>
                </a:cubicBezTo>
                <a:cubicBezTo>
                  <a:pt x="887" y="287"/>
                  <a:pt x="885" y="289"/>
                  <a:pt x="885" y="291"/>
                </a:cubicBezTo>
                <a:cubicBezTo>
                  <a:pt x="885" y="294"/>
                  <a:pt x="887" y="296"/>
                  <a:pt x="890" y="296"/>
                </a:cubicBezTo>
                <a:close/>
                <a:moveTo>
                  <a:pt x="901" y="359"/>
                </a:moveTo>
                <a:cubicBezTo>
                  <a:pt x="901" y="357"/>
                  <a:pt x="899" y="355"/>
                  <a:pt x="897" y="355"/>
                </a:cubicBezTo>
                <a:cubicBezTo>
                  <a:pt x="894" y="355"/>
                  <a:pt x="892" y="357"/>
                  <a:pt x="892" y="359"/>
                </a:cubicBezTo>
                <a:cubicBezTo>
                  <a:pt x="892" y="362"/>
                  <a:pt x="894" y="364"/>
                  <a:pt x="897" y="364"/>
                </a:cubicBezTo>
                <a:cubicBezTo>
                  <a:pt x="899" y="364"/>
                  <a:pt x="901" y="362"/>
                  <a:pt x="901" y="359"/>
                </a:cubicBezTo>
                <a:close/>
                <a:moveTo>
                  <a:pt x="1065" y="250"/>
                </a:moveTo>
                <a:cubicBezTo>
                  <a:pt x="1065" y="248"/>
                  <a:pt x="1063" y="246"/>
                  <a:pt x="1060" y="246"/>
                </a:cubicBezTo>
                <a:cubicBezTo>
                  <a:pt x="1058" y="246"/>
                  <a:pt x="1056" y="248"/>
                  <a:pt x="1056" y="250"/>
                </a:cubicBezTo>
                <a:cubicBezTo>
                  <a:pt x="1056" y="253"/>
                  <a:pt x="1058" y="255"/>
                  <a:pt x="1060" y="255"/>
                </a:cubicBezTo>
                <a:cubicBezTo>
                  <a:pt x="1063" y="255"/>
                  <a:pt x="1065" y="253"/>
                  <a:pt x="1065" y="250"/>
                </a:cubicBezTo>
                <a:close/>
                <a:moveTo>
                  <a:pt x="1094" y="459"/>
                </a:moveTo>
                <a:cubicBezTo>
                  <a:pt x="1097" y="459"/>
                  <a:pt x="1099" y="457"/>
                  <a:pt x="1099" y="455"/>
                </a:cubicBezTo>
                <a:cubicBezTo>
                  <a:pt x="1099" y="452"/>
                  <a:pt x="1097" y="450"/>
                  <a:pt x="1094" y="450"/>
                </a:cubicBezTo>
                <a:cubicBezTo>
                  <a:pt x="1092" y="450"/>
                  <a:pt x="1090" y="452"/>
                  <a:pt x="1090" y="455"/>
                </a:cubicBezTo>
                <a:cubicBezTo>
                  <a:pt x="1090" y="457"/>
                  <a:pt x="1092" y="459"/>
                  <a:pt x="1094" y="459"/>
                </a:cubicBezTo>
                <a:close/>
                <a:moveTo>
                  <a:pt x="1072" y="237"/>
                </a:moveTo>
                <a:cubicBezTo>
                  <a:pt x="1072" y="234"/>
                  <a:pt x="1070" y="232"/>
                  <a:pt x="1067" y="232"/>
                </a:cubicBezTo>
                <a:cubicBezTo>
                  <a:pt x="1064" y="232"/>
                  <a:pt x="1062" y="234"/>
                  <a:pt x="1062" y="237"/>
                </a:cubicBezTo>
                <a:cubicBezTo>
                  <a:pt x="1062" y="239"/>
                  <a:pt x="1064" y="241"/>
                  <a:pt x="1067" y="241"/>
                </a:cubicBezTo>
                <a:cubicBezTo>
                  <a:pt x="1070" y="241"/>
                  <a:pt x="1072" y="239"/>
                  <a:pt x="1072" y="237"/>
                </a:cubicBezTo>
                <a:close/>
                <a:moveTo>
                  <a:pt x="1065" y="278"/>
                </a:moveTo>
                <a:cubicBezTo>
                  <a:pt x="1065" y="275"/>
                  <a:pt x="1063" y="273"/>
                  <a:pt x="1060" y="273"/>
                </a:cubicBezTo>
                <a:cubicBezTo>
                  <a:pt x="1058" y="273"/>
                  <a:pt x="1056" y="275"/>
                  <a:pt x="1056" y="278"/>
                </a:cubicBezTo>
                <a:cubicBezTo>
                  <a:pt x="1056" y="280"/>
                  <a:pt x="1058" y="282"/>
                  <a:pt x="1060" y="282"/>
                </a:cubicBezTo>
                <a:cubicBezTo>
                  <a:pt x="1063" y="282"/>
                  <a:pt x="1065" y="280"/>
                  <a:pt x="1065" y="278"/>
                </a:cubicBezTo>
                <a:close/>
                <a:moveTo>
                  <a:pt x="1092" y="223"/>
                </a:moveTo>
                <a:cubicBezTo>
                  <a:pt x="1092" y="220"/>
                  <a:pt x="1090" y="218"/>
                  <a:pt x="1087" y="218"/>
                </a:cubicBezTo>
                <a:cubicBezTo>
                  <a:pt x="1085" y="218"/>
                  <a:pt x="1083" y="220"/>
                  <a:pt x="1083" y="223"/>
                </a:cubicBezTo>
                <a:cubicBezTo>
                  <a:pt x="1083" y="225"/>
                  <a:pt x="1085" y="227"/>
                  <a:pt x="1087" y="227"/>
                </a:cubicBezTo>
                <a:cubicBezTo>
                  <a:pt x="1090" y="227"/>
                  <a:pt x="1092" y="225"/>
                  <a:pt x="1092" y="223"/>
                </a:cubicBezTo>
                <a:close/>
                <a:moveTo>
                  <a:pt x="1078" y="223"/>
                </a:moveTo>
                <a:cubicBezTo>
                  <a:pt x="1078" y="220"/>
                  <a:pt x="1076" y="218"/>
                  <a:pt x="1074" y="218"/>
                </a:cubicBezTo>
                <a:cubicBezTo>
                  <a:pt x="1071" y="218"/>
                  <a:pt x="1069" y="220"/>
                  <a:pt x="1069" y="223"/>
                </a:cubicBezTo>
                <a:cubicBezTo>
                  <a:pt x="1069" y="225"/>
                  <a:pt x="1071" y="227"/>
                  <a:pt x="1074" y="227"/>
                </a:cubicBezTo>
                <a:cubicBezTo>
                  <a:pt x="1076" y="227"/>
                  <a:pt x="1078" y="225"/>
                  <a:pt x="1078" y="223"/>
                </a:cubicBezTo>
                <a:close/>
                <a:moveTo>
                  <a:pt x="1103" y="155"/>
                </a:moveTo>
                <a:cubicBezTo>
                  <a:pt x="1103" y="157"/>
                  <a:pt x="1105" y="159"/>
                  <a:pt x="1108" y="159"/>
                </a:cubicBezTo>
                <a:cubicBezTo>
                  <a:pt x="1110" y="159"/>
                  <a:pt x="1112" y="157"/>
                  <a:pt x="1112" y="155"/>
                </a:cubicBezTo>
                <a:cubicBezTo>
                  <a:pt x="1112" y="152"/>
                  <a:pt x="1110" y="150"/>
                  <a:pt x="1108" y="150"/>
                </a:cubicBezTo>
                <a:cubicBezTo>
                  <a:pt x="1105" y="150"/>
                  <a:pt x="1103" y="152"/>
                  <a:pt x="1103" y="155"/>
                </a:cubicBezTo>
                <a:close/>
                <a:moveTo>
                  <a:pt x="1053" y="150"/>
                </a:moveTo>
                <a:cubicBezTo>
                  <a:pt x="1051" y="150"/>
                  <a:pt x="1049" y="152"/>
                  <a:pt x="1049" y="155"/>
                </a:cubicBezTo>
                <a:cubicBezTo>
                  <a:pt x="1049" y="157"/>
                  <a:pt x="1051" y="159"/>
                  <a:pt x="1053" y="159"/>
                </a:cubicBezTo>
                <a:cubicBezTo>
                  <a:pt x="1056" y="159"/>
                  <a:pt x="1058" y="157"/>
                  <a:pt x="1058" y="155"/>
                </a:cubicBezTo>
                <a:cubicBezTo>
                  <a:pt x="1058" y="152"/>
                  <a:pt x="1056" y="150"/>
                  <a:pt x="1053" y="150"/>
                </a:cubicBezTo>
                <a:close/>
                <a:moveTo>
                  <a:pt x="1042" y="168"/>
                </a:moveTo>
                <a:cubicBezTo>
                  <a:pt x="1042" y="171"/>
                  <a:pt x="1044" y="173"/>
                  <a:pt x="1047" y="173"/>
                </a:cubicBezTo>
                <a:cubicBezTo>
                  <a:pt x="1049" y="173"/>
                  <a:pt x="1051" y="171"/>
                  <a:pt x="1051" y="168"/>
                </a:cubicBezTo>
                <a:cubicBezTo>
                  <a:pt x="1051" y="166"/>
                  <a:pt x="1049" y="164"/>
                  <a:pt x="1047" y="164"/>
                </a:cubicBezTo>
                <a:cubicBezTo>
                  <a:pt x="1044" y="164"/>
                  <a:pt x="1042" y="166"/>
                  <a:pt x="1042" y="168"/>
                </a:cubicBezTo>
                <a:close/>
                <a:moveTo>
                  <a:pt x="1060" y="164"/>
                </a:moveTo>
                <a:cubicBezTo>
                  <a:pt x="1058" y="164"/>
                  <a:pt x="1056" y="166"/>
                  <a:pt x="1056" y="168"/>
                </a:cubicBezTo>
                <a:cubicBezTo>
                  <a:pt x="1056" y="171"/>
                  <a:pt x="1058" y="173"/>
                  <a:pt x="1060" y="173"/>
                </a:cubicBezTo>
                <a:cubicBezTo>
                  <a:pt x="1063" y="173"/>
                  <a:pt x="1065" y="171"/>
                  <a:pt x="1065" y="168"/>
                </a:cubicBezTo>
                <a:cubicBezTo>
                  <a:pt x="1065" y="166"/>
                  <a:pt x="1063" y="164"/>
                  <a:pt x="1060" y="164"/>
                </a:cubicBezTo>
                <a:close/>
                <a:moveTo>
                  <a:pt x="1028" y="168"/>
                </a:moveTo>
                <a:cubicBezTo>
                  <a:pt x="1028" y="171"/>
                  <a:pt x="1030" y="173"/>
                  <a:pt x="1033" y="173"/>
                </a:cubicBezTo>
                <a:cubicBezTo>
                  <a:pt x="1035" y="173"/>
                  <a:pt x="1037" y="171"/>
                  <a:pt x="1037" y="168"/>
                </a:cubicBezTo>
                <a:cubicBezTo>
                  <a:pt x="1037" y="166"/>
                  <a:pt x="1035" y="164"/>
                  <a:pt x="1033" y="164"/>
                </a:cubicBezTo>
                <a:cubicBezTo>
                  <a:pt x="1030" y="164"/>
                  <a:pt x="1028" y="166"/>
                  <a:pt x="1028" y="168"/>
                </a:cubicBezTo>
                <a:close/>
                <a:moveTo>
                  <a:pt x="1040" y="150"/>
                </a:moveTo>
                <a:cubicBezTo>
                  <a:pt x="1037" y="150"/>
                  <a:pt x="1035" y="152"/>
                  <a:pt x="1035" y="155"/>
                </a:cubicBezTo>
                <a:cubicBezTo>
                  <a:pt x="1035" y="157"/>
                  <a:pt x="1037" y="159"/>
                  <a:pt x="1040" y="159"/>
                </a:cubicBezTo>
                <a:cubicBezTo>
                  <a:pt x="1042" y="159"/>
                  <a:pt x="1044" y="157"/>
                  <a:pt x="1044" y="155"/>
                </a:cubicBezTo>
                <a:cubicBezTo>
                  <a:pt x="1044" y="152"/>
                  <a:pt x="1042" y="150"/>
                  <a:pt x="1040" y="150"/>
                </a:cubicBezTo>
                <a:close/>
                <a:moveTo>
                  <a:pt x="1062" y="182"/>
                </a:moveTo>
                <a:cubicBezTo>
                  <a:pt x="1062" y="185"/>
                  <a:pt x="1064" y="187"/>
                  <a:pt x="1067" y="187"/>
                </a:cubicBezTo>
                <a:cubicBezTo>
                  <a:pt x="1070" y="187"/>
                  <a:pt x="1072" y="185"/>
                  <a:pt x="1072" y="182"/>
                </a:cubicBezTo>
                <a:cubicBezTo>
                  <a:pt x="1072" y="179"/>
                  <a:pt x="1070" y="177"/>
                  <a:pt x="1067" y="177"/>
                </a:cubicBezTo>
                <a:cubicBezTo>
                  <a:pt x="1064" y="177"/>
                  <a:pt x="1062" y="179"/>
                  <a:pt x="1062" y="182"/>
                </a:cubicBezTo>
                <a:close/>
                <a:moveTo>
                  <a:pt x="1096" y="168"/>
                </a:moveTo>
                <a:cubicBezTo>
                  <a:pt x="1096" y="171"/>
                  <a:pt x="1099" y="173"/>
                  <a:pt x="1101" y="173"/>
                </a:cubicBezTo>
                <a:cubicBezTo>
                  <a:pt x="1104" y="173"/>
                  <a:pt x="1106" y="171"/>
                  <a:pt x="1106" y="168"/>
                </a:cubicBezTo>
                <a:cubicBezTo>
                  <a:pt x="1106" y="166"/>
                  <a:pt x="1104" y="164"/>
                  <a:pt x="1101" y="164"/>
                </a:cubicBezTo>
                <a:cubicBezTo>
                  <a:pt x="1099" y="164"/>
                  <a:pt x="1096" y="166"/>
                  <a:pt x="1096" y="168"/>
                </a:cubicBezTo>
                <a:close/>
                <a:moveTo>
                  <a:pt x="1115" y="137"/>
                </a:moveTo>
                <a:cubicBezTo>
                  <a:pt x="1112" y="137"/>
                  <a:pt x="1110" y="139"/>
                  <a:pt x="1110" y="141"/>
                </a:cubicBezTo>
                <a:cubicBezTo>
                  <a:pt x="1110" y="144"/>
                  <a:pt x="1112" y="146"/>
                  <a:pt x="1115" y="146"/>
                </a:cubicBezTo>
                <a:cubicBezTo>
                  <a:pt x="1117" y="146"/>
                  <a:pt x="1119" y="144"/>
                  <a:pt x="1119" y="141"/>
                </a:cubicBezTo>
                <a:cubicBezTo>
                  <a:pt x="1119" y="139"/>
                  <a:pt x="1117" y="137"/>
                  <a:pt x="1115" y="137"/>
                </a:cubicBezTo>
                <a:close/>
                <a:moveTo>
                  <a:pt x="1090" y="182"/>
                </a:moveTo>
                <a:cubicBezTo>
                  <a:pt x="1090" y="185"/>
                  <a:pt x="1092" y="187"/>
                  <a:pt x="1094" y="187"/>
                </a:cubicBezTo>
                <a:cubicBezTo>
                  <a:pt x="1097" y="187"/>
                  <a:pt x="1099" y="185"/>
                  <a:pt x="1099" y="182"/>
                </a:cubicBezTo>
                <a:cubicBezTo>
                  <a:pt x="1099" y="179"/>
                  <a:pt x="1097" y="177"/>
                  <a:pt x="1094" y="177"/>
                </a:cubicBezTo>
                <a:cubicBezTo>
                  <a:pt x="1092" y="177"/>
                  <a:pt x="1090" y="179"/>
                  <a:pt x="1090" y="182"/>
                </a:cubicBezTo>
                <a:close/>
                <a:moveTo>
                  <a:pt x="1060" y="355"/>
                </a:moveTo>
                <a:cubicBezTo>
                  <a:pt x="1058" y="355"/>
                  <a:pt x="1056" y="357"/>
                  <a:pt x="1056" y="359"/>
                </a:cubicBezTo>
                <a:cubicBezTo>
                  <a:pt x="1056" y="362"/>
                  <a:pt x="1058" y="364"/>
                  <a:pt x="1060" y="364"/>
                </a:cubicBezTo>
                <a:cubicBezTo>
                  <a:pt x="1063" y="364"/>
                  <a:pt x="1065" y="362"/>
                  <a:pt x="1065" y="359"/>
                </a:cubicBezTo>
                <a:cubicBezTo>
                  <a:pt x="1065" y="357"/>
                  <a:pt x="1063" y="355"/>
                  <a:pt x="1060" y="355"/>
                </a:cubicBezTo>
                <a:close/>
                <a:moveTo>
                  <a:pt x="1074" y="164"/>
                </a:moveTo>
                <a:cubicBezTo>
                  <a:pt x="1071" y="164"/>
                  <a:pt x="1069" y="166"/>
                  <a:pt x="1069" y="168"/>
                </a:cubicBezTo>
                <a:cubicBezTo>
                  <a:pt x="1069" y="171"/>
                  <a:pt x="1071" y="173"/>
                  <a:pt x="1074" y="173"/>
                </a:cubicBezTo>
                <a:cubicBezTo>
                  <a:pt x="1076" y="173"/>
                  <a:pt x="1078" y="171"/>
                  <a:pt x="1078" y="168"/>
                </a:cubicBezTo>
                <a:cubicBezTo>
                  <a:pt x="1078" y="166"/>
                  <a:pt x="1076" y="164"/>
                  <a:pt x="1074" y="164"/>
                </a:cubicBezTo>
                <a:close/>
                <a:moveTo>
                  <a:pt x="1087" y="164"/>
                </a:moveTo>
                <a:cubicBezTo>
                  <a:pt x="1085" y="164"/>
                  <a:pt x="1083" y="166"/>
                  <a:pt x="1083" y="168"/>
                </a:cubicBezTo>
                <a:cubicBezTo>
                  <a:pt x="1083" y="171"/>
                  <a:pt x="1085" y="173"/>
                  <a:pt x="1087" y="173"/>
                </a:cubicBezTo>
                <a:cubicBezTo>
                  <a:pt x="1090" y="173"/>
                  <a:pt x="1092" y="171"/>
                  <a:pt x="1092" y="168"/>
                </a:cubicBezTo>
                <a:cubicBezTo>
                  <a:pt x="1092" y="166"/>
                  <a:pt x="1090" y="164"/>
                  <a:pt x="1087" y="164"/>
                </a:cubicBezTo>
                <a:close/>
                <a:moveTo>
                  <a:pt x="1076" y="182"/>
                </a:moveTo>
                <a:cubicBezTo>
                  <a:pt x="1076" y="185"/>
                  <a:pt x="1078" y="187"/>
                  <a:pt x="1081" y="187"/>
                </a:cubicBezTo>
                <a:cubicBezTo>
                  <a:pt x="1083" y="187"/>
                  <a:pt x="1085" y="185"/>
                  <a:pt x="1085" y="182"/>
                </a:cubicBezTo>
                <a:cubicBezTo>
                  <a:pt x="1085" y="179"/>
                  <a:pt x="1083" y="177"/>
                  <a:pt x="1081" y="177"/>
                </a:cubicBezTo>
                <a:cubicBezTo>
                  <a:pt x="1078" y="177"/>
                  <a:pt x="1076" y="179"/>
                  <a:pt x="1076" y="182"/>
                </a:cubicBezTo>
                <a:close/>
                <a:moveTo>
                  <a:pt x="1051" y="387"/>
                </a:moveTo>
                <a:cubicBezTo>
                  <a:pt x="1051" y="384"/>
                  <a:pt x="1049" y="382"/>
                  <a:pt x="1047" y="382"/>
                </a:cubicBezTo>
                <a:cubicBezTo>
                  <a:pt x="1044" y="382"/>
                  <a:pt x="1042" y="384"/>
                  <a:pt x="1042" y="387"/>
                </a:cubicBezTo>
                <a:cubicBezTo>
                  <a:pt x="1042" y="389"/>
                  <a:pt x="1044" y="391"/>
                  <a:pt x="1047" y="391"/>
                </a:cubicBezTo>
                <a:cubicBezTo>
                  <a:pt x="1049" y="391"/>
                  <a:pt x="1051" y="389"/>
                  <a:pt x="1051" y="387"/>
                </a:cubicBezTo>
                <a:close/>
                <a:moveTo>
                  <a:pt x="951" y="282"/>
                </a:moveTo>
                <a:cubicBezTo>
                  <a:pt x="954" y="282"/>
                  <a:pt x="956" y="280"/>
                  <a:pt x="956" y="278"/>
                </a:cubicBezTo>
                <a:cubicBezTo>
                  <a:pt x="956" y="275"/>
                  <a:pt x="954" y="273"/>
                  <a:pt x="951" y="273"/>
                </a:cubicBezTo>
                <a:cubicBezTo>
                  <a:pt x="949" y="273"/>
                  <a:pt x="947" y="275"/>
                  <a:pt x="947" y="278"/>
                </a:cubicBezTo>
                <a:cubicBezTo>
                  <a:pt x="947" y="280"/>
                  <a:pt x="949" y="282"/>
                  <a:pt x="951" y="282"/>
                </a:cubicBezTo>
                <a:close/>
                <a:moveTo>
                  <a:pt x="958" y="296"/>
                </a:moveTo>
                <a:cubicBezTo>
                  <a:pt x="961" y="296"/>
                  <a:pt x="963" y="294"/>
                  <a:pt x="963" y="291"/>
                </a:cubicBezTo>
                <a:cubicBezTo>
                  <a:pt x="963" y="289"/>
                  <a:pt x="961" y="287"/>
                  <a:pt x="958" y="287"/>
                </a:cubicBezTo>
                <a:cubicBezTo>
                  <a:pt x="956" y="287"/>
                  <a:pt x="954" y="289"/>
                  <a:pt x="954" y="291"/>
                </a:cubicBezTo>
                <a:cubicBezTo>
                  <a:pt x="954" y="294"/>
                  <a:pt x="956" y="296"/>
                  <a:pt x="958" y="296"/>
                </a:cubicBezTo>
                <a:close/>
                <a:moveTo>
                  <a:pt x="944" y="268"/>
                </a:moveTo>
                <a:cubicBezTo>
                  <a:pt x="947" y="268"/>
                  <a:pt x="949" y="266"/>
                  <a:pt x="949" y="264"/>
                </a:cubicBezTo>
                <a:cubicBezTo>
                  <a:pt x="949" y="261"/>
                  <a:pt x="947" y="259"/>
                  <a:pt x="944" y="259"/>
                </a:cubicBezTo>
                <a:cubicBezTo>
                  <a:pt x="942" y="259"/>
                  <a:pt x="940" y="261"/>
                  <a:pt x="940" y="264"/>
                </a:cubicBezTo>
                <a:cubicBezTo>
                  <a:pt x="940" y="266"/>
                  <a:pt x="942" y="268"/>
                  <a:pt x="944" y="268"/>
                </a:cubicBezTo>
                <a:close/>
                <a:moveTo>
                  <a:pt x="938" y="255"/>
                </a:moveTo>
                <a:cubicBezTo>
                  <a:pt x="940" y="255"/>
                  <a:pt x="942" y="253"/>
                  <a:pt x="942" y="250"/>
                </a:cubicBezTo>
                <a:cubicBezTo>
                  <a:pt x="942" y="248"/>
                  <a:pt x="940" y="246"/>
                  <a:pt x="938" y="246"/>
                </a:cubicBezTo>
                <a:cubicBezTo>
                  <a:pt x="935" y="246"/>
                  <a:pt x="933" y="248"/>
                  <a:pt x="933" y="250"/>
                </a:cubicBezTo>
                <a:cubicBezTo>
                  <a:pt x="933" y="253"/>
                  <a:pt x="935" y="255"/>
                  <a:pt x="938" y="255"/>
                </a:cubicBezTo>
                <a:close/>
                <a:moveTo>
                  <a:pt x="965" y="309"/>
                </a:moveTo>
                <a:cubicBezTo>
                  <a:pt x="967" y="309"/>
                  <a:pt x="969" y="307"/>
                  <a:pt x="969" y="305"/>
                </a:cubicBezTo>
                <a:cubicBezTo>
                  <a:pt x="969" y="302"/>
                  <a:pt x="967" y="300"/>
                  <a:pt x="965" y="300"/>
                </a:cubicBezTo>
                <a:cubicBezTo>
                  <a:pt x="962" y="300"/>
                  <a:pt x="960" y="302"/>
                  <a:pt x="960" y="305"/>
                </a:cubicBezTo>
                <a:cubicBezTo>
                  <a:pt x="960" y="307"/>
                  <a:pt x="962" y="309"/>
                  <a:pt x="965" y="309"/>
                </a:cubicBezTo>
                <a:close/>
                <a:moveTo>
                  <a:pt x="972" y="323"/>
                </a:moveTo>
                <a:cubicBezTo>
                  <a:pt x="974" y="323"/>
                  <a:pt x="976" y="321"/>
                  <a:pt x="976" y="318"/>
                </a:cubicBezTo>
                <a:cubicBezTo>
                  <a:pt x="976" y="316"/>
                  <a:pt x="974" y="314"/>
                  <a:pt x="972" y="314"/>
                </a:cubicBezTo>
                <a:cubicBezTo>
                  <a:pt x="969" y="314"/>
                  <a:pt x="967" y="316"/>
                  <a:pt x="967" y="318"/>
                </a:cubicBezTo>
                <a:cubicBezTo>
                  <a:pt x="967" y="321"/>
                  <a:pt x="969" y="323"/>
                  <a:pt x="972" y="323"/>
                </a:cubicBezTo>
                <a:close/>
                <a:moveTo>
                  <a:pt x="922" y="237"/>
                </a:moveTo>
                <a:cubicBezTo>
                  <a:pt x="922" y="234"/>
                  <a:pt x="920" y="232"/>
                  <a:pt x="917" y="232"/>
                </a:cubicBezTo>
                <a:cubicBezTo>
                  <a:pt x="915" y="232"/>
                  <a:pt x="913" y="234"/>
                  <a:pt x="913" y="237"/>
                </a:cubicBezTo>
                <a:cubicBezTo>
                  <a:pt x="913" y="239"/>
                  <a:pt x="915" y="241"/>
                  <a:pt x="917" y="241"/>
                </a:cubicBezTo>
                <a:cubicBezTo>
                  <a:pt x="920" y="241"/>
                  <a:pt x="922" y="239"/>
                  <a:pt x="922" y="237"/>
                </a:cubicBezTo>
                <a:close/>
                <a:moveTo>
                  <a:pt x="915" y="250"/>
                </a:moveTo>
                <a:cubicBezTo>
                  <a:pt x="915" y="248"/>
                  <a:pt x="913" y="246"/>
                  <a:pt x="910" y="246"/>
                </a:cubicBezTo>
                <a:cubicBezTo>
                  <a:pt x="908" y="246"/>
                  <a:pt x="906" y="248"/>
                  <a:pt x="906" y="250"/>
                </a:cubicBezTo>
                <a:cubicBezTo>
                  <a:pt x="906" y="253"/>
                  <a:pt x="908" y="255"/>
                  <a:pt x="910" y="255"/>
                </a:cubicBezTo>
                <a:cubicBezTo>
                  <a:pt x="913" y="255"/>
                  <a:pt x="915" y="253"/>
                  <a:pt x="915" y="250"/>
                </a:cubicBezTo>
                <a:close/>
                <a:moveTo>
                  <a:pt x="908" y="264"/>
                </a:moveTo>
                <a:cubicBezTo>
                  <a:pt x="908" y="261"/>
                  <a:pt x="906" y="259"/>
                  <a:pt x="904" y="259"/>
                </a:cubicBezTo>
                <a:cubicBezTo>
                  <a:pt x="901" y="259"/>
                  <a:pt x="899" y="261"/>
                  <a:pt x="899" y="264"/>
                </a:cubicBezTo>
                <a:cubicBezTo>
                  <a:pt x="899" y="266"/>
                  <a:pt x="901" y="268"/>
                  <a:pt x="904" y="268"/>
                </a:cubicBezTo>
                <a:cubicBezTo>
                  <a:pt x="906" y="268"/>
                  <a:pt x="908" y="266"/>
                  <a:pt x="908" y="264"/>
                </a:cubicBezTo>
                <a:close/>
                <a:moveTo>
                  <a:pt x="901" y="278"/>
                </a:moveTo>
                <a:cubicBezTo>
                  <a:pt x="901" y="275"/>
                  <a:pt x="899" y="273"/>
                  <a:pt x="897" y="273"/>
                </a:cubicBezTo>
                <a:cubicBezTo>
                  <a:pt x="894" y="273"/>
                  <a:pt x="892" y="275"/>
                  <a:pt x="892" y="278"/>
                </a:cubicBezTo>
                <a:cubicBezTo>
                  <a:pt x="892" y="280"/>
                  <a:pt x="894" y="282"/>
                  <a:pt x="897" y="282"/>
                </a:cubicBezTo>
                <a:cubicBezTo>
                  <a:pt x="899" y="282"/>
                  <a:pt x="901" y="280"/>
                  <a:pt x="901" y="278"/>
                </a:cubicBezTo>
                <a:close/>
                <a:moveTo>
                  <a:pt x="978" y="337"/>
                </a:moveTo>
                <a:cubicBezTo>
                  <a:pt x="981" y="337"/>
                  <a:pt x="983" y="335"/>
                  <a:pt x="983" y="332"/>
                </a:cubicBezTo>
                <a:cubicBezTo>
                  <a:pt x="983" y="330"/>
                  <a:pt x="981" y="328"/>
                  <a:pt x="978" y="328"/>
                </a:cubicBezTo>
                <a:cubicBezTo>
                  <a:pt x="976" y="328"/>
                  <a:pt x="974" y="330"/>
                  <a:pt x="974" y="332"/>
                </a:cubicBezTo>
                <a:cubicBezTo>
                  <a:pt x="974" y="335"/>
                  <a:pt x="976" y="337"/>
                  <a:pt x="978" y="337"/>
                </a:cubicBezTo>
                <a:close/>
                <a:moveTo>
                  <a:pt x="931" y="241"/>
                </a:moveTo>
                <a:cubicBezTo>
                  <a:pt x="933" y="241"/>
                  <a:pt x="935" y="239"/>
                  <a:pt x="935" y="237"/>
                </a:cubicBezTo>
                <a:cubicBezTo>
                  <a:pt x="935" y="234"/>
                  <a:pt x="933" y="232"/>
                  <a:pt x="931" y="232"/>
                </a:cubicBezTo>
                <a:cubicBezTo>
                  <a:pt x="928" y="232"/>
                  <a:pt x="926" y="234"/>
                  <a:pt x="926" y="237"/>
                </a:cubicBezTo>
                <a:cubicBezTo>
                  <a:pt x="926" y="239"/>
                  <a:pt x="928" y="241"/>
                  <a:pt x="931" y="241"/>
                </a:cubicBezTo>
                <a:close/>
                <a:moveTo>
                  <a:pt x="929" y="223"/>
                </a:moveTo>
                <a:cubicBezTo>
                  <a:pt x="929" y="220"/>
                  <a:pt x="926" y="218"/>
                  <a:pt x="924" y="218"/>
                </a:cubicBezTo>
                <a:cubicBezTo>
                  <a:pt x="921" y="218"/>
                  <a:pt x="919" y="220"/>
                  <a:pt x="919" y="223"/>
                </a:cubicBezTo>
                <a:cubicBezTo>
                  <a:pt x="919" y="225"/>
                  <a:pt x="921" y="227"/>
                  <a:pt x="924" y="227"/>
                </a:cubicBezTo>
                <a:cubicBezTo>
                  <a:pt x="926" y="227"/>
                  <a:pt x="929" y="225"/>
                  <a:pt x="929" y="223"/>
                </a:cubicBezTo>
                <a:close/>
                <a:moveTo>
                  <a:pt x="1013" y="296"/>
                </a:moveTo>
                <a:cubicBezTo>
                  <a:pt x="1015" y="296"/>
                  <a:pt x="1017" y="294"/>
                  <a:pt x="1017" y="291"/>
                </a:cubicBezTo>
                <a:cubicBezTo>
                  <a:pt x="1017" y="289"/>
                  <a:pt x="1015" y="287"/>
                  <a:pt x="1013" y="287"/>
                </a:cubicBezTo>
                <a:cubicBezTo>
                  <a:pt x="1010" y="287"/>
                  <a:pt x="1008" y="289"/>
                  <a:pt x="1008" y="291"/>
                </a:cubicBezTo>
                <a:cubicBezTo>
                  <a:pt x="1008" y="294"/>
                  <a:pt x="1010" y="296"/>
                  <a:pt x="1013" y="296"/>
                </a:cubicBezTo>
                <a:close/>
                <a:moveTo>
                  <a:pt x="1040" y="378"/>
                </a:moveTo>
                <a:cubicBezTo>
                  <a:pt x="1042" y="378"/>
                  <a:pt x="1044" y="375"/>
                  <a:pt x="1044" y="373"/>
                </a:cubicBezTo>
                <a:cubicBezTo>
                  <a:pt x="1044" y="370"/>
                  <a:pt x="1042" y="368"/>
                  <a:pt x="1040" y="368"/>
                </a:cubicBezTo>
                <a:cubicBezTo>
                  <a:pt x="1037" y="368"/>
                  <a:pt x="1035" y="370"/>
                  <a:pt x="1035" y="373"/>
                </a:cubicBezTo>
                <a:cubicBezTo>
                  <a:pt x="1035" y="375"/>
                  <a:pt x="1037" y="378"/>
                  <a:pt x="1040" y="378"/>
                </a:cubicBezTo>
                <a:close/>
                <a:moveTo>
                  <a:pt x="1040" y="405"/>
                </a:moveTo>
                <a:cubicBezTo>
                  <a:pt x="1042" y="405"/>
                  <a:pt x="1044" y="403"/>
                  <a:pt x="1044" y="400"/>
                </a:cubicBezTo>
                <a:cubicBezTo>
                  <a:pt x="1044" y="398"/>
                  <a:pt x="1042" y="396"/>
                  <a:pt x="1040" y="396"/>
                </a:cubicBezTo>
                <a:cubicBezTo>
                  <a:pt x="1037" y="396"/>
                  <a:pt x="1035" y="398"/>
                  <a:pt x="1035" y="400"/>
                </a:cubicBezTo>
                <a:cubicBezTo>
                  <a:pt x="1035" y="403"/>
                  <a:pt x="1037" y="405"/>
                  <a:pt x="1040" y="405"/>
                </a:cubicBezTo>
                <a:close/>
                <a:moveTo>
                  <a:pt x="1040" y="323"/>
                </a:moveTo>
                <a:cubicBezTo>
                  <a:pt x="1042" y="323"/>
                  <a:pt x="1044" y="321"/>
                  <a:pt x="1044" y="318"/>
                </a:cubicBezTo>
                <a:cubicBezTo>
                  <a:pt x="1044" y="316"/>
                  <a:pt x="1042" y="314"/>
                  <a:pt x="1040" y="314"/>
                </a:cubicBezTo>
                <a:cubicBezTo>
                  <a:pt x="1037" y="314"/>
                  <a:pt x="1035" y="316"/>
                  <a:pt x="1035" y="318"/>
                </a:cubicBezTo>
                <a:cubicBezTo>
                  <a:pt x="1035" y="321"/>
                  <a:pt x="1037" y="323"/>
                  <a:pt x="1040" y="323"/>
                </a:cubicBezTo>
                <a:close/>
                <a:moveTo>
                  <a:pt x="1035" y="346"/>
                </a:moveTo>
                <a:cubicBezTo>
                  <a:pt x="1035" y="348"/>
                  <a:pt x="1037" y="350"/>
                  <a:pt x="1040" y="350"/>
                </a:cubicBezTo>
                <a:cubicBezTo>
                  <a:pt x="1042" y="350"/>
                  <a:pt x="1044" y="348"/>
                  <a:pt x="1044" y="346"/>
                </a:cubicBezTo>
                <a:cubicBezTo>
                  <a:pt x="1044" y="343"/>
                  <a:pt x="1042" y="341"/>
                  <a:pt x="1040" y="341"/>
                </a:cubicBezTo>
                <a:cubicBezTo>
                  <a:pt x="1037" y="341"/>
                  <a:pt x="1035" y="343"/>
                  <a:pt x="1035" y="346"/>
                </a:cubicBezTo>
                <a:close/>
                <a:moveTo>
                  <a:pt x="1026" y="150"/>
                </a:moveTo>
                <a:cubicBezTo>
                  <a:pt x="1024" y="150"/>
                  <a:pt x="1022" y="152"/>
                  <a:pt x="1022" y="155"/>
                </a:cubicBezTo>
                <a:cubicBezTo>
                  <a:pt x="1022" y="157"/>
                  <a:pt x="1024" y="159"/>
                  <a:pt x="1026" y="159"/>
                </a:cubicBezTo>
                <a:cubicBezTo>
                  <a:pt x="1029" y="159"/>
                  <a:pt x="1031" y="157"/>
                  <a:pt x="1031" y="155"/>
                </a:cubicBezTo>
                <a:cubicBezTo>
                  <a:pt x="1031" y="152"/>
                  <a:pt x="1029" y="150"/>
                  <a:pt x="1026" y="150"/>
                </a:cubicBezTo>
                <a:close/>
                <a:moveTo>
                  <a:pt x="1053" y="405"/>
                </a:moveTo>
                <a:cubicBezTo>
                  <a:pt x="1056" y="405"/>
                  <a:pt x="1058" y="403"/>
                  <a:pt x="1058" y="400"/>
                </a:cubicBezTo>
                <a:cubicBezTo>
                  <a:pt x="1058" y="398"/>
                  <a:pt x="1056" y="396"/>
                  <a:pt x="1053" y="396"/>
                </a:cubicBezTo>
                <a:cubicBezTo>
                  <a:pt x="1051" y="396"/>
                  <a:pt x="1049" y="398"/>
                  <a:pt x="1049" y="400"/>
                </a:cubicBezTo>
                <a:cubicBezTo>
                  <a:pt x="1049" y="403"/>
                  <a:pt x="1051" y="405"/>
                  <a:pt x="1053" y="405"/>
                </a:cubicBezTo>
                <a:close/>
                <a:moveTo>
                  <a:pt x="1003" y="291"/>
                </a:moveTo>
                <a:cubicBezTo>
                  <a:pt x="1003" y="289"/>
                  <a:pt x="1001" y="287"/>
                  <a:pt x="999" y="287"/>
                </a:cubicBezTo>
                <a:cubicBezTo>
                  <a:pt x="996" y="287"/>
                  <a:pt x="994" y="289"/>
                  <a:pt x="994" y="291"/>
                </a:cubicBezTo>
                <a:cubicBezTo>
                  <a:pt x="994" y="294"/>
                  <a:pt x="996" y="296"/>
                  <a:pt x="999" y="296"/>
                </a:cubicBezTo>
                <a:cubicBezTo>
                  <a:pt x="1001" y="296"/>
                  <a:pt x="1003" y="294"/>
                  <a:pt x="1003" y="291"/>
                </a:cubicBezTo>
                <a:close/>
                <a:moveTo>
                  <a:pt x="990" y="318"/>
                </a:moveTo>
                <a:cubicBezTo>
                  <a:pt x="990" y="316"/>
                  <a:pt x="988" y="314"/>
                  <a:pt x="985" y="314"/>
                </a:cubicBezTo>
                <a:cubicBezTo>
                  <a:pt x="983" y="314"/>
                  <a:pt x="981" y="316"/>
                  <a:pt x="981" y="318"/>
                </a:cubicBezTo>
                <a:cubicBezTo>
                  <a:pt x="981" y="321"/>
                  <a:pt x="983" y="323"/>
                  <a:pt x="985" y="323"/>
                </a:cubicBezTo>
                <a:cubicBezTo>
                  <a:pt x="988" y="323"/>
                  <a:pt x="990" y="321"/>
                  <a:pt x="990" y="318"/>
                </a:cubicBezTo>
                <a:close/>
                <a:moveTo>
                  <a:pt x="1010" y="278"/>
                </a:moveTo>
                <a:cubicBezTo>
                  <a:pt x="1010" y="275"/>
                  <a:pt x="1008" y="273"/>
                  <a:pt x="1006" y="273"/>
                </a:cubicBezTo>
                <a:cubicBezTo>
                  <a:pt x="1003" y="273"/>
                  <a:pt x="1001" y="275"/>
                  <a:pt x="1001" y="278"/>
                </a:cubicBezTo>
                <a:cubicBezTo>
                  <a:pt x="1001" y="280"/>
                  <a:pt x="1003" y="282"/>
                  <a:pt x="1006" y="282"/>
                </a:cubicBezTo>
                <a:cubicBezTo>
                  <a:pt x="1008" y="282"/>
                  <a:pt x="1010" y="280"/>
                  <a:pt x="1010" y="278"/>
                </a:cubicBezTo>
                <a:close/>
                <a:moveTo>
                  <a:pt x="1037" y="305"/>
                </a:moveTo>
                <a:cubicBezTo>
                  <a:pt x="1037" y="302"/>
                  <a:pt x="1035" y="300"/>
                  <a:pt x="1033" y="300"/>
                </a:cubicBezTo>
                <a:cubicBezTo>
                  <a:pt x="1030" y="300"/>
                  <a:pt x="1028" y="302"/>
                  <a:pt x="1028" y="305"/>
                </a:cubicBezTo>
                <a:cubicBezTo>
                  <a:pt x="1028" y="307"/>
                  <a:pt x="1030" y="309"/>
                  <a:pt x="1033" y="309"/>
                </a:cubicBezTo>
                <a:cubicBezTo>
                  <a:pt x="1035" y="309"/>
                  <a:pt x="1037" y="307"/>
                  <a:pt x="1037" y="305"/>
                </a:cubicBezTo>
                <a:close/>
                <a:moveTo>
                  <a:pt x="997" y="305"/>
                </a:moveTo>
                <a:cubicBezTo>
                  <a:pt x="997" y="302"/>
                  <a:pt x="995" y="300"/>
                  <a:pt x="992" y="300"/>
                </a:cubicBezTo>
                <a:cubicBezTo>
                  <a:pt x="990" y="300"/>
                  <a:pt x="988" y="302"/>
                  <a:pt x="988" y="305"/>
                </a:cubicBezTo>
                <a:cubicBezTo>
                  <a:pt x="988" y="307"/>
                  <a:pt x="990" y="309"/>
                  <a:pt x="992" y="309"/>
                </a:cubicBezTo>
                <a:cubicBezTo>
                  <a:pt x="995" y="309"/>
                  <a:pt x="997" y="307"/>
                  <a:pt x="997" y="305"/>
                </a:cubicBezTo>
                <a:close/>
                <a:moveTo>
                  <a:pt x="1060" y="418"/>
                </a:moveTo>
                <a:cubicBezTo>
                  <a:pt x="1063" y="418"/>
                  <a:pt x="1065" y="416"/>
                  <a:pt x="1065" y="414"/>
                </a:cubicBezTo>
                <a:cubicBezTo>
                  <a:pt x="1065" y="411"/>
                  <a:pt x="1063" y="409"/>
                  <a:pt x="1060" y="409"/>
                </a:cubicBezTo>
                <a:cubicBezTo>
                  <a:pt x="1058" y="409"/>
                  <a:pt x="1056" y="411"/>
                  <a:pt x="1056" y="414"/>
                </a:cubicBezTo>
                <a:cubicBezTo>
                  <a:pt x="1056" y="416"/>
                  <a:pt x="1058" y="418"/>
                  <a:pt x="1060" y="418"/>
                </a:cubicBezTo>
                <a:close/>
                <a:moveTo>
                  <a:pt x="1019" y="309"/>
                </a:moveTo>
                <a:cubicBezTo>
                  <a:pt x="1022" y="309"/>
                  <a:pt x="1024" y="307"/>
                  <a:pt x="1024" y="305"/>
                </a:cubicBezTo>
                <a:cubicBezTo>
                  <a:pt x="1024" y="302"/>
                  <a:pt x="1022" y="300"/>
                  <a:pt x="1019" y="300"/>
                </a:cubicBezTo>
                <a:cubicBezTo>
                  <a:pt x="1017" y="300"/>
                  <a:pt x="1015" y="302"/>
                  <a:pt x="1015" y="305"/>
                </a:cubicBezTo>
                <a:cubicBezTo>
                  <a:pt x="1015" y="307"/>
                  <a:pt x="1017" y="309"/>
                  <a:pt x="1019" y="309"/>
                </a:cubicBezTo>
                <a:close/>
                <a:moveTo>
                  <a:pt x="1128" y="528"/>
                </a:moveTo>
                <a:cubicBezTo>
                  <a:pt x="1131" y="528"/>
                  <a:pt x="1133" y="526"/>
                  <a:pt x="1133" y="523"/>
                </a:cubicBezTo>
                <a:cubicBezTo>
                  <a:pt x="1133" y="521"/>
                  <a:pt x="1131" y="519"/>
                  <a:pt x="1128" y="519"/>
                </a:cubicBezTo>
                <a:cubicBezTo>
                  <a:pt x="1126" y="519"/>
                  <a:pt x="1124" y="521"/>
                  <a:pt x="1124" y="523"/>
                </a:cubicBezTo>
                <a:cubicBezTo>
                  <a:pt x="1124" y="526"/>
                  <a:pt x="1126" y="528"/>
                  <a:pt x="1128" y="528"/>
                </a:cubicBezTo>
                <a:close/>
                <a:moveTo>
                  <a:pt x="767" y="177"/>
                </a:moveTo>
                <a:cubicBezTo>
                  <a:pt x="765" y="177"/>
                  <a:pt x="763" y="179"/>
                  <a:pt x="763" y="182"/>
                </a:cubicBezTo>
                <a:cubicBezTo>
                  <a:pt x="763" y="185"/>
                  <a:pt x="765" y="187"/>
                  <a:pt x="767" y="187"/>
                </a:cubicBezTo>
                <a:cubicBezTo>
                  <a:pt x="770" y="187"/>
                  <a:pt x="772" y="185"/>
                  <a:pt x="772" y="182"/>
                </a:cubicBezTo>
                <a:cubicBezTo>
                  <a:pt x="772" y="179"/>
                  <a:pt x="770" y="177"/>
                  <a:pt x="767" y="177"/>
                </a:cubicBezTo>
                <a:close/>
                <a:moveTo>
                  <a:pt x="770" y="196"/>
                </a:moveTo>
                <a:cubicBezTo>
                  <a:pt x="770" y="198"/>
                  <a:pt x="772" y="200"/>
                  <a:pt x="774" y="200"/>
                </a:cubicBezTo>
                <a:cubicBezTo>
                  <a:pt x="777" y="200"/>
                  <a:pt x="779" y="198"/>
                  <a:pt x="779" y="196"/>
                </a:cubicBezTo>
                <a:cubicBezTo>
                  <a:pt x="779" y="193"/>
                  <a:pt x="777" y="191"/>
                  <a:pt x="774" y="191"/>
                </a:cubicBezTo>
                <a:cubicBezTo>
                  <a:pt x="772" y="191"/>
                  <a:pt x="770" y="193"/>
                  <a:pt x="770" y="196"/>
                </a:cubicBezTo>
                <a:close/>
                <a:moveTo>
                  <a:pt x="776" y="182"/>
                </a:moveTo>
                <a:cubicBezTo>
                  <a:pt x="776" y="185"/>
                  <a:pt x="778" y="187"/>
                  <a:pt x="781" y="187"/>
                </a:cubicBezTo>
                <a:cubicBezTo>
                  <a:pt x="784" y="187"/>
                  <a:pt x="786" y="185"/>
                  <a:pt x="786" y="182"/>
                </a:cubicBezTo>
                <a:cubicBezTo>
                  <a:pt x="786" y="179"/>
                  <a:pt x="784" y="177"/>
                  <a:pt x="781" y="177"/>
                </a:cubicBezTo>
                <a:cubicBezTo>
                  <a:pt x="778" y="177"/>
                  <a:pt x="776" y="179"/>
                  <a:pt x="776" y="182"/>
                </a:cubicBezTo>
                <a:close/>
                <a:moveTo>
                  <a:pt x="754" y="177"/>
                </a:moveTo>
                <a:cubicBezTo>
                  <a:pt x="751" y="177"/>
                  <a:pt x="749" y="179"/>
                  <a:pt x="749" y="182"/>
                </a:cubicBezTo>
                <a:cubicBezTo>
                  <a:pt x="749" y="185"/>
                  <a:pt x="751" y="187"/>
                  <a:pt x="754" y="187"/>
                </a:cubicBezTo>
                <a:cubicBezTo>
                  <a:pt x="756" y="187"/>
                  <a:pt x="758" y="185"/>
                  <a:pt x="758" y="182"/>
                </a:cubicBezTo>
                <a:cubicBezTo>
                  <a:pt x="758" y="179"/>
                  <a:pt x="756" y="177"/>
                  <a:pt x="754" y="177"/>
                </a:cubicBezTo>
                <a:close/>
                <a:moveTo>
                  <a:pt x="783" y="168"/>
                </a:moveTo>
                <a:cubicBezTo>
                  <a:pt x="783" y="171"/>
                  <a:pt x="785" y="173"/>
                  <a:pt x="788" y="173"/>
                </a:cubicBezTo>
                <a:cubicBezTo>
                  <a:pt x="790" y="173"/>
                  <a:pt x="792" y="171"/>
                  <a:pt x="792" y="168"/>
                </a:cubicBezTo>
                <a:cubicBezTo>
                  <a:pt x="792" y="166"/>
                  <a:pt x="790" y="164"/>
                  <a:pt x="788" y="164"/>
                </a:cubicBezTo>
                <a:cubicBezTo>
                  <a:pt x="785" y="164"/>
                  <a:pt x="783" y="166"/>
                  <a:pt x="783" y="168"/>
                </a:cubicBezTo>
                <a:close/>
                <a:moveTo>
                  <a:pt x="756" y="196"/>
                </a:moveTo>
                <a:cubicBezTo>
                  <a:pt x="756" y="198"/>
                  <a:pt x="758" y="200"/>
                  <a:pt x="761" y="200"/>
                </a:cubicBezTo>
                <a:cubicBezTo>
                  <a:pt x="763" y="200"/>
                  <a:pt x="765" y="198"/>
                  <a:pt x="765" y="196"/>
                </a:cubicBezTo>
                <a:cubicBezTo>
                  <a:pt x="765" y="193"/>
                  <a:pt x="763" y="191"/>
                  <a:pt x="761" y="191"/>
                </a:cubicBezTo>
                <a:cubicBezTo>
                  <a:pt x="758" y="191"/>
                  <a:pt x="756" y="193"/>
                  <a:pt x="756" y="196"/>
                </a:cubicBezTo>
                <a:close/>
                <a:moveTo>
                  <a:pt x="804" y="155"/>
                </a:moveTo>
                <a:cubicBezTo>
                  <a:pt x="804" y="157"/>
                  <a:pt x="806" y="159"/>
                  <a:pt x="808" y="159"/>
                </a:cubicBezTo>
                <a:cubicBezTo>
                  <a:pt x="811" y="159"/>
                  <a:pt x="813" y="157"/>
                  <a:pt x="813" y="155"/>
                </a:cubicBezTo>
                <a:cubicBezTo>
                  <a:pt x="813" y="152"/>
                  <a:pt x="811" y="150"/>
                  <a:pt x="808" y="150"/>
                </a:cubicBezTo>
                <a:cubicBezTo>
                  <a:pt x="806" y="150"/>
                  <a:pt x="804" y="152"/>
                  <a:pt x="804" y="155"/>
                </a:cubicBezTo>
                <a:close/>
                <a:moveTo>
                  <a:pt x="1015" y="168"/>
                </a:moveTo>
                <a:cubicBezTo>
                  <a:pt x="1015" y="171"/>
                  <a:pt x="1017" y="173"/>
                  <a:pt x="1019" y="173"/>
                </a:cubicBezTo>
                <a:cubicBezTo>
                  <a:pt x="1022" y="173"/>
                  <a:pt x="1024" y="171"/>
                  <a:pt x="1024" y="168"/>
                </a:cubicBezTo>
                <a:cubicBezTo>
                  <a:pt x="1024" y="166"/>
                  <a:pt x="1022" y="164"/>
                  <a:pt x="1019" y="164"/>
                </a:cubicBezTo>
                <a:cubicBezTo>
                  <a:pt x="1017" y="164"/>
                  <a:pt x="1015" y="166"/>
                  <a:pt x="1015" y="168"/>
                </a:cubicBezTo>
                <a:close/>
                <a:moveTo>
                  <a:pt x="822" y="150"/>
                </a:moveTo>
                <a:cubicBezTo>
                  <a:pt x="819" y="150"/>
                  <a:pt x="817" y="152"/>
                  <a:pt x="817" y="155"/>
                </a:cubicBezTo>
                <a:cubicBezTo>
                  <a:pt x="817" y="157"/>
                  <a:pt x="819" y="159"/>
                  <a:pt x="822" y="159"/>
                </a:cubicBezTo>
                <a:cubicBezTo>
                  <a:pt x="824" y="159"/>
                  <a:pt x="826" y="157"/>
                  <a:pt x="826" y="155"/>
                </a:cubicBezTo>
                <a:cubicBezTo>
                  <a:pt x="826" y="152"/>
                  <a:pt x="824" y="150"/>
                  <a:pt x="822" y="150"/>
                </a:cubicBezTo>
                <a:close/>
                <a:moveTo>
                  <a:pt x="829" y="164"/>
                </a:moveTo>
                <a:cubicBezTo>
                  <a:pt x="826" y="164"/>
                  <a:pt x="824" y="166"/>
                  <a:pt x="824" y="168"/>
                </a:cubicBezTo>
                <a:cubicBezTo>
                  <a:pt x="824" y="171"/>
                  <a:pt x="826" y="173"/>
                  <a:pt x="829" y="173"/>
                </a:cubicBezTo>
                <a:cubicBezTo>
                  <a:pt x="831" y="173"/>
                  <a:pt x="833" y="171"/>
                  <a:pt x="833" y="168"/>
                </a:cubicBezTo>
                <a:cubicBezTo>
                  <a:pt x="833" y="166"/>
                  <a:pt x="831" y="164"/>
                  <a:pt x="829" y="164"/>
                </a:cubicBezTo>
                <a:close/>
                <a:moveTo>
                  <a:pt x="815" y="137"/>
                </a:moveTo>
                <a:cubicBezTo>
                  <a:pt x="813" y="137"/>
                  <a:pt x="810" y="139"/>
                  <a:pt x="810" y="141"/>
                </a:cubicBezTo>
                <a:cubicBezTo>
                  <a:pt x="810" y="144"/>
                  <a:pt x="813" y="146"/>
                  <a:pt x="815" y="146"/>
                </a:cubicBezTo>
                <a:cubicBezTo>
                  <a:pt x="818" y="146"/>
                  <a:pt x="820" y="144"/>
                  <a:pt x="820" y="141"/>
                </a:cubicBezTo>
                <a:cubicBezTo>
                  <a:pt x="820" y="139"/>
                  <a:pt x="818" y="137"/>
                  <a:pt x="815" y="137"/>
                </a:cubicBezTo>
                <a:close/>
                <a:moveTo>
                  <a:pt x="801" y="137"/>
                </a:moveTo>
                <a:cubicBezTo>
                  <a:pt x="799" y="137"/>
                  <a:pt x="797" y="139"/>
                  <a:pt x="797" y="141"/>
                </a:cubicBezTo>
                <a:cubicBezTo>
                  <a:pt x="797" y="144"/>
                  <a:pt x="799" y="146"/>
                  <a:pt x="801" y="146"/>
                </a:cubicBezTo>
                <a:cubicBezTo>
                  <a:pt x="804" y="146"/>
                  <a:pt x="806" y="144"/>
                  <a:pt x="806" y="141"/>
                </a:cubicBezTo>
                <a:cubicBezTo>
                  <a:pt x="806" y="139"/>
                  <a:pt x="804" y="137"/>
                  <a:pt x="801" y="137"/>
                </a:cubicBezTo>
                <a:close/>
                <a:moveTo>
                  <a:pt x="742" y="196"/>
                </a:moveTo>
                <a:cubicBezTo>
                  <a:pt x="742" y="198"/>
                  <a:pt x="744" y="200"/>
                  <a:pt x="747" y="200"/>
                </a:cubicBezTo>
                <a:cubicBezTo>
                  <a:pt x="749" y="200"/>
                  <a:pt x="751" y="198"/>
                  <a:pt x="751" y="196"/>
                </a:cubicBezTo>
                <a:cubicBezTo>
                  <a:pt x="751" y="193"/>
                  <a:pt x="749" y="191"/>
                  <a:pt x="747" y="191"/>
                </a:cubicBezTo>
                <a:cubicBezTo>
                  <a:pt x="744" y="191"/>
                  <a:pt x="742" y="193"/>
                  <a:pt x="742" y="196"/>
                </a:cubicBezTo>
                <a:close/>
                <a:moveTo>
                  <a:pt x="672" y="205"/>
                </a:moveTo>
                <a:cubicBezTo>
                  <a:pt x="670" y="205"/>
                  <a:pt x="667" y="207"/>
                  <a:pt x="667" y="209"/>
                </a:cubicBezTo>
                <a:cubicBezTo>
                  <a:pt x="667" y="212"/>
                  <a:pt x="670" y="214"/>
                  <a:pt x="672" y="214"/>
                </a:cubicBezTo>
                <a:cubicBezTo>
                  <a:pt x="675" y="214"/>
                  <a:pt x="677" y="212"/>
                  <a:pt x="677" y="209"/>
                </a:cubicBezTo>
                <a:cubicBezTo>
                  <a:pt x="677" y="207"/>
                  <a:pt x="675" y="205"/>
                  <a:pt x="672" y="205"/>
                </a:cubicBezTo>
                <a:close/>
                <a:moveTo>
                  <a:pt x="681" y="209"/>
                </a:moveTo>
                <a:cubicBezTo>
                  <a:pt x="681" y="212"/>
                  <a:pt x="683" y="214"/>
                  <a:pt x="686" y="214"/>
                </a:cubicBezTo>
                <a:cubicBezTo>
                  <a:pt x="688" y="214"/>
                  <a:pt x="690" y="212"/>
                  <a:pt x="690" y="209"/>
                </a:cubicBezTo>
                <a:cubicBezTo>
                  <a:pt x="690" y="207"/>
                  <a:pt x="688" y="205"/>
                  <a:pt x="686" y="205"/>
                </a:cubicBezTo>
                <a:cubicBezTo>
                  <a:pt x="683" y="205"/>
                  <a:pt x="681" y="207"/>
                  <a:pt x="681" y="209"/>
                </a:cubicBezTo>
                <a:close/>
                <a:moveTo>
                  <a:pt x="688" y="196"/>
                </a:moveTo>
                <a:cubicBezTo>
                  <a:pt x="688" y="198"/>
                  <a:pt x="690" y="200"/>
                  <a:pt x="692" y="200"/>
                </a:cubicBezTo>
                <a:cubicBezTo>
                  <a:pt x="695" y="200"/>
                  <a:pt x="697" y="198"/>
                  <a:pt x="697" y="196"/>
                </a:cubicBezTo>
                <a:cubicBezTo>
                  <a:pt x="697" y="193"/>
                  <a:pt x="695" y="191"/>
                  <a:pt x="692" y="191"/>
                </a:cubicBezTo>
                <a:cubicBezTo>
                  <a:pt x="690" y="191"/>
                  <a:pt x="688" y="193"/>
                  <a:pt x="688" y="196"/>
                </a:cubicBezTo>
                <a:close/>
                <a:moveTo>
                  <a:pt x="692" y="164"/>
                </a:moveTo>
                <a:cubicBezTo>
                  <a:pt x="690" y="164"/>
                  <a:pt x="688" y="166"/>
                  <a:pt x="688" y="168"/>
                </a:cubicBezTo>
                <a:cubicBezTo>
                  <a:pt x="688" y="171"/>
                  <a:pt x="690" y="173"/>
                  <a:pt x="692" y="173"/>
                </a:cubicBezTo>
                <a:cubicBezTo>
                  <a:pt x="695" y="173"/>
                  <a:pt x="697" y="171"/>
                  <a:pt x="697" y="168"/>
                </a:cubicBezTo>
                <a:cubicBezTo>
                  <a:pt x="697" y="166"/>
                  <a:pt x="695" y="164"/>
                  <a:pt x="692" y="164"/>
                </a:cubicBezTo>
                <a:close/>
                <a:moveTo>
                  <a:pt x="674" y="223"/>
                </a:moveTo>
                <a:cubicBezTo>
                  <a:pt x="674" y="225"/>
                  <a:pt x="676" y="227"/>
                  <a:pt x="679" y="227"/>
                </a:cubicBezTo>
                <a:cubicBezTo>
                  <a:pt x="681" y="227"/>
                  <a:pt x="683" y="225"/>
                  <a:pt x="683" y="223"/>
                </a:cubicBezTo>
                <a:cubicBezTo>
                  <a:pt x="683" y="220"/>
                  <a:pt x="681" y="218"/>
                  <a:pt x="679" y="218"/>
                </a:cubicBezTo>
                <a:cubicBezTo>
                  <a:pt x="676" y="218"/>
                  <a:pt x="674" y="220"/>
                  <a:pt x="674" y="223"/>
                </a:cubicBezTo>
                <a:close/>
                <a:moveTo>
                  <a:pt x="695" y="182"/>
                </a:moveTo>
                <a:cubicBezTo>
                  <a:pt x="695" y="185"/>
                  <a:pt x="697" y="187"/>
                  <a:pt x="699" y="187"/>
                </a:cubicBezTo>
                <a:cubicBezTo>
                  <a:pt x="702" y="187"/>
                  <a:pt x="704" y="185"/>
                  <a:pt x="704" y="182"/>
                </a:cubicBezTo>
                <a:cubicBezTo>
                  <a:pt x="704" y="179"/>
                  <a:pt x="702" y="177"/>
                  <a:pt x="699" y="177"/>
                </a:cubicBezTo>
                <a:cubicBezTo>
                  <a:pt x="697" y="177"/>
                  <a:pt x="695" y="179"/>
                  <a:pt x="695" y="182"/>
                </a:cubicBezTo>
                <a:close/>
                <a:moveTo>
                  <a:pt x="736" y="209"/>
                </a:moveTo>
                <a:cubicBezTo>
                  <a:pt x="736" y="212"/>
                  <a:pt x="738" y="214"/>
                  <a:pt x="740" y="214"/>
                </a:cubicBezTo>
                <a:cubicBezTo>
                  <a:pt x="743" y="214"/>
                  <a:pt x="745" y="212"/>
                  <a:pt x="745" y="209"/>
                </a:cubicBezTo>
                <a:cubicBezTo>
                  <a:pt x="745" y="207"/>
                  <a:pt x="743" y="205"/>
                  <a:pt x="740" y="205"/>
                </a:cubicBezTo>
                <a:cubicBezTo>
                  <a:pt x="738" y="205"/>
                  <a:pt x="736" y="207"/>
                  <a:pt x="736" y="209"/>
                </a:cubicBezTo>
                <a:close/>
                <a:moveTo>
                  <a:pt x="831" y="182"/>
                </a:moveTo>
                <a:cubicBezTo>
                  <a:pt x="831" y="185"/>
                  <a:pt x="833" y="187"/>
                  <a:pt x="835" y="187"/>
                </a:cubicBezTo>
                <a:cubicBezTo>
                  <a:pt x="838" y="187"/>
                  <a:pt x="840" y="185"/>
                  <a:pt x="840" y="182"/>
                </a:cubicBezTo>
                <a:cubicBezTo>
                  <a:pt x="840" y="179"/>
                  <a:pt x="838" y="177"/>
                  <a:pt x="835" y="177"/>
                </a:cubicBezTo>
                <a:cubicBezTo>
                  <a:pt x="833" y="177"/>
                  <a:pt x="831" y="179"/>
                  <a:pt x="831" y="182"/>
                </a:cubicBezTo>
                <a:close/>
                <a:moveTo>
                  <a:pt x="727" y="177"/>
                </a:moveTo>
                <a:cubicBezTo>
                  <a:pt x="724" y="177"/>
                  <a:pt x="722" y="179"/>
                  <a:pt x="722" y="182"/>
                </a:cubicBezTo>
                <a:cubicBezTo>
                  <a:pt x="722" y="185"/>
                  <a:pt x="724" y="187"/>
                  <a:pt x="727" y="187"/>
                </a:cubicBezTo>
                <a:cubicBezTo>
                  <a:pt x="729" y="187"/>
                  <a:pt x="731" y="185"/>
                  <a:pt x="731" y="182"/>
                </a:cubicBezTo>
                <a:cubicBezTo>
                  <a:pt x="731" y="179"/>
                  <a:pt x="729" y="177"/>
                  <a:pt x="727" y="177"/>
                </a:cubicBezTo>
                <a:close/>
                <a:moveTo>
                  <a:pt x="733" y="191"/>
                </a:moveTo>
                <a:cubicBezTo>
                  <a:pt x="731" y="191"/>
                  <a:pt x="729" y="193"/>
                  <a:pt x="729" y="196"/>
                </a:cubicBezTo>
                <a:cubicBezTo>
                  <a:pt x="729" y="198"/>
                  <a:pt x="731" y="200"/>
                  <a:pt x="733" y="200"/>
                </a:cubicBezTo>
                <a:cubicBezTo>
                  <a:pt x="736" y="200"/>
                  <a:pt x="738" y="198"/>
                  <a:pt x="738" y="196"/>
                </a:cubicBezTo>
                <a:cubicBezTo>
                  <a:pt x="738" y="193"/>
                  <a:pt x="736" y="191"/>
                  <a:pt x="733" y="191"/>
                </a:cubicBezTo>
                <a:close/>
                <a:moveTo>
                  <a:pt x="715" y="196"/>
                </a:moveTo>
                <a:cubicBezTo>
                  <a:pt x="715" y="198"/>
                  <a:pt x="717" y="200"/>
                  <a:pt x="720" y="200"/>
                </a:cubicBezTo>
                <a:cubicBezTo>
                  <a:pt x="722" y="200"/>
                  <a:pt x="724" y="198"/>
                  <a:pt x="724" y="196"/>
                </a:cubicBezTo>
                <a:cubicBezTo>
                  <a:pt x="724" y="193"/>
                  <a:pt x="722" y="191"/>
                  <a:pt x="720" y="191"/>
                </a:cubicBezTo>
                <a:cubicBezTo>
                  <a:pt x="717" y="191"/>
                  <a:pt x="715" y="193"/>
                  <a:pt x="715" y="196"/>
                </a:cubicBezTo>
                <a:close/>
                <a:moveTo>
                  <a:pt x="711" y="168"/>
                </a:moveTo>
                <a:cubicBezTo>
                  <a:pt x="711" y="166"/>
                  <a:pt x="709" y="164"/>
                  <a:pt x="706" y="164"/>
                </a:cubicBezTo>
                <a:cubicBezTo>
                  <a:pt x="704" y="164"/>
                  <a:pt x="702" y="166"/>
                  <a:pt x="702" y="168"/>
                </a:cubicBezTo>
                <a:cubicBezTo>
                  <a:pt x="702" y="171"/>
                  <a:pt x="704" y="173"/>
                  <a:pt x="706" y="173"/>
                </a:cubicBezTo>
                <a:cubicBezTo>
                  <a:pt x="709" y="173"/>
                  <a:pt x="711" y="171"/>
                  <a:pt x="711" y="168"/>
                </a:cubicBezTo>
                <a:close/>
                <a:moveTo>
                  <a:pt x="706" y="191"/>
                </a:moveTo>
                <a:cubicBezTo>
                  <a:pt x="704" y="191"/>
                  <a:pt x="702" y="193"/>
                  <a:pt x="702" y="196"/>
                </a:cubicBezTo>
                <a:cubicBezTo>
                  <a:pt x="702" y="198"/>
                  <a:pt x="704" y="200"/>
                  <a:pt x="706" y="200"/>
                </a:cubicBezTo>
                <a:cubicBezTo>
                  <a:pt x="709" y="200"/>
                  <a:pt x="711" y="198"/>
                  <a:pt x="711" y="196"/>
                </a:cubicBezTo>
                <a:cubicBezTo>
                  <a:pt x="711" y="193"/>
                  <a:pt x="709" y="191"/>
                  <a:pt x="706" y="191"/>
                </a:cubicBezTo>
                <a:close/>
                <a:moveTo>
                  <a:pt x="708" y="209"/>
                </a:moveTo>
                <a:cubicBezTo>
                  <a:pt x="708" y="212"/>
                  <a:pt x="710" y="214"/>
                  <a:pt x="713" y="214"/>
                </a:cubicBezTo>
                <a:cubicBezTo>
                  <a:pt x="715" y="214"/>
                  <a:pt x="717" y="212"/>
                  <a:pt x="717" y="209"/>
                </a:cubicBezTo>
                <a:cubicBezTo>
                  <a:pt x="717" y="207"/>
                  <a:pt x="715" y="205"/>
                  <a:pt x="713" y="205"/>
                </a:cubicBezTo>
                <a:cubicBezTo>
                  <a:pt x="710" y="205"/>
                  <a:pt x="708" y="207"/>
                  <a:pt x="708" y="209"/>
                </a:cubicBezTo>
                <a:close/>
                <a:moveTo>
                  <a:pt x="790" y="155"/>
                </a:moveTo>
                <a:cubicBezTo>
                  <a:pt x="790" y="157"/>
                  <a:pt x="792" y="159"/>
                  <a:pt x="795" y="159"/>
                </a:cubicBezTo>
                <a:cubicBezTo>
                  <a:pt x="797" y="159"/>
                  <a:pt x="799" y="157"/>
                  <a:pt x="799" y="155"/>
                </a:cubicBezTo>
                <a:cubicBezTo>
                  <a:pt x="799" y="152"/>
                  <a:pt x="797" y="150"/>
                  <a:pt x="795" y="150"/>
                </a:cubicBezTo>
                <a:cubicBezTo>
                  <a:pt x="792" y="150"/>
                  <a:pt x="790" y="152"/>
                  <a:pt x="790" y="155"/>
                </a:cubicBezTo>
                <a:close/>
                <a:moveTo>
                  <a:pt x="967" y="127"/>
                </a:moveTo>
                <a:cubicBezTo>
                  <a:pt x="967" y="130"/>
                  <a:pt x="969" y="132"/>
                  <a:pt x="972" y="132"/>
                </a:cubicBezTo>
                <a:cubicBezTo>
                  <a:pt x="974" y="132"/>
                  <a:pt x="976" y="130"/>
                  <a:pt x="976" y="127"/>
                </a:cubicBezTo>
                <a:cubicBezTo>
                  <a:pt x="976" y="125"/>
                  <a:pt x="974" y="123"/>
                  <a:pt x="972" y="123"/>
                </a:cubicBezTo>
                <a:cubicBezTo>
                  <a:pt x="969" y="123"/>
                  <a:pt x="967" y="125"/>
                  <a:pt x="967" y="127"/>
                </a:cubicBezTo>
                <a:close/>
                <a:moveTo>
                  <a:pt x="951" y="109"/>
                </a:moveTo>
                <a:cubicBezTo>
                  <a:pt x="949" y="109"/>
                  <a:pt x="947" y="111"/>
                  <a:pt x="947" y="114"/>
                </a:cubicBezTo>
                <a:cubicBezTo>
                  <a:pt x="947" y="116"/>
                  <a:pt x="949" y="118"/>
                  <a:pt x="951" y="118"/>
                </a:cubicBezTo>
                <a:cubicBezTo>
                  <a:pt x="954" y="118"/>
                  <a:pt x="956" y="116"/>
                  <a:pt x="956" y="114"/>
                </a:cubicBezTo>
                <a:cubicBezTo>
                  <a:pt x="956" y="111"/>
                  <a:pt x="954" y="109"/>
                  <a:pt x="951" y="109"/>
                </a:cubicBezTo>
                <a:close/>
                <a:moveTo>
                  <a:pt x="965" y="109"/>
                </a:moveTo>
                <a:cubicBezTo>
                  <a:pt x="962" y="109"/>
                  <a:pt x="960" y="111"/>
                  <a:pt x="960" y="114"/>
                </a:cubicBezTo>
                <a:cubicBezTo>
                  <a:pt x="960" y="116"/>
                  <a:pt x="962" y="118"/>
                  <a:pt x="965" y="118"/>
                </a:cubicBezTo>
                <a:cubicBezTo>
                  <a:pt x="967" y="118"/>
                  <a:pt x="969" y="116"/>
                  <a:pt x="969" y="114"/>
                </a:cubicBezTo>
                <a:cubicBezTo>
                  <a:pt x="969" y="111"/>
                  <a:pt x="967" y="109"/>
                  <a:pt x="965" y="109"/>
                </a:cubicBezTo>
                <a:close/>
                <a:moveTo>
                  <a:pt x="954" y="127"/>
                </a:moveTo>
                <a:cubicBezTo>
                  <a:pt x="954" y="130"/>
                  <a:pt x="956" y="132"/>
                  <a:pt x="958" y="132"/>
                </a:cubicBezTo>
                <a:cubicBezTo>
                  <a:pt x="961" y="132"/>
                  <a:pt x="963" y="130"/>
                  <a:pt x="963" y="127"/>
                </a:cubicBezTo>
                <a:cubicBezTo>
                  <a:pt x="963" y="125"/>
                  <a:pt x="961" y="123"/>
                  <a:pt x="958" y="123"/>
                </a:cubicBezTo>
                <a:cubicBezTo>
                  <a:pt x="956" y="123"/>
                  <a:pt x="954" y="125"/>
                  <a:pt x="954" y="127"/>
                </a:cubicBezTo>
                <a:close/>
                <a:moveTo>
                  <a:pt x="940" y="127"/>
                </a:moveTo>
                <a:cubicBezTo>
                  <a:pt x="940" y="130"/>
                  <a:pt x="942" y="132"/>
                  <a:pt x="944" y="132"/>
                </a:cubicBezTo>
                <a:cubicBezTo>
                  <a:pt x="947" y="132"/>
                  <a:pt x="949" y="130"/>
                  <a:pt x="949" y="127"/>
                </a:cubicBezTo>
                <a:cubicBezTo>
                  <a:pt x="949" y="125"/>
                  <a:pt x="947" y="123"/>
                  <a:pt x="944" y="123"/>
                </a:cubicBezTo>
                <a:cubicBezTo>
                  <a:pt x="942" y="123"/>
                  <a:pt x="940" y="125"/>
                  <a:pt x="940" y="127"/>
                </a:cubicBezTo>
                <a:close/>
                <a:moveTo>
                  <a:pt x="926" y="127"/>
                </a:moveTo>
                <a:cubicBezTo>
                  <a:pt x="926" y="130"/>
                  <a:pt x="928" y="132"/>
                  <a:pt x="931" y="132"/>
                </a:cubicBezTo>
                <a:cubicBezTo>
                  <a:pt x="933" y="132"/>
                  <a:pt x="935" y="130"/>
                  <a:pt x="935" y="127"/>
                </a:cubicBezTo>
                <a:cubicBezTo>
                  <a:pt x="935" y="125"/>
                  <a:pt x="933" y="123"/>
                  <a:pt x="931" y="123"/>
                </a:cubicBezTo>
                <a:cubicBezTo>
                  <a:pt x="928" y="123"/>
                  <a:pt x="926" y="125"/>
                  <a:pt x="926" y="127"/>
                </a:cubicBezTo>
                <a:close/>
                <a:moveTo>
                  <a:pt x="938" y="109"/>
                </a:moveTo>
                <a:cubicBezTo>
                  <a:pt x="935" y="109"/>
                  <a:pt x="933" y="111"/>
                  <a:pt x="933" y="114"/>
                </a:cubicBezTo>
                <a:cubicBezTo>
                  <a:pt x="933" y="116"/>
                  <a:pt x="935" y="118"/>
                  <a:pt x="938" y="118"/>
                </a:cubicBezTo>
                <a:cubicBezTo>
                  <a:pt x="940" y="118"/>
                  <a:pt x="942" y="116"/>
                  <a:pt x="942" y="114"/>
                </a:cubicBezTo>
                <a:cubicBezTo>
                  <a:pt x="942" y="111"/>
                  <a:pt x="940" y="109"/>
                  <a:pt x="938" y="109"/>
                </a:cubicBezTo>
                <a:close/>
                <a:moveTo>
                  <a:pt x="1006" y="137"/>
                </a:moveTo>
                <a:cubicBezTo>
                  <a:pt x="1003" y="137"/>
                  <a:pt x="1001" y="139"/>
                  <a:pt x="1001" y="141"/>
                </a:cubicBezTo>
                <a:cubicBezTo>
                  <a:pt x="1001" y="144"/>
                  <a:pt x="1003" y="146"/>
                  <a:pt x="1006" y="146"/>
                </a:cubicBezTo>
                <a:cubicBezTo>
                  <a:pt x="1008" y="146"/>
                  <a:pt x="1010" y="144"/>
                  <a:pt x="1010" y="141"/>
                </a:cubicBezTo>
                <a:cubicBezTo>
                  <a:pt x="1010" y="139"/>
                  <a:pt x="1008" y="137"/>
                  <a:pt x="1006" y="137"/>
                </a:cubicBezTo>
                <a:close/>
                <a:moveTo>
                  <a:pt x="999" y="123"/>
                </a:moveTo>
                <a:cubicBezTo>
                  <a:pt x="996" y="123"/>
                  <a:pt x="994" y="125"/>
                  <a:pt x="994" y="127"/>
                </a:cubicBezTo>
                <a:cubicBezTo>
                  <a:pt x="994" y="130"/>
                  <a:pt x="996" y="132"/>
                  <a:pt x="999" y="132"/>
                </a:cubicBezTo>
                <a:cubicBezTo>
                  <a:pt x="1001" y="132"/>
                  <a:pt x="1003" y="130"/>
                  <a:pt x="1003" y="127"/>
                </a:cubicBezTo>
                <a:cubicBezTo>
                  <a:pt x="1003" y="125"/>
                  <a:pt x="1001" y="123"/>
                  <a:pt x="999" y="123"/>
                </a:cubicBezTo>
                <a:close/>
                <a:moveTo>
                  <a:pt x="838" y="168"/>
                </a:moveTo>
                <a:cubicBezTo>
                  <a:pt x="838" y="171"/>
                  <a:pt x="840" y="173"/>
                  <a:pt x="842" y="173"/>
                </a:cubicBezTo>
                <a:cubicBezTo>
                  <a:pt x="845" y="173"/>
                  <a:pt x="847" y="171"/>
                  <a:pt x="847" y="168"/>
                </a:cubicBezTo>
                <a:cubicBezTo>
                  <a:pt x="847" y="166"/>
                  <a:pt x="845" y="164"/>
                  <a:pt x="842" y="164"/>
                </a:cubicBezTo>
                <a:cubicBezTo>
                  <a:pt x="840" y="164"/>
                  <a:pt x="838" y="166"/>
                  <a:pt x="838" y="168"/>
                </a:cubicBezTo>
                <a:close/>
                <a:moveTo>
                  <a:pt x="1013" y="150"/>
                </a:moveTo>
                <a:cubicBezTo>
                  <a:pt x="1010" y="150"/>
                  <a:pt x="1008" y="152"/>
                  <a:pt x="1008" y="155"/>
                </a:cubicBezTo>
                <a:cubicBezTo>
                  <a:pt x="1008" y="157"/>
                  <a:pt x="1010" y="159"/>
                  <a:pt x="1013" y="159"/>
                </a:cubicBezTo>
                <a:cubicBezTo>
                  <a:pt x="1015" y="159"/>
                  <a:pt x="1017" y="157"/>
                  <a:pt x="1017" y="155"/>
                </a:cubicBezTo>
                <a:cubicBezTo>
                  <a:pt x="1017" y="152"/>
                  <a:pt x="1015" y="150"/>
                  <a:pt x="1013" y="150"/>
                </a:cubicBezTo>
                <a:close/>
                <a:moveTo>
                  <a:pt x="988" y="141"/>
                </a:moveTo>
                <a:cubicBezTo>
                  <a:pt x="988" y="144"/>
                  <a:pt x="990" y="146"/>
                  <a:pt x="992" y="146"/>
                </a:cubicBezTo>
                <a:cubicBezTo>
                  <a:pt x="995" y="146"/>
                  <a:pt x="997" y="144"/>
                  <a:pt x="997" y="141"/>
                </a:cubicBezTo>
                <a:cubicBezTo>
                  <a:pt x="997" y="139"/>
                  <a:pt x="995" y="137"/>
                  <a:pt x="992" y="137"/>
                </a:cubicBezTo>
                <a:cubicBezTo>
                  <a:pt x="990" y="137"/>
                  <a:pt x="988" y="139"/>
                  <a:pt x="988" y="141"/>
                </a:cubicBezTo>
                <a:close/>
                <a:moveTo>
                  <a:pt x="985" y="123"/>
                </a:moveTo>
                <a:cubicBezTo>
                  <a:pt x="983" y="123"/>
                  <a:pt x="981" y="125"/>
                  <a:pt x="981" y="127"/>
                </a:cubicBezTo>
                <a:cubicBezTo>
                  <a:pt x="981" y="130"/>
                  <a:pt x="983" y="132"/>
                  <a:pt x="985" y="132"/>
                </a:cubicBezTo>
                <a:cubicBezTo>
                  <a:pt x="988" y="132"/>
                  <a:pt x="990" y="130"/>
                  <a:pt x="990" y="127"/>
                </a:cubicBezTo>
                <a:cubicBezTo>
                  <a:pt x="990" y="125"/>
                  <a:pt x="988" y="123"/>
                  <a:pt x="985" y="123"/>
                </a:cubicBezTo>
                <a:close/>
                <a:moveTo>
                  <a:pt x="978" y="109"/>
                </a:moveTo>
                <a:cubicBezTo>
                  <a:pt x="976" y="109"/>
                  <a:pt x="974" y="111"/>
                  <a:pt x="974" y="114"/>
                </a:cubicBezTo>
                <a:cubicBezTo>
                  <a:pt x="974" y="116"/>
                  <a:pt x="976" y="118"/>
                  <a:pt x="978" y="118"/>
                </a:cubicBezTo>
                <a:cubicBezTo>
                  <a:pt x="981" y="118"/>
                  <a:pt x="983" y="116"/>
                  <a:pt x="983" y="114"/>
                </a:cubicBezTo>
                <a:cubicBezTo>
                  <a:pt x="983" y="111"/>
                  <a:pt x="981" y="109"/>
                  <a:pt x="978" y="109"/>
                </a:cubicBezTo>
                <a:close/>
                <a:moveTo>
                  <a:pt x="856" y="191"/>
                </a:moveTo>
                <a:cubicBezTo>
                  <a:pt x="853" y="191"/>
                  <a:pt x="851" y="193"/>
                  <a:pt x="851" y="196"/>
                </a:cubicBezTo>
                <a:cubicBezTo>
                  <a:pt x="851" y="198"/>
                  <a:pt x="853" y="200"/>
                  <a:pt x="856" y="200"/>
                </a:cubicBezTo>
                <a:cubicBezTo>
                  <a:pt x="858" y="200"/>
                  <a:pt x="860" y="198"/>
                  <a:pt x="860" y="196"/>
                </a:cubicBezTo>
                <a:cubicBezTo>
                  <a:pt x="860" y="193"/>
                  <a:pt x="858" y="191"/>
                  <a:pt x="856" y="191"/>
                </a:cubicBezTo>
                <a:close/>
                <a:moveTo>
                  <a:pt x="863" y="205"/>
                </a:moveTo>
                <a:cubicBezTo>
                  <a:pt x="860" y="205"/>
                  <a:pt x="858" y="207"/>
                  <a:pt x="858" y="209"/>
                </a:cubicBezTo>
                <a:cubicBezTo>
                  <a:pt x="858" y="212"/>
                  <a:pt x="860" y="214"/>
                  <a:pt x="863" y="214"/>
                </a:cubicBezTo>
                <a:cubicBezTo>
                  <a:pt x="865" y="214"/>
                  <a:pt x="867" y="212"/>
                  <a:pt x="867" y="209"/>
                </a:cubicBezTo>
                <a:cubicBezTo>
                  <a:pt x="867" y="207"/>
                  <a:pt x="865" y="205"/>
                  <a:pt x="863" y="205"/>
                </a:cubicBezTo>
                <a:close/>
                <a:moveTo>
                  <a:pt x="865" y="223"/>
                </a:moveTo>
                <a:cubicBezTo>
                  <a:pt x="865" y="225"/>
                  <a:pt x="867" y="227"/>
                  <a:pt x="869" y="227"/>
                </a:cubicBezTo>
                <a:cubicBezTo>
                  <a:pt x="872" y="227"/>
                  <a:pt x="874" y="225"/>
                  <a:pt x="874" y="223"/>
                </a:cubicBezTo>
                <a:cubicBezTo>
                  <a:pt x="874" y="220"/>
                  <a:pt x="872" y="218"/>
                  <a:pt x="869" y="218"/>
                </a:cubicBezTo>
                <a:cubicBezTo>
                  <a:pt x="867" y="218"/>
                  <a:pt x="865" y="220"/>
                  <a:pt x="865" y="223"/>
                </a:cubicBezTo>
                <a:close/>
                <a:moveTo>
                  <a:pt x="872" y="209"/>
                </a:moveTo>
                <a:cubicBezTo>
                  <a:pt x="872" y="212"/>
                  <a:pt x="874" y="214"/>
                  <a:pt x="876" y="214"/>
                </a:cubicBezTo>
                <a:cubicBezTo>
                  <a:pt x="879" y="214"/>
                  <a:pt x="881" y="212"/>
                  <a:pt x="881" y="209"/>
                </a:cubicBezTo>
                <a:cubicBezTo>
                  <a:pt x="881" y="207"/>
                  <a:pt x="879" y="205"/>
                  <a:pt x="876" y="205"/>
                </a:cubicBezTo>
                <a:cubicBezTo>
                  <a:pt x="874" y="205"/>
                  <a:pt x="872" y="207"/>
                  <a:pt x="872" y="209"/>
                </a:cubicBezTo>
                <a:close/>
                <a:moveTo>
                  <a:pt x="849" y="177"/>
                </a:moveTo>
                <a:cubicBezTo>
                  <a:pt x="847" y="177"/>
                  <a:pt x="845" y="179"/>
                  <a:pt x="845" y="182"/>
                </a:cubicBezTo>
                <a:cubicBezTo>
                  <a:pt x="845" y="185"/>
                  <a:pt x="847" y="187"/>
                  <a:pt x="849" y="187"/>
                </a:cubicBezTo>
                <a:cubicBezTo>
                  <a:pt x="852" y="187"/>
                  <a:pt x="854" y="185"/>
                  <a:pt x="854" y="182"/>
                </a:cubicBezTo>
                <a:cubicBezTo>
                  <a:pt x="854" y="179"/>
                  <a:pt x="852" y="177"/>
                  <a:pt x="849" y="177"/>
                </a:cubicBezTo>
                <a:close/>
                <a:moveTo>
                  <a:pt x="854" y="155"/>
                </a:moveTo>
                <a:cubicBezTo>
                  <a:pt x="854" y="152"/>
                  <a:pt x="852" y="150"/>
                  <a:pt x="849" y="150"/>
                </a:cubicBezTo>
                <a:cubicBezTo>
                  <a:pt x="847" y="150"/>
                  <a:pt x="845" y="152"/>
                  <a:pt x="845" y="155"/>
                </a:cubicBezTo>
                <a:cubicBezTo>
                  <a:pt x="845" y="157"/>
                  <a:pt x="847" y="159"/>
                  <a:pt x="849" y="159"/>
                </a:cubicBezTo>
                <a:cubicBezTo>
                  <a:pt x="852" y="159"/>
                  <a:pt x="854" y="157"/>
                  <a:pt x="854" y="155"/>
                </a:cubicBezTo>
                <a:close/>
                <a:moveTo>
                  <a:pt x="879" y="196"/>
                </a:moveTo>
                <a:cubicBezTo>
                  <a:pt x="879" y="198"/>
                  <a:pt x="881" y="200"/>
                  <a:pt x="883" y="200"/>
                </a:cubicBezTo>
                <a:cubicBezTo>
                  <a:pt x="886" y="200"/>
                  <a:pt x="888" y="198"/>
                  <a:pt x="888" y="196"/>
                </a:cubicBezTo>
                <a:cubicBezTo>
                  <a:pt x="888" y="193"/>
                  <a:pt x="886" y="191"/>
                  <a:pt x="883" y="191"/>
                </a:cubicBezTo>
                <a:cubicBezTo>
                  <a:pt x="881" y="191"/>
                  <a:pt x="879" y="193"/>
                  <a:pt x="879" y="196"/>
                </a:cubicBezTo>
                <a:close/>
                <a:moveTo>
                  <a:pt x="906" y="168"/>
                </a:moveTo>
                <a:cubicBezTo>
                  <a:pt x="906" y="171"/>
                  <a:pt x="908" y="173"/>
                  <a:pt x="910" y="173"/>
                </a:cubicBezTo>
                <a:cubicBezTo>
                  <a:pt x="913" y="173"/>
                  <a:pt x="915" y="171"/>
                  <a:pt x="915" y="168"/>
                </a:cubicBezTo>
                <a:cubicBezTo>
                  <a:pt x="915" y="166"/>
                  <a:pt x="913" y="164"/>
                  <a:pt x="910" y="164"/>
                </a:cubicBezTo>
                <a:cubicBezTo>
                  <a:pt x="908" y="164"/>
                  <a:pt x="906" y="166"/>
                  <a:pt x="906" y="168"/>
                </a:cubicBezTo>
                <a:close/>
                <a:moveTo>
                  <a:pt x="1101" y="191"/>
                </a:moveTo>
                <a:cubicBezTo>
                  <a:pt x="1099" y="191"/>
                  <a:pt x="1096" y="193"/>
                  <a:pt x="1096" y="196"/>
                </a:cubicBezTo>
                <a:cubicBezTo>
                  <a:pt x="1096" y="198"/>
                  <a:pt x="1099" y="200"/>
                  <a:pt x="1101" y="200"/>
                </a:cubicBezTo>
                <a:cubicBezTo>
                  <a:pt x="1104" y="200"/>
                  <a:pt x="1106" y="198"/>
                  <a:pt x="1106" y="196"/>
                </a:cubicBezTo>
                <a:cubicBezTo>
                  <a:pt x="1106" y="193"/>
                  <a:pt x="1104" y="191"/>
                  <a:pt x="1101" y="191"/>
                </a:cubicBezTo>
                <a:close/>
                <a:moveTo>
                  <a:pt x="904" y="150"/>
                </a:moveTo>
                <a:cubicBezTo>
                  <a:pt x="901" y="150"/>
                  <a:pt x="899" y="152"/>
                  <a:pt x="899" y="155"/>
                </a:cubicBezTo>
                <a:cubicBezTo>
                  <a:pt x="899" y="157"/>
                  <a:pt x="901" y="159"/>
                  <a:pt x="904" y="159"/>
                </a:cubicBezTo>
                <a:cubicBezTo>
                  <a:pt x="906" y="159"/>
                  <a:pt x="908" y="157"/>
                  <a:pt x="908" y="155"/>
                </a:cubicBezTo>
                <a:cubicBezTo>
                  <a:pt x="908" y="152"/>
                  <a:pt x="906" y="150"/>
                  <a:pt x="904" y="150"/>
                </a:cubicBezTo>
                <a:close/>
                <a:moveTo>
                  <a:pt x="913" y="155"/>
                </a:moveTo>
                <a:cubicBezTo>
                  <a:pt x="913" y="157"/>
                  <a:pt x="915" y="159"/>
                  <a:pt x="917" y="159"/>
                </a:cubicBezTo>
                <a:cubicBezTo>
                  <a:pt x="920" y="159"/>
                  <a:pt x="922" y="157"/>
                  <a:pt x="922" y="155"/>
                </a:cubicBezTo>
                <a:cubicBezTo>
                  <a:pt x="922" y="152"/>
                  <a:pt x="920" y="150"/>
                  <a:pt x="917" y="150"/>
                </a:cubicBezTo>
                <a:cubicBezTo>
                  <a:pt x="915" y="150"/>
                  <a:pt x="913" y="152"/>
                  <a:pt x="913" y="155"/>
                </a:cubicBezTo>
                <a:close/>
                <a:moveTo>
                  <a:pt x="892" y="168"/>
                </a:moveTo>
                <a:cubicBezTo>
                  <a:pt x="892" y="171"/>
                  <a:pt x="894" y="173"/>
                  <a:pt x="897" y="173"/>
                </a:cubicBezTo>
                <a:cubicBezTo>
                  <a:pt x="899" y="173"/>
                  <a:pt x="901" y="171"/>
                  <a:pt x="901" y="168"/>
                </a:cubicBezTo>
                <a:cubicBezTo>
                  <a:pt x="901" y="166"/>
                  <a:pt x="899" y="164"/>
                  <a:pt x="897" y="164"/>
                </a:cubicBezTo>
                <a:cubicBezTo>
                  <a:pt x="894" y="164"/>
                  <a:pt x="892" y="166"/>
                  <a:pt x="892" y="168"/>
                </a:cubicBezTo>
                <a:close/>
                <a:moveTo>
                  <a:pt x="885" y="182"/>
                </a:moveTo>
                <a:cubicBezTo>
                  <a:pt x="885" y="185"/>
                  <a:pt x="887" y="187"/>
                  <a:pt x="890" y="187"/>
                </a:cubicBezTo>
                <a:cubicBezTo>
                  <a:pt x="892" y="187"/>
                  <a:pt x="894" y="185"/>
                  <a:pt x="894" y="182"/>
                </a:cubicBezTo>
                <a:cubicBezTo>
                  <a:pt x="894" y="179"/>
                  <a:pt x="892" y="177"/>
                  <a:pt x="890" y="177"/>
                </a:cubicBezTo>
                <a:cubicBezTo>
                  <a:pt x="887" y="177"/>
                  <a:pt x="885" y="179"/>
                  <a:pt x="885" y="182"/>
                </a:cubicBezTo>
                <a:close/>
                <a:moveTo>
                  <a:pt x="919" y="141"/>
                </a:moveTo>
                <a:cubicBezTo>
                  <a:pt x="919" y="144"/>
                  <a:pt x="921" y="146"/>
                  <a:pt x="924" y="146"/>
                </a:cubicBezTo>
                <a:cubicBezTo>
                  <a:pt x="926" y="146"/>
                  <a:pt x="929" y="144"/>
                  <a:pt x="929" y="141"/>
                </a:cubicBezTo>
                <a:cubicBezTo>
                  <a:pt x="929" y="139"/>
                  <a:pt x="926" y="137"/>
                  <a:pt x="924" y="137"/>
                </a:cubicBezTo>
                <a:cubicBezTo>
                  <a:pt x="921" y="137"/>
                  <a:pt x="919" y="139"/>
                  <a:pt x="919" y="141"/>
                </a:cubicBezTo>
                <a:close/>
                <a:moveTo>
                  <a:pt x="1003" y="237"/>
                </a:moveTo>
                <a:cubicBezTo>
                  <a:pt x="1003" y="234"/>
                  <a:pt x="1001" y="232"/>
                  <a:pt x="999" y="232"/>
                </a:cubicBezTo>
                <a:cubicBezTo>
                  <a:pt x="996" y="232"/>
                  <a:pt x="994" y="234"/>
                  <a:pt x="994" y="237"/>
                </a:cubicBezTo>
                <a:cubicBezTo>
                  <a:pt x="994" y="239"/>
                  <a:pt x="996" y="241"/>
                  <a:pt x="999" y="241"/>
                </a:cubicBezTo>
                <a:cubicBezTo>
                  <a:pt x="1001" y="241"/>
                  <a:pt x="1003" y="239"/>
                  <a:pt x="1003" y="237"/>
                </a:cubicBezTo>
                <a:close/>
                <a:moveTo>
                  <a:pt x="990" y="264"/>
                </a:moveTo>
                <a:cubicBezTo>
                  <a:pt x="990" y="261"/>
                  <a:pt x="988" y="259"/>
                  <a:pt x="985" y="259"/>
                </a:cubicBezTo>
                <a:cubicBezTo>
                  <a:pt x="983" y="259"/>
                  <a:pt x="981" y="261"/>
                  <a:pt x="981" y="264"/>
                </a:cubicBezTo>
                <a:cubicBezTo>
                  <a:pt x="981" y="266"/>
                  <a:pt x="983" y="268"/>
                  <a:pt x="985" y="268"/>
                </a:cubicBezTo>
                <a:cubicBezTo>
                  <a:pt x="988" y="268"/>
                  <a:pt x="990" y="266"/>
                  <a:pt x="990" y="264"/>
                </a:cubicBezTo>
                <a:close/>
                <a:moveTo>
                  <a:pt x="1026" y="241"/>
                </a:moveTo>
                <a:cubicBezTo>
                  <a:pt x="1029" y="241"/>
                  <a:pt x="1031" y="239"/>
                  <a:pt x="1031" y="237"/>
                </a:cubicBezTo>
                <a:cubicBezTo>
                  <a:pt x="1031" y="234"/>
                  <a:pt x="1029" y="232"/>
                  <a:pt x="1026" y="232"/>
                </a:cubicBezTo>
                <a:cubicBezTo>
                  <a:pt x="1024" y="232"/>
                  <a:pt x="1022" y="234"/>
                  <a:pt x="1022" y="237"/>
                </a:cubicBezTo>
                <a:cubicBezTo>
                  <a:pt x="1022" y="239"/>
                  <a:pt x="1024" y="241"/>
                  <a:pt x="1026" y="241"/>
                </a:cubicBezTo>
                <a:close/>
                <a:moveTo>
                  <a:pt x="997" y="250"/>
                </a:moveTo>
                <a:cubicBezTo>
                  <a:pt x="997" y="248"/>
                  <a:pt x="995" y="246"/>
                  <a:pt x="992" y="246"/>
                </a:cubicBezTo>
                <a:cubicBezTo>
                  <a:pt x="990" y="246"/>
                  <a:pt x="988" y="248"/>
                  <a:pt x="988" y="250"/>
                </a:cubicBezTo>
                <a:cubicBezTo>
                  <a:pt x="988" y="253"/>
                  <a:pt x="990" y="255"/>
                  <a:pt x="992" y="255"/>
                </a:cubicBezTo>
                <a:cubicBezTo>
                  <a:pt x="995" y="255"/>
                  <a:pt x="997" y="253"/>
                  <a:pt x="997" y="250"/>
                </a:cubicBezTo>
                <a:close/>
                <a:moveTo>
                  <a:pt x="1019" y="255"/>
                </a:moveTo>
                <a:cubicBezTo>
                  <a:pt x="1022" y="255"/>
                  <a:pt x="1024" y="253"/>
                  <a:pt x="1024" y="250"/>
                </a:cubicBezTo>
                <a:cubicBezTo>
                  <a:pt x="1024" y="248"/>
                  <a:pt x="1022" y="246"/>
                  <a:pt x="1019" y="246"/>
                </a:cubicBezTo>
                <a:cubicBezTo>
                  <a:pt x="1017" y="246"/>
                  <a:pt x="1015" y="248"/>
                  <a:pt x="1015" y="250"/>
                </a:cubicBezTo>
                <a:cubicBezTo>
                  <a:pt x="1015" y="253"/>
                  <a:pt x="1017" y="255"/>
                  <a:pt x="1019" y="255"/>
                </a:cubicBezTo>
                <a:close/>
                <a:moveTo>
                  <a:pt x="1013" y="241"/>
                </a:moveTo>
                <a:cubicBezTo>
                  <a:pt x="1015" y="241"/>
                  <a:pt x="1017" y="239"/>
                  <a:pt x="1017" y="237"/>
                </a:cubicBezTo>
                <a:cubicBezTo>
                  <a:pt x="1017" y="234"/>
                  <a:pt x="1015" y="232"/>
                  <a:pt x="1013" y="232"/>
                </a:cubicBezTo>
                <a:cubicBezTo>
                  <a:pt x="1010" y="232"/>
                  <a:pt x="1008" y="234"/>
                  <a:pt x="1008" y="237"/>
                </a:cubicBezTo>
                <a:cubicBezTo>
                  <a:pt x="1008" y="239"/>
                  <a:pt x="1010" y="241"/>
                  <a:pt x="1013" y="241"/>
                </a:cubicBezTo>
                <a:close/>
                <a:moveTo>
                  <a:pt x="1010" y="223"/>
                </a:moveTo>
                <a:cubicBezTo>
                  <a:pt x="1010" y="220"/>
                  <a:pt x="1008" y="218"/>
                  <a:pt x="1006" y="218"/>
                </a:cubicBezTo>
                <a:cubicBezTo>
                  <a:pt x="1003" y="218"/>
                  <a:pt x="1001" y="220"/>
                  <a:pt x="1001" y="223"/>
                </a:cubicBezTo>
                <a:cubicBezTo>
                  <a:pt x="1001" y="225"/>
                  <a:pt x="1003" y="227"/>
                  <a:pt x="1006" y="227"/>
                </a:cubicBezTo>
                <a:cubicBezTo>
                  <a:pt x="1008" y="227"/>
                  <a:pt x="1010" y="225"/>
                  <a:pt x="1010" y="223"/>
                </a:cubicBezTo>
                <a:close/>
                <a:moveTo>
                  <a:pt x="967" y="182"/>
                </a:moveTo>
                <a:cubicBezTo>
                  <a:pt x="967" y="185"/>
                  <a:pt x="969" y="187"/>
                  <a:pt x="972" y="187"/>
                </a:cubicBezTo>
                <a:cubicBezTo>
                  <a:pt x="974" y="187"/>
                  <a:pt x="976" y="185"/>
                  <a:pt x="976" y="182"/>
                </a:cubicBezTo>
                <a:cubicBezTo>
                  <a:pt x="976" y="179"/>
                  <a:pt x="974" y="177"/>
                  <a:pt x="972" y="177"/>
                </a:cubicBezTo>
                <a:cubicBezTo>
                  <a:pt x="969" y="177"/>
                  <a:pt x="967" y="179"/>
                  <a:pt x="967" y="182"/>
                </a:cubicBezTo>
                <a:close/>
                <a:moveTo>
                  <a:pt x="951" y="227"/>
                </a:moveTo>
                <a:cubicBezTo>
                  <a:pt x="954" y="227"/>
                  <a:pt x="956" y="225"/>
                  <a:pt x="956" y="223"/>
                </a:cubicBezTo>
                <a:cubicBezTo>
                  <a:pt x="956" y="220"/>
                  <a:pt x="954" y="218"/>
                  <a:pt x="951" y="218"/>
                </a:cubicBezTo>
                <a:cubicBezTo>
                  <a:pt x="949" y="218"/>
                  <a:pt x="947" y="220"/>
                  <a:pt x="947" y="223"/>
                </a:cubicBezTo>
                <a:cubicBezTo>
                  <a:pt x="947" y="225"/>
                  <a:pt x="949" y="227"/>
                  <a:pt x="951" y="227"/>
                </a:cubicBezTo>
                <a:close/>
                <a:moveTo>
                  <a:pt x="951" y="191"/>
                </a:moveTo>
                <a:cubicBezTo>
                  <a:pt x="949" y="191"/>
                  <a:pt x="947" y="193"/>
                  <a:pt x="947" y="196"/>
                </a:cubicBezTo>
                <a:cubicBezTo>
                  <a:pt x="947" y="198"/>
                  <a:pt x="949" y="200"/>
                  <a:pt x="951" y="200"/>
                </a:cubicBezTo>
                <a:cubicBezTo>
                  <a:pt x="954" y="200"/>
                  <a:pt x="956" y="198"/>
                  <a:pt x="956" y="196"/>
                </a:cubicBezTo>
                <a:cubicBezTo>
                  <a:pt x="956" y="193"/>
                  <a:pt x="954" y="191"/>
                  <a:pt x="951" y="191"/>
                </a:cubicBezTo>
                <a:close/>
                <a:moveTo>
                  <a:pt x="972" y="268"/>
                </a:moveTo>
                <a:cubicBezTo>
                  <a:pt x="974" y="268"/>
                  <a:pt x="976" y="266"/>
                  <a:pt x="976" y="264"/>
                </a:cubicBezTo>
                <a:cubicBezTo>
                  <a:pt x="976" y="261"/>
                  <a:pt x="974" y="259"/>
                  <a:pt x="972" y="259"/>
                </a:cubicBezTo>
                <a:cubicBezTo>
                  <a:pt x="969" y="259"/>
                  <a:pt x="967" y="261"/>
                  <a:pt x="967" y="264"/>
                </a:cubicBezTo>
                <a:cubicBezTo>
                  <a:pt x="967" y="266"/>
                  <a:pt x="969" y="268"/>
                  <a:pt x="972" y="268"/>
                </a:cubicBezTo>
                <a:close/>
                <a:moveTo>
                  <a:pt x="965" y="255"/>
                </a:moveTo>
                <a:cubicBezTo>
                  <a:pt x="967" y="255"/>
                  <a:pt x="969" y="253"/>
                  <a:pt x="969" y="250"/>
                </a:cubicBezTo>
                <a:cubicBezTo>
                  <a:pt x="969" y="248"/>
                  <a:pt x="967" y="246"/>
                  <a:pt x="965" y="246"/>
                </a:cubicBezTo>
                <a:cubicBezTo>
                  <a:pt x="962" y="246"/>
                  <a:pt x="960" y="248"/>
                  <a:pt x="960" y="250"/>
                </a:cubicBezTo>
                <a:cubicBezTo>
                  <a:pt x="960" y="253"/>
                  <a:pt x="962" y="255"/>
                  <a:pt x="965" y="255"/>
                </a:cubicBezTo>
                <a:close/>
                <a:moveTo>
                  <a:pt x="978" y="282"/>
                </a:moveTo>
                <a:cubicBezTo>
                  <a:pt x="981" y="282"/>
                  <a:pt x="983" y="280"/>
                  <a:pt x="983" y="278"/>
                </a:cubicBezTo>
                <a:cubicBezTo>
                  <a:pt x="983" y="275"/>
                  <a:pt x="981" y="273"/>
                  <a:pt x="978" y="273"/>
                </a:cubicBezTo>
                <a:cubicBezTo>
                  <a:pt x="976" y="273"/>
                  <a:pt x="974" y="275"/>
                  <a:pt x="974" y="278"/>
                </a:cubicBezTo>
                <a:cubicBezTo>
                  <a:pt x="974" y="280"/>
                  <a:pt x="976" y="282"/>
                  <a:pt x="978" y="282"/>
                </a:cubicBezTo>
                <a:close/>
                <a:moveTo>
                  <a:pt x="1006" y="191"/>
                </a:moveTo>
                <a:cubicBezTo>
                  <a:pt x="1003" y="191"/>
                  <a:pt x="1001" y="193"/>
                  <a:pt x="1001" y="196"/>
                </a:cubicBezTo>
                <a:cubicBezTo>
                  <a:pt x="1001" y="198"/>
                  <a:pt x="1003" y="200"/>
                  <a:pt x="1006" y="200"/>
                </a:cubicBezTo>
                <a:cubicBezTo>
                  <a:pt x="1008" y="200"/>
                  <a:pt x="1010" y="198"/>
                  <a:pt x="1010" y="196"/>
                </a:cubicBezTo>
                <a:cubicBezTo>
                  <a:pt x="1010" y="193"/>
                  <a:pt x="1008" y="191"/>
                  <a:pt x="1006" y="191"/>
                </a:cubicBezTo>
                <a:close/>
                <a:moveTo>
                  <a:pt x="994" y="209"/>
                </a:moveTo>
                <a:cubicBezTo>
                  <a:pt x="994" y="212"/>
                  <a:pt x="996" y="214"/>
                  <a:pt x="999" y="214"/>
                </a:cubicBezTo>
                <a:cubicBezTo>
                  <a:pt x="1001" y="214"/>
                  <a:pt x="1003" y="212"/>
                  <a:pt x="1003" y="209"/>
                </a:cubicBezTo>
                <a:cubicBezTo>
                  <a:pt x="1003" y="207"/>
                  <a:pt x="1001" y="205"/>
                  <a:pt x="999" y="205"/>
                </a:cubicBezTo>
                <a:cubicBezTo>
                  <a:pt x="996" y="205"/>
                  <a:pt x="994" y="207"/>
                  <a:pt x="994" y="209"/>
                </a:cubicBezTo>
                <a:close/>
                <a:moveTo>
                  <a:pt x="954" y="209"/>
                </a:moveTo>
                <a:cubicBezTo>
                  <a:pt x="954" y="212"/>
                  <a:pt x="956" y="214"/>
                  <a:pt x="958" y="214"/>
                </a:cubicBezTo>
                <a:cubicBezTo>
                  <a:pt x="961" y="214"/>
                  <a:pt x="963" y="212"/>
                  <a:pt x="963" y="209"/>
                </a:cubicBezTo>
                <a:cubicBezTo>
                  <a:pt x="963" y="207"/>
                  <a:pt x="961" y="205"/>
                  <a:pt x="958" y="205"/>
                </a:cubicBezTo>
                <a:cubicBezTo>
                  <a:pt x="956" y="205"/>
                  <a:pt x="954" y="207"/>
                  <a:pt x="954" y="209"/>
                </a:cubicBezTo>
                <a:close/>
                <a:moveTo>
                  <a:pt x="988" y="223"/>
                </a:moveTo>
                <a:cubicBezTo>
                  <a:pt x="988" y="225"/>
                  <a:pt x="990" y="227"/>
                  <a:pt x="992" y="227"/>
                </a:cubicBezTo>
                <a:cubicBezTo>
                  <a:pt x="995" y="227"/>
                  <a:pt x="997" y="225"/>
                  <a:pt x="997" y="223"/>
                </a:cubicBezTo>
                <a:cubicBezTo>
                  <a:pt x="997" y="220"/>
                  <a:pt x="995" y="218"/>
                  <a:pt x="992" y="218"/>
                </a:cubicBezTo>
                <a:cubicBezTo>
                  <a:pt x="990" y="218"/>
                  <a:pt x="988" y="220"/>
                  <a:pt x="988" y="223"/>
                </a:cubicBezTo>
                <a:close/>
                <a:moveTo>
                  <a:pt x="1026" y="268"/>
                </a:moveTo>
                <a:cubicBezTo>
                  <a:pt x="1029" y="268"/>
                  <a:pt x="1031" y="266"/>
                  <a:pt x="1031" y="264"/>
                </a:cubicBezTo>
                <a:cubicBezTo>
                  <a:pt x="1031" y="261"/>
                  <a:pt x="1029" y="259"/>
                  <a:pt x="1026" y="259"/>
                </a:cubicBezTo>
                <a:cubicBezTo>
                  <a:pt x="1024" y="259"/>
                  <a:pt x="1022" y="261"/>
                  <a:pt x="1022" y="264"/>
                </a:cubicBezTo>
                <a:cubicBezTo>
                  <a:pt x="1022" y="266"/>
                  <a:pt x="1024" y="268"/>
                  <a:pt x="1026" y="268"/>
                </a:cubicBezTo>
                <a:close/>
                <a:moveTo>
                  <a:pt x="978" y="164"/>
                </a:moveTo>
                <a:cubicBezTo>
                  <a:pt x="976" y="164"/>
                  <a:pt x="974" y="166"/>
                  <a:pt x="974" y="168"/>
                </a:cubicBezTo>
                <a:cubicBezTo>
                  <a:pt x="974" y="171"/>
                  <a:pt x="976" y="173"/>
                  <a:pt x="978" y="173"/>
                </a:cubicBezTo>
                <a:cubicBezTo>
                  <a:pt x="981" y="173"/>
                  <a:pt x="983" y="171"/>
                  <a:pt x="983" y="168"/>
                </a:cubicBezTo>
                <a:cubicBezTo>
                  <a:pt x="983" y="166"/>
                  <a:pt x="981" y="164"/>
                  <a:pt x="978" y="164"/>
                </a:cubicBezTo>
                <a:close/>
                <a:moveTo>
                  <a:pt x="1013" y="205"/>
                </a:moveTo>
                <a:cubicBezTo>
                  <a:pt x="1010" y="205"/>
                  <a:pt x="1008" y="207"/>
                  <a:pt x="1008" y="209"/>
                </a:cubicBezTo>
                <a:cubicBezTo>
                  <a:pt x="1008" y="212"/>
                  <a:pt x="1010" y="214"/>
                  <a:pt x="1013" y="214"/>
                </a:cubicBezTo>
                <a:cubicBezTo>
                  <a:pt x="1015" y="214"/>
                  <a:pt x="1017" y="212"/>
                  <a:pt x="1017" y="209"/>
                </a:cubicBezTo>
                <a:cubicBezTo>
                  <a:pt x="1017" y="207"/>
                  <a:pt x="1015" y="205"/>
                  <a:pt x="1013" y="205"/>
                </a:cubicBezTo>
                <a:close/>
                <a:moveTo>
                  <a:pt x="985" y="177"/>
                </a:moveTo>
                <a:cubicBezTo>
                  <a:pt x="983" y="177"/>
                  <a:pt x="981" y="179"/>
                  <a:pt x="981" y="182"/>
                </a:cubicBezTo>
                <a:cubicBezTo>
                  <a:pt x="981" y="185"/>
                  <a:pt x="983" y="187"/>
                  <a:pt x="985" y="187"/>
                </a:cubicBezTo>
                <a:cubicBezTo>
                  <a:pt x="988" y="187"/>
                  <a:pt x="990" y="185"/>
                  <a:pt x="990" y="182"/>
                </a:cubicBezTo>
                <a:cubicBezTo>
                  <a:pt x="990" y="179"/>
                  <a:pt x="988" y="177"/>
                  <a:pt x="985" y="177"/>
                </a:cubicBezTo>
                <a:close/>
                <a:moveTo>
                  <a:pt x="1044" y="237"/>
                </a:moveTo>
                <a:cubicBezTo>
                  <a:pt x="1044" y="234"/>
                  <a:pt x="1042" y="232"/>
                  <a:pt x="1040" y="232"/>
                </a:cubicBezTo>
                <a:cubicBezTo>
                  <a:pt x="1037" y="232"/>
                  <a:pt x="1035" y="234"/>
                  <a:pt x="1035" y="237"/>
                </a:cubicBezTo>
                <a:cubicBezTo>
                  <a:pt x="1035" y="239"/>
                  <a:pt x="1037" y="241"/>
                  <a:pt x="1040" y="241"/>
                </a:cubicBezTo>
                <a:cubicBezTo>
                  <a:pt x="1042" y="241"/>
                  <a:pt x="1044" y="239"/>
                  <a:pt x="1044" y="237"/>
                </a:cubicBezTo>
                <a:close/>
                <a:moveTo>
                  <a:pt x="1040" y="205"/>
                </a:moveTo>
                <a:cubicBezTo>
                  <a:pt x="1037" y="205"/>
                  <a:pt x="1035" y="207"/>
                  <a:pt x="1035" y="209"/>
                </a:cubicBezTo>
                <a:cubicBezTo>
                  <a:pt x="1035" y="212"/>
                  <a:pt x="1037" y="214"/>
                  <a:pt x="1040" y="214"/>
                </a:cubicBezTo>
                <a:cubicBezTo>
                  <a:pt x="1042" y="214"/>
                  <a:pt x="1044" y="212"/>
                  <a:pt x="1044" y="209"/>
                </a:cubicBezTo>
                <a:cubicBezTo>
                  <a:pt x="1044" y="207"/>
                  <a:pt x="1042" y="205"/>
                  <a:pt x="1040" y="205"/>
                </a:cubicBezTo>
                <a:close/>
                <a:moveTo>
                  <a:pt x="1037" y="250"/>
                </a:moveTo>
                <a:cubicBezTo>
                  <a:pt x="1037" y="248"/>
                  <a:pt x="1035" y="246"/>
                  <a:pt x="1033" y="246"/>
                </a:cubicBezTo>
                <a:cubicBezTo>
                  <a:pt x="1030" y="246"/>
                  <a:pt x="1028" y="248"/>
                  <a:pt x="1028" y="250"/>
                </a:cubicBezTo>
                <a:cubicBezTo>
                  <a:pt x="1028" y="253"/>
                  <a:pt x="1030" y="255"/>
                  <a:pt x="1033" y="255"/>
                </a:cubicBezTo>
                <a:cubicBezTo>
                  <a:pt x="1035" y="255"/>
                  <a:pt x="1037" y="253"/>
                  <a:pt x="1037" y="250"/>
                </a:cubicBezTo>
                <a:close/>
                <a:moveTo>
                  <a:pt x="1026" y="205"/>
                </a:moveTo>
                <a:cubicBezTo>
                  <a:pt x="1024" y="205"/>
                  <a:pt x="1022" y="207"/>
                  <a:pt x="1022" y="209"/>
                </a:cubicBezTo>
                <a:cubicBezTo>
                  <a:pt x="1022" y="212"/>
                  <a:pt x="1024" y="214"/>
                  <a:pt x="1026" y="214"/>
                </a:cubicBezTo>
                <a:cubicBezTo>
                  <a:pt x="1029" y="214"/>
                  <a:pt x="1031" y="212"/>
                  <a:pt x="1031" y="209"/>
                </a:cubicBezTo>
                <a:cubicBezTo>
                  <a:pt x="1031" y="207"/>
                  <a:pt x="1029" y="205"/>
                  <a:pt x="1026" y="205"/>
                </a:cubicBezTo>
                <a:close/>
                <a:moveTo>
                  <a:pt x="1015" y="223"/>
                </a:moveTo>
                <a:cubicBezTo>
                  <a:pt x="1015" y="225"/>
                  <a:pt x="1017" y="227"/>
                  <a:pt x="1019" y="227"/>
                </a:cubicBezTo>
                <a:cubicBezTo>
                  <a:pt x="1022" y="227"/>
                  <a:pt x="1024" y="225"/>
                  <a:pt x="1024" y="223"/>
                </a:cubicBezTo>
                <a:cubicBezTo>
                  <a:pt x="1024" y="220"/>
                  <a:pt x="1022" y="218"/>
                  <a:pt x="1019" y="218"/>
                </a:cubicBezTo>
                <a:cubicBezTo>
                  <a:pt x="1017" y="218"/>
                  <a:pt x="1015" y="220"/>
                  <a:pt x="1015" y="223"/>
                </a:cubicBezTo>
                <a:close/>
                <a:moveTo>
                  <a:pt x="1028" y="223"/>
                </a:moveTo>
                <a:cubicBezTo>
                  <a:pt x="1028" y="225"/>
                  <a:pt x="1030" y="227"/>
                  <a:pt x="1033" y="227"/>
                </a:cubicBezTo>
                <a:cubicBezTo>
                  <a:pt x="1035" y="227"/>
                  <a:pt x="1037" y="225"/>
                  <a:pt x="1037" y="223"/>
                </a:cubicBezTo>
                <a:cubicBezTo>
                  <a:pt x="1037" y="220"/>
                  <a:pt x="1035" y="218"/>
                  <a:pt x="1033" y="218"/>
                </a:cubicBezTo>
                <a:cubicBezTo>
                  <a:pt x="1030" y="218"/>
                  <a:pt x="1028" y="220"/>
                  <a:pt x="1028" y="223"/>
                </a:cubicBezTo>
                <a:close/>
                <a:moveTo>
                  <a:pt x="958" y="241"/>
                </a:moveTo>
                <a:cubicBezTo>
                  <a:pt x="961" y="241"/>
                  <a:pt x="963" y="239"/>
                  <a:pt x="963" y="237"/>
                </a:cubicBezTo>
                <a:cubicBezTo>
                  <a:pt x="963" y="234"/>
                  <a:pt x="961" y="232"/>
                  <a:pt x="958" y="232"/>
                </a:cubicBezTo>
                <a:cubicBezTo>
                  <a:pt x="956" y="232"/>
                  <a:pt x="954" y="234"/>
                  <a:pt x="954" y="237"/>
                </a:cubicBezTo>
                <a:cubicBezTo>
                  <a:pt x="954" y="239"/>
                  <a:pt x="956" y="241"/>
                  <a:pt x="958" y="241"/>
                </a:cubicBezTo>
                <a:close/>
                <a:moveTo>
                  <a:pt x="901" y="250"/>
                </a:moveTo>
                <a:cubicBezTo>
                  <a:pt x="901" y="248"/>
                  <a:pt x="899" y="246"/>
                  <a:pt x="897" y="246"/>
                </a:cubicBezTo>
                <a:cubicBezTo>
                  <a:pt x="894" y="246"/>
                  <a:pt x="892" y="248"/>
                  <a:pt x="892" y="250"/>
                </a:cubicBezTo>
                <a:cubicBezTo>
                  <a:pt x="892" y="253"/>
                  <a:pt x="894" y="255"/>
                  <a:pt x="897" y="255"/>
                </a:cubicBezTo>
                <a:cubicBezTo>
                  <a:pt x="899" y="255"/>
                  <a:pt x="901" y="253"/>
                  <a:pt x="901" y="250"/>
                </a:cubicBezTo>
                <a:close/>
                <a:moveTo>
                  <a:pt x="904" y="214"/>
                </a:moveTo>
                <a:cubicBezTo>
                  <a:pt x="906" y="214"/>
                  <a:pt x="908" y="212"/>
                  <a:pt x="908" y="209"/>
                </a:cubicBezTo>
                <a:cubicBezTo>
                  <a:pt x="908" y="207"/>
                  <a:pt x="906" y="205"/>
                  <a:pt x="904" y="205"/>
                </a:cubicBezTo>
                <a:cubicBezTo>
                  <a:pt x="901" y="205"/>
                  <a:pt x="899" y="207"/>
                  <a:pt x="899" y="209"/>
                </a:cubicBezTo>
                <a:cubicBezTo>
                  <a:pt x="899" y="212"/>
                  <a:pt x="901" y="214"/>
                  <a:pt x="904" y="214"/>
                </a:cubicBezTo>
                <a:close/>
                <a:moveTo>
                  <a:pt x="885" y="237"/>
                </a:moveTo>
                <a:cubicBezTo>
                  <a:pt x="885" y="239"/>
                  <a:pt x="887" y="241"/>
                  <a:pt x="890" y="241"/>
                </a:cubicBezTo>
                <a:cubicBezTo>
                  <a:pt x="892" y="241"/>
                  <a:pt x="894" y="239"/>
                  <a:pt x="894" y="237"/>
                </a:cubicBezTo>
                <a:cubicBezTo>
                  <a:pt x="894" y="234"/>
                  <a:pt x="892" y="232"/>
                  <a:pt x="890" y="232"/>
                </a:cubicBezTo>
                <a:cubicBezTo>
                  <a:pt x="887" y="232"/>
                  <a:pt x="885" y="234"/>
                  <a:pt x="885" y="237"/>
                </a:cubicBezTo>
                <a:close/>
                <a:moveTo>
                  <a:pt x="885" y="264"/>
                </a:moveTo>
                <a:cubicBezTo>
                  <a:pt x="885" y="266"/>
                  <a:pt x="887" y="268"/>
                  <a:pt x="890" y="268"/>
                </a:cubicBezTo>
                <a:cubicBezTo>
                  <a:pt x="892" y="268"/>
                  <a:pt x="894" y="266"/>
                  <a:pt x="894" y="264"/>
                </a:cubicBezTo>
                <a:cubicBezTo>
                  <a:pt x="894" y="261"/>
                  <a:pt x="892" y="259"/>
                  <a:pt x="890" y="259"/>
                </a:cubicBezTo>
                <a:cubicBezTo>
                  <a:pt x="887" y="259"/>
                  <a:pt x="885" y="261"/>
                  <a:pt x="885" y="264"/>
                </a:cubicBezTo>
                <a:close/>
                <a:moveTo>
                  <a:pt x="908" y="237"/>
                </a:moveTo>
                <a:cubicBezTo>
                  <a:pt x="908" y="234"/>
                  <a:pt x="906" y="232"/>
                  <a:pt x="904" y="232"/>
                </a:cubicBezTo>
                <a:cubicBezTo>
                  <a:pt x="901" y="232"/>
                  <a:pt x="899" y="234"/>
                  <a:pt x="899" y="237"/>
                </a:cubicBezTo>
                <a:cubicBezTo>
                  <a:pt x="899" y="239"/>
                  <a:pt x="901" y="241"/>
                  <a:pt x="904" y="241"/>
                </a:cubicBezTo>
                <a:cubicBezTo>
                  <a:pt x="906" y="241"/>
                  <a:pt x="908" y="239"/>
                  <a:pt x="908" y="237"/>
                </a:cubicBezTo>
                <a:close/>
                <a:moveTo>
                  <a:pt x="915" y="223"/>
                </a:moveTo>
                <a:cubicBezTo>
                  <a:pt x="915" y="220"/>
                  <a:pt x="913" y="218"/>
                  <a:pt x="910" y="218"/>
                </a:cubicBezTo>
                <a:cubicBezTo>
                  <a:pt x="908" y="218"/>
                  <a:pt x="906" y="220"/>
                  <a:pt x="906" y="223"/>
                </a:cubicBezTo>
                <a:cubicBezTo>
                  <a:pt x="906" y="225"/>
                  <a:pt x="908" y="227"/>
                  <a:pt x="910" y="227"/>
                </a:cubicBezTo>
                <a:cubicBezTo>
                  <a:pt x="913" y="227"/>
                  <a:pt x="915" y="225"/>
                  <a:pt x="915" y="223"/>
                </a:cubicBezTo>
                <a:close/>
                <a:moveTo>
                  <a:pt x="1090" y="209"/>
                </a:moveTo>
                <a:cubicBezTo>
                  <a:pt x="1090" y="212"/>
                  <a:pt x="1092" y="214"/>
                  <a:pt x="1094" y="214"/>
                </a:cubicBezTo>
                <a:cubicBezTo>
                  <a:pt x="1097" y="214"/>
                  <a:pt x="1099" y="212"/>
                  <a:pt x="1099" y="209"/>
                </a:cubicBezTo>
                <a:cubicBezTo>
                  <a:pt x="1099" y="207"/>
                  <a:pt x="1097" y="205"/>
                  <a:pt x="1094" y="205"/>
                </a:cubicBezTo>
                <a:cubicBezTo>
                  <a:pt x="1092" y="205"/>
                  <a:pt x="1090" y="207"/>
                  <a:pt x="1090" y="209"/>
                </a:cubicBezTo>
                <a:close/>
                <a:moveTo>
                  <a:pt x="1087" y="191"/>
                </a:moveTo>
                <a:cubicBezTo>
                  <a:pt x="1085" y="191"/>
                  <a:pt x="1083" y="193"/>
                  <a:pt x="1083" y="196"/>
                </a:cubicBezTo>
                <a:cubicBezTo>
                  <a:pt x="1083" y="198"/>
                  <a:pt x="1085" y="200"/>
                  <a:pt x="1087" y="200"/>
                </a:cubicBezTo>
                <a:cubicBezTo>
                  <a:pt x="1090" y="200"/>
                  <a:pt x="1092" y="198"/>
                  <a:pt x="1092" y="196"/>
                </a:cubicBezTo>
                <a:cubicBezTo>
                  <a:pt x="1092" y="193"/>
                  <a:pt x="1090" y="191"/>
                  <a:pt x="1087" y="191"/>
                </a:cubicBezTo>
                <a:close/>
                <a:moveTo>
                  <a:pt x="1076" y="209"/>
                </a:moveTo>
                <a:cubicBezTo>
                  <a:pt x="1076" y="212"/>
                  <a:pt x="1078" y="214"/>
                  <a:pt x="1081" y="214"/>
                </a:cubicBezTo>
                <a:cubicBezTo>
                  <a:pt x="1083" y="214"/>
                  <a:pt x="1085" y="212"/>
                  <a:pt x="1085" y="209"/>
                </a:cubicBezTo>
                <a:cubicBezTo>
                  <a:pt x="1085" y="207"/>
                  <a:pt x="1083" y="205"/>
                  <a:pt x="1081" y="205"/>
                </a:cubicBezTo>
                <a:cubicBezTo>
                  <a:pt x="1078" y="205"/>
                  <a:pt x="1076" y="207"/>
                  <a:pt x="1076" y="209"/>
                </a:cubicBezTo>
                <a:close/>
                <a:moveTo>
                  <a:pt x="922" y="209"/>
                </a:moveTo>
                <a:cubicBezTo>
                  <a:pt x="922" y="207"/>
                  <a:pt x="920" y="205"/>
                  <a:pt x="917" y="205"/>
                </a:cubicBezTo>
                <a:cubicBezTo>
                  <a:pt x="915" y="205"/>
                  <a:pt x="913" y="207"/>
                  <a:pt x="913" y="209"/>
                </a:cubicBezTo>
                <a:cubicBezTo>
                  <a:pt x="913" y="212"/>
                  <a:pt x="915" y="214"/>
                  <a:pt x="917" y="214"/>
                </a:cubicBezTo>
                <a:cubicBezTo>
                  <a:pt x="920" y="214"/>
                  <a:pt x="922" y="212"/>
                  <a:pt x="922" y="209"/>
                </a:cubicBezTo>
                <a:close/>
                <a:moveTo>
                  <a:pt x="892" y="223"/>
                </a:moveTo>
                <a:cubicBezTo>
                  <a:pt x="892" y="225"/>
                  <a:pt x="894" y="227"/>
                  <a:pt x="897" y="227"/>
                </a:cubicBezTo>
                <a:cubicBezTo>
                  <a:pt x="899" y="227"/>
                  <a:pt x="901" y="225"/>
                  <a:pt x="901" y="223"/>
                </a:cubicBezTo>
                <a:cubicBezTo>
                  <a:pt x="901" y="220"/>
                  <a:pt x="899" y="218"/>
                  <a:pt x="897" y="218"/>
                </a:cubicBezTo>
                <a:cubicBezTo>
                  <a:pt x="894" y="218"/>
                  <a:pt x="892" y="220"/>
                  <a:pt x="892" y="223"/>
                </a:cubicBezTo>
                <a:close/>
                <a:moveTo>
                  <a:pt x="1062" y="209"/>
                </a:moveTo>
                <a:cubicBezTo>
                  <a:pt x="1062" y="212"/>
                  <a:pt x="1064" y="214"/>
                  <a:pt x="1067" y="214"/>
                </a:cubicBezTo>
                <a:cubicBezTo>
                  <a:pt x="1070" y="214"/>
                  <a:pt x="1072" y="212"/>
                  <a:pt x="1072" y="209"/>
                </a:cubicBezTo>
                <a:cubicBezTo>
                  <a:pt x="1072" y="207"/>
                  <a:pt x="1070" y="205"/>
                  <a:pt x="1067" y="205"/>
                </a:cubicBezTo>
                <a:cubicBezTo>
                  <a:pt x="1064" y="205"/>
                  <a:pt x="1062" y="207"/>
                  <a:pt x="1062" y="209"/>
                </a:cubicBezTo>
                <a:close/>
                <a:moveTo>
                  <a:pt x="1074" y="191"/>
                </a:moveTo>
                <a:cubicBezTo>
                  <a:pt x="1071" y="191"/>
                  <a:pt x="1069" y="193"/>
                  <a:pt x="1069" y="196"/>
                </a:cubicBezTo>
                <a:cubicBezTo>
                  <a:pt x="1069" y="198"/>
                  <a:pt x="1071" y="200"/>
                  <a:pt x="1074" y="200"/>
                </a:cubicBezTo>
                <a:cubicBezTo>
                  <a:pt x="1076" y="200"/>
                  <a:pt x="1078" y="198"/>
                  <a:pt x="1078" y="196"/>
                </a:cubicBezTo>
                <a:cubicBezTo>
                  <a:pt x="1078" y="193"/>
                  <a:pt x="1076" y="191"/>
                  <a:pt x="1074" y="191"/>
                </a:cubicBezTo>
                <a:close/>
                <a:moveTo>
                  <a:pt x="965" y="191"/>
                </a:moveTo>
                <a:cubicBezTo>
                  <a:pt x="962" y="191"/>
                  <a:pt x="960" y="193"/>
                  <a:pt x="960" y="196"/>
                </a:cubicBezTo>
                <a:cubicBezTo>
                  <a:pt x="960" y="198"/>
                  <a:pt x="962" y="200"/>
                  <a:pt x="965" y="200"/>
                </a:cubicBezTo>
                <a:cubicBezTo>
                  <a:pt x="967" y="200"/>
                  <a:pt x="969" y="198"/>
                  <a:pt x="969" y="196"/>
                </a:cubicBezTo>
                <a:cubicBezTo>
                  <a:pt x="969" y="193"/>
                  <a:pt x="967" y="191"/>
                  <a:pt x="965" y="191"/>
                </a:cubicBezTo>
                <a:close/>
                <a:moveTo>
                  <a:pt x="990" y="237"/>
                </a:moveTo>
                <a:cubicBezTo>
                  <a:pt x="990" y="234"/>
                  <a:pt x="988" y="232"/>
                  <a:pt x="985" y="232"/>
                </a:cubicBezTo>
                <a:cubicBezTo>
                  <a:pt x="983" y="232"/>
                  <a:pt x="981" y="234"/>
                  <a:pt x="981" y="237"/>
                </a:cubicBezTo>
                <a:cubicBezTo>
                  <a:pt x="981" y="239"/>
                  <a:pt x="983" y="241"/>
                  <a:pt x="985" y="241"/>
                </a:cubicBezTo>
                <a:cubicBezTo>
                  <a:pt x="988" y="241"/>
                  <a:pt x="990" y="239"/>
                  <a:pt x="990" y="237"/>
                </a:cubicBezTo>
                <a:close/>
                <a:moveTo>
                  <a:pt x="990" y="209"/>
                </a:moveTo>
                <a:cubicBezTo>
                  <a:pt x="990" y="207"/>
                  <a:pt x="988" y="205"/>
                  <a:pt x="985" y="205"/>
                </a:cubicBezTo>
                <a:cubicBezTo>
                  <a:pt x="983" y="205"/>
                  <a:pt x="981" y="207"/>
                  <a:pt x="981" y="209"/>
                </a:cubicBezTo>
                <a:cubicBezTo>
                  <a:pt x="981" y="212"/>
                  <a:pt x="983" y="214"/>
                  <a:pt x="985" y="214"/>
                </a:cubicBezTo>
                <a:cubicBezTo>
                  <a:pt x="988" y="214"/>
                  <a:pt x="990" y="212"/>
                  <a:pt x="990" y="209"/>
                </a:cubicBezTo>
                <a:close/>
                <a:moveTo>
                  <a:pt x="978" y="255"/>
                </a:moveTo>
                <a:cubicBezTo>
                  <a:pt x="981" y="255"/>
                  <a:pt x="983" y="253"/>
                  <a:pt x="983" y="250"/>
                </a:cubicBezTo>
                <a:cubicBezTo>
                  <a:pt x="983" y="248"/>
                  <a:pt x="981" y="246"/>
                  <a:pt x="978" y="246"/>
                </a:cubicBezTo>
                <a:cubicBezTo>
                  <a:pt x="976" y="246"/>
                  <a:pt x="974" y="248"/>
                  <a:pt x="974" y="250"/>
                </a:cubicBezTo>
                <a:cubicBezTo>
                  <a:pt x="974" y="253"/>
                  <a:pt x="976" y="255"/>
                  <a:pt x="978" y="255"/>
                </a:cubicBezTo>
                <a:close/>
                <a:moveTo>
                  <a:pt x="967" y="209"/>
                </a:moveTo>
                <a:cubicBezTo>
                  <a:pt x="967" y="212"/>
                  <a:pt x="969" y="214"/>
                  <a:pt x="972" y="214"/>
                </a:cubicBezTo>
                <a:cubicBezTo>
                  <a:pt x="974" y="214"/>
                  <a:pt x="976" y="212"/>
                  <a:pt x="976" y="209"/>
                </a:cubicBezTo>
                <a:cubicBezTo>
                  <a:pt x="976" y="207"/>
                  <a:pt x="974" y="205"/>
                  <a:pt x="972" y="205"/>
                </a:cubicBezTo>
                <a:cubicBezTo>
                  <a:pt x="969" y="205"/>
                  <a:pt x="967" y="207"/>
                  <a:pt x="967" y="209"/>
                </a:cubicBezTo>
                <a:close/>
                <a:moveTo>
                  <a:pt x="978" y="191"/>
                </a:moveTo>
                <a:cubicBezTo>
                  <a:pt x="976" y="191"/>
                  <a:pt x="974" y="193"/>
                  <a:pt x="974" y="196"/>
                </a:cubicBezTo>
                <a:cubicBezTo>
                  <a:pt x="974" y="198"/>
                  <a:pt x="976" y="200"/>
                  <a:pt x="978" y="200"/>
                </a:cubicBezTo>
                <a:cubicBezTo>
                  <a:pt x="981" y="200"/>
                  <a:pt x="983" y="198"/>
                  <a:pt x="983" y="196"/>
                </a:cubicBezTo>
                <a:cubicBezTo>
                  <a:pt x="983" y="193"/>
                  <a:pt x="981" y="191"/>
                  <a:pt x="978" y="191"/>
                </a:cubicBezTo>
                <a:close/>
                <a:moveTo>
                  <a:pt x="978" y="227"/>
                </a:moveTo>
                <a:cubicBezTo>
                  <a:pt x="981" y="227"/>
                  <a:pt x="983" y="225"/>
                  <a:pt x="983" y="223"/>
                </a:cubicBezTo>
                <a:cubicBezTo>
                  <a:pt x="983" y="220"/>
                  <a:pt x="981" y="218"/>
                  <a:pt x="978" y="218"/>
                </a:cubicBezTo>
                <a:cubicBezTo>
                  <a:pt x="976" y="218"/>
                  <a:pt x="974" y="220"/>
                  <a:pt x="974" y="223"/>
                </a:cubicBezTo>
                <a:cubicBezTo>
                  <a:pt x="974" y="225"/>
                  <a:pt x="976" y="227"/>
                  <a:pt x="978" y="227"/>
                </a:cubicBezTo>
                <a:close/>
                <a:moveTo>
                  <a:pt x="965" y="218"/>
                </a:moveTo>
                <a:cubicBezTo>
                  <a:pt x="962" y="218"/>
                  <a:pt x="960" y="220"/>
                  <a:pt x="960" y="223"/>
                </a:cubicBezTo>
                <a:cubicBezTo>
                  <a:pt x="960" y="225"/>
                  <a:pt x="962" y="227"/>
                  <a:pt x="965" y="227"/>
                </a:cubicBezTo>
                <a:cubicBezTo>
                  <a:pt x="967" y="227"/>
                  <a:pt x="969" y="225"/>
                  <a:pt x="969" y="223"/>
                </a:cubicBezTo>
                <a:cubicBezTo>
                  <a:pt x="969" y="220"/>
                  <a:pt x="967" y="218"/>
                  <a:pt x="965" y="218"/>
                </a:cubicBezTo>
                <a:close/>
                <a:moveTo>
                  <a:pt x="1053" y="214"/>
                </a:moveTo>
                <a:cubicBezTo>
                  <a:pt x="1056" y="214"/>
                  <a:pt x="1058" y="212"/>
                  <a:pt x="1058" y="209"/>
                </a:cubicBezTo>
                <a:cubicBezTo>
                  <a:pt x="1058" y="207"/>
                  <a:pt x="1056" y="205"/>
                  <a:pt x="1053" y="205"/>
                </a:cubicBezTo>
                <a:cubicBezTo>
                  <a:pt x="1051" y="205"/>
                  <a:pt x="1049" y="207"/>
                  <a:pt x="1049" y="209"/>
                </a:cubicBezTo>
                <a:cubicBezTo>
                  <a:pt x="1049" y="212"/>
                  <a:pt x="1051" y="214"/>
                  <a:pt x="1053" y="214"/>
                </a:cubicBezTo>
                <a:close/>
                <a:moveTo>
                  <a:pt x="1042" y="223"/>
                </a:moveTo>
                <a:cubicBezTo>
                  <a:pt x="1042" y="225"/>
                  <a:pt x="1044" y="227"/>
                  <a:pt x="1047" y="227"/>
                </a:cubicBezTo>
                <a:cubicBezTo>
                  <a:pt x="1049" y="227"/>
                  <a:pt x="1051" y="225"/>
                  <a:pt x="1051" y="223"/>
                </a:cubicBezTo>
                <a:cubicBezTo>
                  <a:pt x="1051" y="220"/>
                  <a:pt x="1049" y="218"/>
                  <a:pt x="1047" y="218"/>
                </a:cubicBezTo>
                <a:cubicBezTo>
                  <a:pt x="1044" y="218"/>
                  <a:pt x="1042" y="220"/>
                  <a:pt x="1042" y="223"/>
                </a:cubicBezTo>
                <a:close/>
                <a:moveTo>
                  <a:pt x="944" y="214"/>
                </a:moveTo>
                <a:cubicBezTo>
                  <a:pt x="947" y="214"/>
                  <a:pt x="949" y="212"/>
                  <a:pt x="949" y="209"/>
                </a:cubicBezTo>
                <a:cubicBezTo>
                  <a:pt x="949" y="207"/>
                  <a:pt x="947" y="205"/>
                  <a:pt x="944" y="205"/>
                </a:cubicBezTo>
                <a:cubicBezTo>
                  <a:pt x="942" y="205"/>
                  <a:pt x="940" y="207"/>
                  <a:pt x="940" y="209"/>
                </a:cubicBezTo>
                <a:cubicBezTo>
                  <a:pt x="940" y="212"/>
                  <a:pt x="942" y="214"/>
                  <a:pt x="944" y="214"/>
                </a:cubicBezTo>
                <a:close/>
                <a:moveTo>
                  <a:pt x="938" y="191"/>
                </a:moveTo>
                <a:cubicBezTo>
                  <a:pt x="935" y="191"/>
                  <a:pt x="933" y="193"/>
                  <a:pt x="933" y="196"/>
                </a:cubicBezTo>
                <a:cubicBezTo>
                  <a:pt x="933" y="198"/>
                  <a:pt x="935" y="200"/>
                  <a:pt x="938" y="200"/>
                </a:cubicBezTo>
                <a:cubicBezTo>
                  <a:pt x="940" y="200"/>
                  <a:pt x="942" y="198"/>
                  <a:pt x="942" y="196"/>
                </a:cubicBezTo>
                <a:cubicBezTo>
                  <a:pt x="942" y="193"/>
                  <a:pt x="940" y="191"/>
                  <a:pt x="938" y="191"/>
                </a:cubicBezTo>
                <a:close/>
                <a:moveTo>
                  <a:pt x="972" y="241"/>
                </a:moveTo>
                <a:cubicBezTo>
                  <a:pt x="974" y="241"/>
                  <a:pt x="976" y="239"/>
                  <a:pt x="976" y="237"/>
                </a:cubicBezTo>
                <a:cubicBezTo>
                  <a:pt x="976" y="234"/>
                  <a:pt x="974" y="232"/>
                  <a:pt x="972" y="232"/>
                </a:cubicBezTo>
                <a:cubicBezTo>
                  <a:pt x="969" y="232"/>
                  <a:pt x="967" y="234"/>
                  <a:pt x="967" y="237"/>
                </a:cubicBezTo>
                <a:cubicBezTo>
                  <a:pt x="967" y="239"/>
                  <a:pt x="969" y="241"/>
                  <a:pt x="972" y="241"/>
                </a:cubicBezTo>
                <a:close/>
                <a:moveTo>
                  <a:pt x="929" y="196"/>
                </a:moveTo>
                <a:cubicBezTo>
                  <a:pt x="929" y="193"/>
                  <a:pt x="926" y="191"/>
                  <a:pt x="924" y="191"/>
                </a:cubicBezTo>
                <a:cubicBezTo>
                  <a:pt x="921" y="191"/>
                  <a:pt x="919" y="193"/>
                  <a:pt x="919" y="196"/>
                </a:cubicBezTo>
                <a:cubicBezTo>
                  <a:pt x="919" y="198"/>
                  <a:pt x="921" y="200"/>
                  <a:pt x="924" y="200"/>
                </a:cubicBezTo>
                <a:cubicBezTo>
                  <a:pt x="926" y="200"/>
                  <a:pt x="929" y="198"/>
                  <a:pt x="929" y="196"/>
                </a:cubicBezTo>
                <a:close/>
                <a:moveTo>
                  <a:pt x="1026" y="177"/>
                </a:moveTo>
                <a:cubicBezTo>
                  <a:pt x="1024" y="177"/>
                  <a:pt x="1022" y="179"/>
                  <a:pt x="1022" y="182"/>
                </a:cubicBezTo>
                <a:cubicBezTo>
                  <a:pt x="1022" y="185"/>
                  <a:pt x="1024" y="187"/>
                  <a:pt x="1026" y="187"/>
                </a:cubicBezTo>
                <a:cubicBezTo>
                  <a:pt x="1029" y="187"/>
                  <a:pt x="1031" y="185"/>
                  <a:pt x="1031" y="182"/>
                </a:cubicBezTo>
                <a:cubicBezTo>
                  <a:pt x="1031" y="179"/>
                  <a:pt x="1029" y="177"/>
                  <a:pt x="1026" y="177"/>
                </a:cubicBezTo>
                <a:close/>
                <a:moveTo>
                  <a:pt x="988" y="168"/>
                </a:moveTo>
                <a:cubicBezTo>
                  <a:pt x="988" y="171"/>
                  <a:pt x="990" y="173"/>
                  <a:pt x="992" y="173"/>
                </a:cubicBezTo>
                <a:cubicBezTo>
                  <a:pt x="995" y="173"/>
                  <a:pt x="997" y="171"/>
                  <a:pt x="997" y="168"/>
                </a:cubicBezTo>
                <a:cubicBezTo>
                  <a:pt x="997" y="166"/>
                  <a:pt x="995" y="164"/>
                  <a:pt x="992" y="164"/>
                </a:cubicBezTo>
                <a:cubicBezTo>
                  <a:pt x="990" y="164"/>
                  <a:pt x="988" y="166"/>
                  <a:pt x="988" y="168"/>
                </a:cubicBezTo>
                <a:close/>
                <a:moveTo>
                  <a:pt x="985" y="150"/>
                </a:moveTo>
                <a:cubicBezTo>
                  <a:pt x="983" y="150"/>
                  <a:pt x="981" y="152"/>
                  <a:pt x="981" y="155"/>
                </a:cubicBezTo>
                <a:cubicBezTo>
                  <a:pt x="981" y="157"/>
                  <a:pt x="983" y="159"/>
                  <a:pt x="985" y="159"/>
                </a:cubicBezTo>
                <a:cubicBezTo>
                  <a:pt x="988" y="159"/>
                  <a:pt x="990" y="157"/>
                  <a:pt x="990" y="155"/>
                </a:cubicBezTo>
                <a:cubicBezTo>
                  <a:pt x="990" y="152"/>
                  <a:pt x="988" y="150"/>
                  <a:pt x="985" y="150"/>
                </a:cubicBezTo>
                <a:close/>
                <a:moveTo>
                  <a:pt x="1006" y="164"/>
                </a:moveTo>
                <a:cubicBezTo>
                  <a:pt x="1003" y="164"/>
                  <a:pt x="1001" y="166"/>
                  <a:pt x="1001" y="168"/>
                </a:cubicBezTo>
                <a:cubicBezTo>
                  <a:pt x="1001" y="171"/>
                  <a:pt x="1003" y="173"/>
                  <a:pt x="1006" y="173"/>
                </a:cubicBezTo>
                <a:cubicBezTo>
                  <a:pt x="1008" y="173"/>
                  <a:pt x="1010" y="171"/>
                  <a:pt x="1010" y="168"/>
                </a:cubicBezTo>
                <a:cubicBezTo>
                  <a:pt x="1010" y="166"/>
                  <a:pt x="1008" y="164"/>
                  <a:pt x="1006" y="164"/>
                </a:cubicBezTo>
                <a:close/>
                <a:moveTo>
                  <a:pt x="999" y="150"/>
                </a:moveTo>
                <a:cubicBezTo>
                  <a:pt x="996" y="150"/>
                  <a:pt x="994" y="152"/>
                  <a:pt x="994" y="155"/>
                </a:cubicBezTo>
                <a:cubicBezTo>
                  <a:pt x="994" y="157"/>
                  <a:pt x="996" y="159"/>
                  <a:pt x="999" y="159"/>
                </a:cubicBezTo>
                <a:cubicBezTo>
                  <a:pt x="1001" y="159"/>
                  <a:pt x="1003" y="157"/>
                  <a:pt x="1003" y="155"/>
                </a:cubicBezTo>
                <a:cubicBezTo>
                  <a:pt x="1003" y="152"/>
                  <a:pt x="1001" y="150"/>
                  <a:pt x="999" y="150"/>
                </a:cubicBezTo>
                <a:close/>
                <a:moveTo>
                  <a:pt x="967" y="155"/>
                </a:moveTo>
                <a:cubicBezTo>
                  <a:pt x="967" y="157"/>
                  <a:pt x="969" y="159"/>
                  <a:pt x="972" y="159"/>
                </a:cubicBezTo>
                <a:cubicBezTo>
                  <a:pt x="974" y="159"/>
                  <a:pt x="976" y="157"/>
                  <a:pt x="976" y="155"/>
                </a:cubicBezTo>
                <a:cubicBezTo>
                  <a:pt x="976" y="152"/>
                  <a:pt x="974" y="150"/>
                  <a:pt x="972" y="150"/>
                </a:cubicBezTo>
                <a:cubicBezTo>
                  <a:pt x="969" y="150"/>
                  <a:pt x="967" y="152"/>
                  <a:pt x="967" y="155"/>
                </a:cubicBezTo>
                <a:close/>
                <a:moveTo>
                  <a:pt x="978" y="137"/>
                </a:moveTo>
                <a:cubicBezTo>
                  <a:pt x="976" y="137"/>
                  <a:pt x="974" y="139"/>
                  <a:pt x="974" y="141"/>
                </a:cubicBezTo>
                <a:cubicBezTo>
                  <a:pt x="974" y="144"/>
                  <a:pt x="976" y="146"/>
                  <a:pt x="978" y="146"/>
                </a:cubicBezTo>
                <a:cubicBezTo>
                  <a:pt x="981" y="146"/>
                  <a:pt x="983" y="144"/>
                  <a:pt x="983" y="141"/>
                </a:cubicBezTo>
                <a:cubicBezTo>
                  <a:pt x="983" y="139"/>
                  <a:pt x="981" y="137"/>
                  <a:pt x="978" y="137"/>
                </a:cubicBezTo>
                <a:close/>
                <a:moveTo>
                  <a:pt x="1042" y="196"/>
                </a:moveTo>
                <a:cubicBezTo>
                  <a:pt x="1042" y="198"/>
                  <a:pt x="1044" y="200"/>
                  <a:pt x="1047" y="200"/>
                </a:cubicBezTo>
                <a:cubicBezTo>
                  <a:pt x="1049" y="200"/>
                  <a:pt x="1051" y="198"/>
                  <a:pt x="1051" y="196"/>
                </a:cubicBezTo>
                <a:cubicBezTo>
                  <a:pt x="1051" y="193"/>
                  <a:pt x="1049" y="191"/>
                  <a:pt x="1047" y="191"/>
                </a:cubicBezTo>
                <a:cubicBezTo>
                  <a:pt x="1044" y="191"/>
                  <a:pt x="1042" y="193"/>
                  <a:pt x="1042" y="196"/>
                </a:cubicBezTo>
                <a:close/>
                <a:moveTo>
                  <a:pt x="1013" y="177"/>
                </a:moveTo>
                <a:cubicBezTo>
                  <a:pt x="1010" y="177"/>
                  <a:pt x="1008" y="179"/>
                  <a:pt x="1008" y="182"/>
                </a:cubicBezTo>
                <a:cubicBezTo>
                  <a:pt x="1008" y="185"/>
                  <a:pt x="1010" y="187"/>
                  <a:pt x="1013" y="187"/>
                </a:cubicBezTo>
                <a:cubicBezTo>
                  <a:pt x="1015" y="187"/>
                  <a:pt x="1017" y="185"/>
                  <a:pt x="1017" y="182"/>
                </a:cubicBezTo>
                <a:cubicBezTo>
                  <a:pt x="1017" y="179"/>
                  <a:pt x="1015" y="177"/>
                  <a:pt x="1013" y="177"/>
                </a:cubicBezTo>
                <a:close/>
                <a:moveTo>
                  <a:pt x="1040" y="177"/>
                </a:moveTo>
                <a:cubicBezTo>
                  <a:pt x="1037" y="177"/>
                  <a:pt x="1035" y="179"/>
                  <a:pt x="1035" y="182"/>
                </a:cubicBezTo>
                <a:cubicBezTo>
                  <a:pt x="1035" y="185"/>
                  <a:pt x="1037" y="187"/>
                  <a:pt x="1040" y="187"/>
                </a:cubicBezTo>
                <a:cubicBezTo>
                  <a:pt x="1042" y="187"/>
                  <a:pt x="1044" y="185"/>
                  <a:pt x="1044" y="182"/>
                </a:cubicBezTo>
                <a:cubicBezTo>
                  <a:pt x="1044" y="179"/>
                  <a:pt x="1042" y="177"/>
                  <a:pt x="1040" y="177"/>
                </a:cubicBezTo>
                <a:close/>
                <a:moveTo>
                  <a:pt x="965" y="137"/>
                </a:moveTo>
                <a:cubicBezTo>
                  <a:pt x="962" y="137"/>
                  <a:pt x="960" y="139"/>
                  <a:pt x="960" y="141"/>
                </a:cubicBezTo>
                <a:cubicBezTo>
                  <a:pt x="960" y="144"/>
                  <a:pt x="962" y="146"/>
                  <a:pt x="965" y="146"/>
                </a:cubicBezTo>
                <a:cubicBezTo>
                  <a:pt x="967" y="146"/>
                  <a:pt x="969" y="144"/>
                  <a:pt x="969" y="141"/>
                </a:cubicBezTo>
                <a:cubicBezTo>
                  <a:pt x="969" y="139"/>
                  <a:pt x="967" y="137"/>
                  <a:pt x="965" y="137"/>
                </a:cubicBezTo>
                <a:close/>
                <a:moveTo>
                  <a:pt x="1028" y="196"/>
                </a:moveTo>
                <a:cubicBezTo>
                  <a:pt x="1028" y="198"/>
                  <a:pt x="1030" y="200"/>
                  <a:pt x="1033" y="200"/>
                </a:cubicBezTo>
                <a:cubicBezTo>
                  <a:pt x="1035" y="200"/>
                  <a:pt x="1037" y="198"/>
                  <a:pt x="1037" y="196"/>
                </a:cubicBezTo>
                <a:cubicBezTo>
                  <a:pt x="1037" y="193"/>
                  <a:pt x="1035" y="191"/>
                  <a:pt x="1033" y="191"/>
                </a:cubicBezTo>
                <a:cubicBezTo>
                  <a:pt x="1030" y="191"/>
                  <a:pt x="1028" y="193"/>
                  <a:pt x="1028" y="196"/>
                </a:cubicBezTo>
                <a:close/>
                <a:moveTo>
                  <a:pt x="883" y="282"/>
                </a:moveTo>
                <a:cubicBezTo>
                  <a:pt x="886" y="282"/>
                  <a:pt x="888" y="280"/>
                  <a:pt x="888" y="278"/>
                </a:cubicBezTo>
                <a:cubicBezTo>
                  <a:pt x="888" y="275"/>
                  <a:pt x="886" y="273"/>
                  <a:pt x="883" y="273"/>
                </a:cubicBezTo>
                <a:cubicBezTo>
                  <a:pt x="881" y="273"/>
                  <a:pt x="879" y="275"/>
                  <a:pt x="879" y="278"/>
                </a:cubicBezTo>
                <a:cubicBezTo>
                  <a:pt x="879" y="280"/>
                  <a:pt x="881" y="282"/>
                  <a:pt x="883" y="282"/>
                </a:cubicBezTo>
                <a:close/>
                <a:moveTo>
                  <a:pt x="1015" y="196"/>
                </a:moveTo>
                <a:cubicBezTo>
                  <a:pt x="1015" y="198"/>
                  <a:pt x="1017" y="200"/>
                  <a:pt x="1019" y="200"/>
                </a:cubicBezTo>
                <a:cubicBezTo>
                  <a:pt x="1022" y="200"/>
                  <a:pt x="1024" y="198"/>
                  <a:pt x="1024" y="196"/>
                </a:cubicBezTo>
                <a:cubicBezTo>
                  <a:pt x="1024" y="193"/>
                  <a:pt x="1022" y="191"/>
                  <a:pt x="1019" y="191"/>
                </a:cubicBezTo>
                <a:cubicBezTo>
                  <a:pt x="1017" y="191"/>
                  <a:pt x="1015" y="193"/>
                  <a:pt x="1015" y="196"/>
                </a:cubicBezTo>
                <a:close/>
                <a:moveTo>
                  <a:pt x="965" y="164"/>
                </a:moveTo>
                <a:cubicBezTo>
                  <a:pt x="962" y="164"/>
                  <a:pt x="960" y="166"/>
                  <a:pt x="960" y="168"/>
                </a:cubicBezTo>
                <a:cubicBezTo>
                  <a:pt x="960" y="171"/>
                  <a:pt x="962" y="173"/>
                  <a:pt x="965" y="173"/>
                </a:cubicBezTo>
                <a:cubicBezTo>
                  <a:pt x="967" y="173"/>
                  <a:pt x="969" y="171"/>
                  <a:pt x="969" y="168"/>
                </a:cubicBezTo>
                <a:cubicBezTo>
                  <a:pt x="969" y="166"/>
                  <a:pt x="967" y="164"/>
                  <a:pt x="965" y="164"/>
                </a:cubicBezTo>
                <a:close/>
                <a:moveTo>
                  <a:pt x="1053" y="177"/>
                </a:moveTo>
                <a:cubicBezTo>
                  <a:pt x="1051" y="177"/>
                  <a:pt x="1049" y="179"/>
                  <a:pt x="1049" y="182"/>
                </a:cubicBezTo>
                <a:cubicBezTo>
                  <a:pt x="1049" y="185"/>
                  <a:pt x="1051" y="187"/>
                  <a:pt x="1053" y="187"/>
                </a:cubicBezTo>
                <a:cubicBezTo>
                  <a:pt x="1056" y="187"/>
                  <a:pt x="1058" y="185"/>
                  <a:pt x="1058" y="182"/>
                </a:cubicBezTo>
                <a:cubicBezTo>
                  <a:pt x="1058" y="179"/>
                  <a:pt x="1056" y="177"/>
                  <a:pt x="1053" y="177"/>
                </a:cubicBezTo>
                <a:close/>
                <a:moveTo>
                  <a:pt x="906" y="196"/>
                </a:moveTo>
                <a:cubicBezTo>
                  <a:pt x="906" y="198"/>
                  <a:pt x="908" y="200"/>
                  <a:pt x="910" y="200"/>
                </a:cubicBezTo>
                <a:cubicBezTo>
                  <a:pt x="913" y="200"/>
                  <a:pt x="915" y="198"/>
                  <a:pt x="915" y="196"/>
                </a:cubicBezTo>
                <a:cubicBezTo>
                  <a:pt x="915" y="193"/>
                  <a:pt x="913" y="191"/>
                  <a:pt x="910" y="191"/>
                </a:cubicBezTo>
                <a:cubicBezTo>
                  <a:pt x="908" y="191"/>
                  <a:pt x="906" y="193"/>
                  <a:pt x="906" y="196"/>
                </a:cubicBezTo>
                <a:close/>
                <a:moveTo>
                  <a:pt x="904" y="177"/>
                </a:moveTo>
                <a:cubicBezTo>
                  <a:pt x="901" y="177"/>
                  <a:pt x="899" y="179"/>
                  <a:pt x="899" y="182"/>
                </a:cubicBezTo>
                <a:cubicBezTo>
                  <a:pt x="899" y="185"/>
                  <a:pt x="901" y="187"/>
                  <a:pt x="904" y="187"/>
                </a:cubicBezTo>
                <a:cubicBezTo>
                  <a:pt x="906" y="187"/>
                  <a:pt x="908" y="185"/>
                  <a:pt x="908" y="182"/>
                </a:cubicBezTo>
                <a:cubicBezTo>
                  <a:pt x="908" y="179"/>
                  <a:pt x="906" y="177"/>
                  <a:pt x="904" y="177"/>
                </a:cubicBezTo>
                <a:close/>
                <a:moveTo>
                  <a:pt x="892" y="196"/>
                </a:moveTo>
                <a:cubicBezTo>
                  <a:pt x="892" y="198"/>
                  <a:pt x="894" y="200"/>
                  <a:pt x="897" y="200"/>
                </a:cubicBezTo>
                <a:cubicBezTo>
                  <a:pt x="899" y="200"/>
                  <a:pt x="901" y="198"/>
                  <a:pt x="901" y="196"/>
                </a:cubicBezTo>
                <a:cubicBezTo>
                  <a:pt x="901" y="193"/>
                  <a:pt x="899" y="191"/>
                  <a:pt x="897" y="191"/>
                </a:cubicBezTo>
                <a:cubicBezTo>
                  <a:pt x="894" y="191"/>
                  <a:pt x="892" y="193"/>
                  <a:pt x="892" y="196"/>
                </a:cubicBezTo>
                <a:close/>
                <a:moveTo>
                  <a:pt x="954" y="155"/>
                </a:moveTo>
                <a:cubicBezTo>
                  <a:pt x="954" y="157"/>
                  <a:pt x="956" y="159"/>
                  <a:pt x="958" y="159"/>
                </a:cubicBezTo>
                <a:cubicBezTo>
                  <a:pt x="961" y="159"/>
                  <a:pt x="963" y="157"/>
                  <a:pt x="963" y="155"/>
                </a:cubicBezTo>
                <a:cubicBezTo>
                  <a:pt x="963" y="152"/>
                  <a:pt x="961" y="150"/>
                  <a:pt x="958" y="150"/>
                </a:cubicBezTo>
                <a:cubicBezTo>
                  <a:pt x="956" y="150"/>
                  <a:pt x="954" y="152"/>
                  <a:pt x="954" y="155"/>
                </a:cubicBezTo>
                <a:close/>
                <a:moveTo>
                  <a:pt x="883" y="255"/>
                </a:moveTo>
                <a:cubicBezTo>
                  <a:pt x="886" y="255"/>
                  <a:pt x="888" y="253"/>
                  <a:pt x="888" y="250"/>
                </a:cubicBezTo>
                <a:cubicBezTo>
                  <a:pt x="888" y="248"/>
                  <a:pt x="886" y="246"/>
                  <a:pt x="883" y="246"/>
                </a:cubicBezTo>
                <a:cubicBezTo>
                  <a:pt x="881" y="246"/>
                  <a:pt x="879" y="248"/>
                  <a:pt x="879" y="250"/>
                </a:cubicBezTo>
                <a:cubicBezTo>
                  <a:pt x="879" y="253"/>
                  <a:pt x="881" y="255"/>
                  <a:pt x="883" y="255"/>
                </a:cubicBezTo>
                <a:close/>
                <a:moveTo>
                  <a:pt x="879" y="223"/>
                </a:moveTo>
                <a:cubicBezTo>
                  <a:pt x="879" y="225"/>
                  <a:pt x="881" y="227"/>
                  <a:pt x="883" y="227"/>
                </a:cubicBezTo>
                <a:cubicBezTo>
                  <a:pt x="886" y="227"/>
                  <a:pt x="888" y="225"/>
                  <a:pt x="888" y="223"/>
                </a:cubicBezTo>
                <a:cubicBezTo>
                  <a:pt x="888" y="220"/>
                  <a:pt x="886" y="218"/>
                  <a:pt x="883" y="218"/>
                </a:cubicBezTo>
                <a:cubicBezTo>
                  <a:pt x="881" y="218"/>
                  <a:pt x="879" y="220"/>
                  <a:pt x="879" y="223"/>
                </a:cubicBezTo>
                <a:close/>
                <a:moveTo>
                  <a:pt x="938" y="137"/>
                </a:moveTo>
                <a:cubicBezTo>
                  <a:pt x="935" y="137"/>
                  <a:pt x="933" y="139"/>
                  <a:pt x="933" y="141"/>
                </a:cubicBezTo>
                <a:cubicBezTo>
                  <a:pt x="933" y="144"/>
                  <a:pt x="935" y="146"/>
                  <a:pt x="938" y="146"/>
                </a:cubicBezTo>
                <a:cubicBezTo>
                  <a:pt x="940" y="146"/>
                  <a:pt x="942" y="144"/>
                  <a:pt x="942" y="141"/>
                </a:cubicBezTo>
                <a:cubicBezTo>
                  <a:pt x="942" y="139"/>
                  <a:pt x="940" y="137"/>
                  <a:pt x="938" y="137"/>
                </a:cubicBezTo>
                <a:close/>
                <a:moveTo>
                  <a:pt x="940" y="155"/>
                </a:moveTo>
                <a:cubicBezTo>
                  <a:pt x="940" y="157"/>
                  <a:pt x="942" y="159"/>
                  <a:pt x="944" y="159"/>
                </a:cubicBezTo>
                <a:cubicBezTo>
                  <a:pt x="947" y="159"/>
                  <a:pt x="949" y="157"/>
                  <a:pt x="949" y="155"/>
                </a:cubicBezTo>
                <a:cubicBezTo>
                  <a:pt x="949" y="152"/>
                  <a:pt x="947" y="150"/>
                  <a:pt x="944" y="150"/>
                </a:cubicBezTo>
                <a:cubicBezTo>
                  <a:pt x="942" y="150"/>
                  <a:pt x="940" y="152"/>
                  <a:pt x="940" y="155"/>
                </a:cubicBezTo>
                <a:close/>
                <a:moveTo>
                  <a:pt x="913" y="182"/>
                </a:moveTo>
                <a:cubicBezTo>
                  <a:pt x="913" y="185"/>
                  <a:pt x="915" y="187"/>
                  <a:pt x="917" y="187"/>
                </a:cubicBezTo>
                <a:cubicBezTo>
                  <a:pt x="920" y="187"/>
                  <a:pt x="922" y="185"/>
                  <a:pt x="922" y="182"/>
                </a:cubicBezTo>
                <a:cubicBezTo>
                  <a:pt x="922" y="179"/>
                  <a:pt x="920" y="177"/>
                  <a:pt x="917" y="177"/>
                </a:cubicBezTo>
                <a:cubicBezTo>
                  <a:pt x="915" y="177"/>
                  <a:pt x="913" y="179"/>
                  <a:pt x="913" y="182"/>
                </a:cubicBezTo>
                <a:close/>
                <a:moveTo>
                  <a:pt x="951" y="137"/>
                </a:moveTo>
                <a:cubicBezTo>
                  <a:pt x="949" y="137"/>
                  <a:pt x="947" y="139"/>
                  <a:pt x="947" y="141"/>
                </a:cubicBezTo>
                <a:cubicBezTo>
                  <a:pt x="947" y="144"/>
                  <a:pt x="949" y="146"/>
                  <a:pt x="951" y="146"/>
                </a:cubicBezTo>
                <a:cubicBezTo>
                  <a:pt x="954" y="146"/>
                  <a:pt x="956" y="144"/>
                  <a:pt x="956" y="141"/>
                </a:cubicBezTo>
                <a:cubicBezTo>
                  <a:pt x="956" y="139"/>
                  <a:pt x="954" y="137"/>
                  <a:pt x="951" y="137"/>
                </a:cubicBezTo>
                <a:close/>
                <a:moveTo>
                  <a:pt x="919" y="168"/>
                </a:moveTo>
                <a:cubicBezTo>
                  <a:pt x="919" y="171"/>
                  <a:pt x="921" y="173"/>
                  <a:pt x="924" y="173"/>
                </a:cubicBezTo>
                <a:cubicBezTo>
                  <a:pt x="926" y="173"/>
                  <a:pt x="929" y="171"/>
                  <a:pt x="929" y="168"/>
                </a:cubicBezTo>
                <a:cubicBezTo>
                  <a:pt x="929" y="166"/>
                  <a:pt x="926" y="164"/>
                  <a:pt x="924" y="164"/>
                </a:cubicBezTo>
                <a:cubicBezTo>
                  <a:pt x="921" y="164"/>
                  <a:pt x="919" y="166"/>
                  <a:pt x="919" y="168"/>
                </a:cubicBezTo>
                <a:close/>
                <a:moveTo>
                  <a:pt x="926" y="155"/>
                </a:moveTo>
                <a:cubicBezTo>
                  <a:pt x="926" y="157"/>
                  <a:pt x="928" y="159"/>
                  <a:pt x="931" y="159"/>
                </a:cubicBezTo>
                <a:cubicBezTo>
                  <a:pt x="933" y="159"/>
                  <a:pt x="935" y="157"/>
                  <a:pt x="935" y="155"/>
                </a:cubicBezTo>
                <a:cubicBezTo>
                  <a:pt x="935" y="152"/>
                  <a:pt x="933" y="150"/>
                  <a:pt x="931" y="150"/>
                </a:cubicBezTo>
                <a:cubicBezTo>
                  <a:pt x="928" y="150"/>
                  <a:pt x="926" y="152"/>
                  <a:pt x="926" y="155"/>
                </a:cubicBezTo>
                <a:close/>
                <a:moveTo>
                  <a:pt x="885" y="209"/>
                </a:moveTo>
                <a:cubicBezTo>
                  <a:pt x="885" y="212"/>
                  <a:pt x="887" y="214"/>
                  <a:pt x="890" y="214"/>
                </a:cubicBezTo>
                <a:cubicBezTo>
                  <a:pt x="892" y="214"/>
                  <a:pt x="894" y="212"/>
                  <a:pt x="894" y="209"/>
                </a:cubicBezTo>
                <a:cubicBezTo>
                  <a:pt x="894" y="207"/>
                  <a:pt x="892" y="205"/>
                  <a:pt x="890" y="205"/>
                </a:cubicBezTo>
                <a:cubicBezTo>
                  <a:pt x="887" y="205"/>
                  <a:pt x="885" y="207"/>
                  <a:pt x="885" y="209"/>
                </a:cubicBezTo>
                <a:close/>
                <a:moveTo>
                  <a:pt x="938" y="227"/>
                </a:moveTo>
                <a:cubicBezTo>
                  <a:pt x="940" y="227"/>
                  <a:pt x="942" y="225"/>
                  <a:pt x="942" y="223"/>
                </a:cubicBezTo>
                <a:cubicBezTo>
                  <a:pt x="942" y="220"/>
                  <a:pt x="940" y="218"/>
                  <a:pt x="938" y="218"/>
                </a:cubicBezTo>
                <a:cubicBezTo>
                  <a:pt x="935" y="218"/>
                  <a:pt x="933" y="220"/>
                  <a:pt x="933" y="223"/>
                </a:cubicBezTo>
                <a:cubicBezTo>
                  <a:pt x="933" y="225"/>
                  <a:pt x="935" y="227"/>
                  <a:pt x="938" y="227"/>
                </a:cubicBezTo>
                <a:close/>
                <a:moveTo>
                  <a:pt x="958" y="268"/>
                </a:moveTo>
                <a:cubicBezTo>
                  <a:pt x="961" y="268"/>
                  <a:pt x="963" y="266"/>
                  <a:pt x="963" y="264"/>
                </a:cubicBezTo>
                <a:cubicBezTo>
                  <a:pt x="963" y="261"/>
                  <a:pt x="961" y="259"/>
                  <a:pt x="958" y="259"/>
                </a:cubicBezTo>
                <a:cubicBezTo>
                  <a:pt x="956" y="259"/>
                  <a:pt x="954" y="261"/>
                  <a:pt x="954" y="264"/>
                </a:cubicBezTo>
                <a:cubicBezTo>
                  <a:pt x="954" y="266"/>
                  <a:pt x="956" y="268"/>
                  <a:pt x="958" y="268"/>
                </a:cubicBezTo>
                <a:close/>
                <a:moveTo>
                  <a:pt x="944" y="241"/>
                </a:moveTo>
                <a:cubicBezTo>
                  <a:pt x="947" y="241"/>
                  <a:pt x="949" y="239"/>
                  <a:pt x="949" y="237"/>
                </a:cubicBezTo>
                <a:cubicBezTo>
                  <a:pt x="949" y="234"/>
                  <a:pt x="947" y="232"/>
                  <a:pt x="944" y="232"/>
                </a:cubicBezTo>
                <a:cubicBezTo>
                  <a:pt x="942" y="232"/>
                  <a:pt x="940" y="234"/>
                  <a:pt x="940" y="237"/>
                </a:cubicBezTo>
                <a:cubicBezTo>
                  <a:pt x="940" y="239"/>
                  <a:pt x="942" y="241"/>
                  <a:pt x="944" y="241"/>
                </a:cubicBezTo>
                <a:close/>
                <a:moveTo>
                  <a:pt x="951" y="255"/>
                </a:moveTo>
                <a:cubicBezTo>
                  <a:pt x="954" y="255"/>
                  <a:pt x="956" y="253"/>
                  <a:pt x="956" y="250"/>
                </a:cubicBezTo>
                <a:cubicBezTo>
                  <a:pt x="956" y="248"/>
                  <a:pt x="954" y="246"/>
                  <a:pt x="951" y="246"/>
                </a:cubicBezTo>
                <a:cubicBezTo>
                  <a:pt x="949" y="246"/>
                  <a:pt x="947" y="248"/>
                  <a:pt x="947" y="250"/>
                </a:cubicBezTo>
                <a:cubicBezTo>
                  <a:pt x="947" y="253"/>
                  <a:pt x="949" y="255"/>
                  <a:pt x="951" y="255"/>
                </a:cubicBezTo>
                <a:close/>
                <a:moveTo>
                  <a:pt x="965" y="282"/>
                </a:moveTo>
                <a:cubicBezTo>
                  <a:pt x="967" y="282"/>
                  <a:pt x="969" y="280"/>
                  <a:pt x="969" y="278"/>
                </a:cubicBezTo>
                <a:cubicBezTo>
                  <a:pt x="969" y="275"/>
                  <a:pt x="967" y="273"/>
                  <a:pt x="965" y="273"/>
                </a:cubicBezTo>
                <a:cubicBezTo>
                  <a:pt x="962" y="273"/>
                  <a:pt x="960" y="275"/>
                  <a:pt x="960" y="278"/>
                </a:cubicBezTo>
                <a:cubicBezTo>
                  <a:pt x="960" y="280"/>
                  <a:pt x="962" y="282"/>
                  <a:pt x="965" y="282"/>
                </a:cubicBezTo>
                <a:close/>
                <a:moveTo>
                  <a:pt x="972" y="296"/>
                </a:moveTo>
                <a:cubicBezTo>
                  <a:pt x="974" y="296"/>
                  <a:pt x="976" y="294"/>
                  <a:pt x="976" y="291"/>
                </a:cubicBezTo>
                <a:cubicBezTo>
                  <a:pt x="976" y="289"/>
                  <a:pt x="974" y="287"/>
                  <a:pt x="972" y="287"/>
                </a:cubicBezTo>
                <a:cubicBezTo>
                  <a:pt x="969" y="287"/>
                  <a:pt x="967" y="289"/>
                  <a:pt x="967" y="291"/>
                </a:cubicBezTo>
                <a:cubicBezTo>
                  <a:pt x="967" y="294"/>
                  <a:pt x="969" y="296"/>
                  <a:pt x="972" y="296"/>
                </a:cubicBezTo>
                <a:close/>
                <a:moveTo>
                  <a:pt x="931" y="214"/>
                </a:moveTo>
                <a:cubicBezTo>
                  <a:pt x="933" y="214"/>
                  <a:pt x="935" y="212"/>
                  <a:pt x="935" y="209"/>
                </a:cubicBezTo>
                <a:cubicBezTo>
                  <a:pt x="935" y="207"/>
                  <a:pt x="933" y="205"/>
                  <a:pt x="931" y="205"/>
                </a:cubicBezTo>
                <a:cubicBezTo>
                  <a:pt x="928" y="205"/>
                  <a:pt x="926" y="207"/>
                  <a:pt x="926" y="209"/>
                </a:cubicBezTo>
                <a:cubicBezTo>
                  <a:pt x="926" y="212"/>
                  <a:pt x="928" y="214"/>
                  <a:pt x="931" y="214"/>
                </a:cubicBezTo>
                <a:close/>
                <a:moveTo>
                  <a:pt x="940" y="182"/>
                </a:moveTo>
                <a:cubicBezTo>
                  <a:pt x="940" y="185"/>
                  <a:pt x="942" y="187"/>
                  <a:pt x="944" y="187"/>
                </a:cubicBezTo>
                <a:cubicBezTo>
                  <a:pt x="947" y="187"/>
                  <a:pt x="949" y="185"/>
                  <a:pt x="949" y="182"/>
                </a:cubicBezTo>
                <a:cubicBezTo>
                  <a:pt x="949" y="179"/>
                  <a:pt x="947" y="177"/>
                  <a:pt x="944" y="177"/>
                </a:cubicBezTo>
                <a:cubicBezTo>
                  <a:pt x="942" y="177"/>
                  <a:pt x="940" y="179"/>
                  <a:pt x="940" y="182"/>
                </a:cubicBezTo>
                <a:close/>
                <a:moveTo>
                  <a:pt x="951" y="164"/>
                </a:moveTo>
                <a:cubicBezTo>
                  <a:pt x="949" y="164"/>
                  <a:pt x="947" y="166"/>
                  <a:pt x="947" y="168"/>
                </a:cubicBezTo>
                <a:cubicBezTo>
                  <a:pt x="947" y="171"/>
                  <a:pt x="949" y="173"/>
                  <a:pt x="951" y="173"/>
                </a:cubicBezTo>
                <a:cubicBezTo>
                  <a:pt x="954" y="173"/>
                  <a:pt x="956" y="171"/>
                  <a:pt x="956" y="168"/>
                </a:cubicBezTo>
                <a:cubicBezTo>
                  <a:pt x="956" y="166"/>
                  <a:pt x="954" y="164"/>
                  <a:pt x="951" y="164"/>
                </a:cubicBezTo>
                <a:close/>
                <a:moveTo>
                  <a:pt x="954" y="182"/>
                </a:moveTo>
                <a:cubicBezTo>
                  <a:pt x="954" y="185"/>
                  <a:pt x="956" y="187"/>
                  <a:pt x="958" y="187"/>
                </a:cubicBezTo>
                <a:cubicBezTo>
                  <a:pt x="961" y="187"/>
                  <a:pt x="963" y="185"/>
                  <a:pt x="963" y="182"/>
                </a:cubicBezTo>
                <a:cubicBezTo>
                  <a:pt x="963" y="179"/>
                  <a:pt x="961" y="177"/>
                  <a:pt x="958" y="177"/>
                </a:cubicBezTo>
                <a:cubicBezTo>
                  <a:pt x="956" y="177"/>
                  <a:pt x="954" y="179"/>
                  <a:pt x="954" y="182"/>
                </a:cubicBezTo>
                <a:close/>
                <a:moveTo>
                  <a:pt x="926" y="182"/>
                </a:moveTo>
                <a:cubicBezTo>
                  <a:pt x="926" y="185"/>
                  <a:pt x="928" y="187"/>
                  <a:pt x="931" y="187"/>
                </a:cubicBezTo>
                <a:cubicBezTo>
                  <a:pt x="933" y="187"/>
                  <a:pt x="935" y="185"/>
                  <a:pt x="935" y="182"/>
                </a:cubicBezTo>
                <a:cubicBezTo>
                  <a:pt x="935" y="179"/>
                  <a:pt x="933" y="177"/>
                  <a:pt x="931" y="177"/>
                </a:cubicBezTo>
                <a:cubicBezTo>
                  <a:pt x="928" y="177"/>
                  <a:pt x="926" y="179"/>
                  <a:pt x="926" y="182"/>
                </a:cubicBezTo>
                <a:close/>
                <a:moveTo>
                  <a:pt x="938" y="164"/>
                </a:moveTo>
                <a:cubicBezTo>
                  <a:pt x="935" y="164"/>
                  <a:pt x="933" y="166"/>
                  <a:pt x="933" y="168"/>
                </a:cubicBezTo>
                <a:cubicBezTo>
                  <a:pt x="933" y="171"/>
                  <a:pt x="935" y="173"/>
                  <a:pt x="938" y="173"/>
                </a:cubicBezTo>
                <a:cubicBezTo>
                  <a:pt x="940" y="173"/>
                  <a:pt x="942" y="171"/>
                  <a:pt x="942" y="168"/>
                </a:cubicBezTo>
                <a:cubicBezTo>
                  <a:pt x="942" y="166"/>
                  <a:pt x="940" y="164"/>
                  <a:pt x="938" y="164"/>
                </a:cubicBezTo>
                <a:close/>
                <a:moveTo>
                  <a:pt x="978" y="309"/>
                </a:moveTo>
                <a:cubicBezTo>
                  <a:pt x="981" y="309"/>
                  <a:pt x="983" y="307"/>
                  <a:pt x="983" y="305"/>
                </a:cubicBezTo>
                <a:cubicBezTo>
                  <a:pt x="983" y="302"/>
                  <a:pt x="981" y="300"/>
                  <a:pt x="978" y="300"/>
                </a:cubicBezTo>
                <a:cubicBezTo>
                  <a:pt x="976" y="300"/>
                  <a:pt x="974" y="302"/>
                  <a:pt x="974" y="305"/>
                </a:cubicBezTo>
                <a:cubicBezTo>
                  <a:pt x="974" y="307"/>
                  <a:pt x="976" y="309"/>
                  <a:pt x="978" y="309"/>
                </a:cubicBezTo>
                <a:close/>
                <a:moveTo>
                  <a:pt x="1037" y="278"/>
                </a:moveTo>
                <a:cubicBezTo>
                  <a:pt x="1037" y="275"/>
                  <a:pt x="1035" y="273"/>
                  <a:pt x="1033" y="273"/>
                </a:cubicBezTo>
                <a:cubicBezTo>
                  <a:pt x="1030" y="273"/>
                  <a:pt x="1028" y="275"/>
                  <a:pt x="1028" y="278"/>
                </a:cubicBezTo>
                <a:cubicBezTo>
                  <a:pt x="1028" y="280"/>
                  <a:pt x="1030" y="282"/>
                  <a:pt x="1033" y="282"/>
                </a:cubicBezTo>
                <a:cubicBezTo>
                  <a:pt x="1035" y="282"/>
                  <a:pt x="1037" y="280"/>
                  <a:pt x="1037" y="278"/>
                </a:cubicBezTo>
                <a:close/>
                <a:moveTo>
                  <a:pt x="1053" y="268"/>
                </a:moveTo>
                <a:cubicBezTo>
                  <a:pt x="1056" y="268"/>
                  <a:pt x="1058" y="266"/>
                  <a:pt x="1058" y="264"/>
                </a:cubicBezTo>
                <a:cubicBezTo>
                  <a:pt x="1058" y="261"/>
                  <a:pt x="1056" y="259"/>
                  <a:pt x="1053" y="259"/>
                </a:cubicBezTo>
                <a:cubicBezTo>
                  <a:pt x="1051" y="259"/>
                  <a:pt x="1049" y="261"/>
                  <a:pt x="1049" y="264"/>
                </a:cubicBezTo>
                <a:cubicBezTo>
                  <a:pt x="1049" y="266"/>
                  <a:pt x="1051" y="268"/>
                  <a:pt x="1053" y="268"/>
                </a:cubicBezTo>
                <a:close/>
                <a:moveTo>
                  <a:pt x="1051" y="250"/>
                </a:moveTo>
                <a:cubicBezTo>
                  <a:pt x="1051" y="248"/>
                  <a:pt x="1049" y="246"/>
                  <a:pt x="1047" y="246"/>
                </a:cubicBezTo>
                <a:cubicBezTo>
                  <a:pt x="1044" y="246"/>
                  <a:pt x="1042" y="248"/>
                  <a:pt x="1042" y="250"/>
                </a:cubicBezTo>
                <a:cubicBezTo>
                  <a:pt x="1042" y="253"/>
                  <a:pt x="1044" y="255"/>
                  <a:pt x="1047" y="255"/>
                </a:cubicBezTo>
                <a:cubicBezTo>
                  <a:pt x="1049" y="255"/>
                  <a:pt x="1051" y="253"/>
                  <a:pt x="1051" y="250"/>
                </a:cubicBezTo>
                <a:close/>
                <a:moveTo>
                  <a:pt x="1044" y="264"/>
                </a:moveTo>
                <a:cubicBezTo>
                  <a:pt x="1044" y="261"/>
                  <a:pt x="1042" y="259"/>
                  <a:pt x="1040" y="259"/>
                </a:cubicBezTo>
                <a:cubicBezTo>
                  <a:pt x="1037" y="259"/>
                  <a:pt x="1035" y="261"/>
                  <a:pt x="1035" y="264"/>
                </a:cubicBezTo>
                <a:cubicBezTo>
                  <a:pt x="1035" y="266"/>
                  <a:pt x="1037" y="268"/>
                  <a:pt x="1040" y="268"/>
                </a:cubicBezTo>
                <a:cubicBezTo>
                  <a:pt x="1042" y="268"/>
                  <a:pt x="1044" y="266"/>
                  <a:pt x="1044" y="264"/>
                </a:cubicBezTo>
                <a:close/>
                <a:moveTo>
                  <a:pt x="1058" y="237"/>
                </a:moveTo>
                <a:cubicBezTo>
                  <a:pt x="1058" y="234"/>
                  <a:pt x="1056" y="232"/>
                  <a:pt x="1053" y="232"/>
                </a:cubicBezTo>
                <a:cubicBezTo>
                  <a:pt x="1051" y="232"/>
                  <a:pt x="1049" y="234"/>
                  <a:pt x="1049" y="237"/>
                </a:cubicBezTo>
                <a:cubicBezTo>
                  <a:pt x="1049" y="239"/>
                  <a:pt x="1051" y="241"/>
                  <a:pt x="1053" y="241"/>
                </a:cubicBezTo>
                <a:cubicBezTo>
                  <a:pt x="1056" y="241"/>
                  <a:pt x="1058" y="239"/>
                  <a:pt x="1058" y="237"/>
                </a:cubicBezTo>
                <a:close/>
                <a:moveTo>
                  <a:pt x="1060" y="191"/>
                </a:moveTo>
                <a:cubicBezTo>
                  <a:pt x="1058" y="191"/>
                  <a:pt x="1056" y="193"/>
                  <a:pt x="1056" y="196"/>
                </a:cubicBezTo>
                <a:cubicBezTo>
                  <a:pt x="1056" y="198"/>
                  <a:pt x="1058" y="200"/>
                  <a:pt x="1060" y="200"/>
                </a:cubicBezTo>
                <a:cubicBezTo>
                  <a:pt x="1063" y="200"/>
                  <a:pt x="1065" y="198"/>
                  <a:pt x="1065" y="196"/>
                </a:cubicBezTo>
                <a:cubicBezTo>
                  <a:pt x="1065" y="193"/>
                  <a:pt x="1063" y="191"/>
                  <a:pt x="1060" y="191"/>
                </a:cubicBezTo>
                <a:close/>
                <a:moveTo>
                  <a:pt x="1065" y="223"/>
                </a:moveTo>
                <a:cubicBezTo>
                  <a:pt x="1065" y="220"/>
                  <a:pt x="1063" y="218"/>
                  <a:pt x="1060" y="218"/>
                </a:cubicBezTo>
                <a:cubicBezTo>
                  <a:pt x="1058" y="218"/>
                  <a:pt x="1056" y="220"/>
                  <a:pt x="1056" y="223"/>
                </a:cubicBezTo>
                <a:cubicBezTo>
                  <a:pt x="1056" y="225"/>
                  <a:pt x="1058" y="227"/>
                  <a:pt x="1060" y="227"/>
                </a:cubicBezTo>
                <a:cubicBezTo>
                  <a:pt x="1063" y="227"/>
                  <a:pt x="1065" y="225"/>
                  <a:pt x="1065" y="223"/>
                </a:cubicBezTo>
                <a:close/>
                <a:moveTo>
                  <a:pt x="1013" y="268"/>
                </a:moveTo>
                <a:cubicBezTo>
                  <a:pt x="1015" y="268"/>
                  <a:pt x="1017" y="266"/>
                  <a:pt x="1017" y="264"/>
                </a:cubicBezTo>
                <a:cubicBezTo>
                  <a:pt x="1017" y="261"/>
                  <a:pt x="1015" y="259"/>
                  <a:pt x="1013" y="259"/>
                </a:cubicBezTo>
                <a:cubicBezTo>
                  <a:pt x="1010" y="259"/>
                  <a:pt x="1008" y="261"/>
                  <a:pt x="1008" y="264"/>
                </a:cubicBezTo>
                <a:cubicBezTo>
                  <a:pt x="1008" y="266"/>
                  <a:pt x="1010" y="268"/>
                  <a:pt x="1013" y="268"/>
                </a:cubicBezTo>
                <a:close/>
                <a:moveTo>
                  <a:pt x="1003" y="264"/>
                </a:moveTo>
                <a:cubicBezTo>
                  <a:pt x="1003" y="261"/>
                  <a:pt x="1001" y="259"/>
                  <a:pt x="999" y="259"/>
                </a:cubicBezTo>
                <a:cubicBezTo>
                  <a:pt x="996" y="259"/>
                  <a:pt x="994" y="261"/>
                  <a:pt x="994" y="264"/>
                </a:cubicBezTo>
                <a:cubicBezTo>
                  <a:pt x="994" y="266"/>
                  <a:pt x="996" y="268"/>
                  <a:pt x="999" y="268"/>
                </a:cubicBezTo>
                <a:cubicBezTo>
                  <a:pt x="1001" y="268"/>
                  <a:pt x="1003" y="266"/>
                  <a:pt x="1003" y="264"/>
                </a:cubicBezTo>
                <a:close/>
                <a:moveTo>
                  <a:pt x="1010" y="250"/>
                </a:moveTo>
                <a:cubicBezTo>
                  <a:pt x="1010" y="248"/>
                  <a:pt x="1008" y="246"/>
                  <a:pt x="1006" y="246"/>
                </a:cubicBezTo>
                <a:cubicBezTo>
                  <a:pt x="1003" y="246"/>
                  <a:pt x="1001" y="248"/>
                  <a:pt x="1001" y="250"/>
                </a:cubicBezTo>
                <a:cubicBezTo>
                  <a:pt x="1001" y="253"/>
                  <a:pt x="1003" y="255"/>
                  <a:pt x="1006" y="255"/>
                </a:cubicBezTo>
                <a:cubicBezTo>
                  <a:pt x="1008" y="255"/>
                  <a:pt x="1010" y="253"/>
                  <a:pt x="1010" y="250"/>
                </a:cubicBezTo>
                <a:close/>
                <a:moveTo>
                  <a:pt x="997" y="278"/>
                </a:moveTo>
                <a:cubicBezTo>
                  <a:pt x="997" y="275"/>
                  <a:pt x="995" y="273"/>
                  <a:pt x="992" y="273"/>
                </a:cubicBezTo>
                <a:cubicBezTo>
                  <a:pt x="990" y="273"/>
                  <a:pt x="988" y="275"/>
                  <a:pt x="988" y="278"/>
                </a:cubicBezTo>
                <a:cubicBezTo>
                  <a:pt x="988" y="280"/>
                  <a:pt x="990" y="282"/>
                  <a:pt x="992" y="282"/>
                </a:cubicBezTo>
                <a:cubicBezTo>
                  <a:pt x="995" y="282"/>
                  <a:pt x="997" y="280"/>
                  <a:pt x="997" y="278"/>
                </a:cubicBezTo>
                <a:close/>
                <a:moveTo>
                  <a:pt x="1026" y="296"/>
                </a:moveTo>
                <a:cubicBezTo>
                  <a:pt x="1029" y="296"/>
                  <a:pt x="1031" y="294"/>
                  <a:pt x="1031" y="291"/>
                </a:cubicBezTo>
                <a:cubicBezTo>
                  <a:pt x="1031" y="289"/>
                  <a:pt x="1029" y="287"/>
                  <a:pt x="1026" y="287"/>
                </a:cubicBezTo>
                <a:cubicBezTo>
                  <a:pt x="1024" y="287"/>
                  <a:pt x="1022" y="289"/>
                  <a:pt x="1022" y="291"/>
                </a:cubicBezTo>
                <a:cubicBezTo>
                  <a:pt x="1022" y="294"/>
                  <a:pt x="1024" y="296"/>
                  <a:pt x="1026" y="296"/>
                </a:cubicBezTo>
                <a:close/>
                <a:moveTo>
                  <a:pt x="990" y="291"/>
                </a:moveTo>
                <a:cubicBezTo>
                  <a:pt x="990" y="289"/>
                  <a:pt x="988" y="287"/>
                  <a:pt x="985" y="287"/>
                </a:cubicBezTo>
                <a:cubicBezTo>
                  <a:pt x="983" y="287"/>
                  <a:pt x="981" y="289"/>
                  <a:pt x="981" y="291"/>
                </a:cubicBezTo>
                <a:cubicBezTo>
                  <a:pt x="981" y="294"/>
                  <a:pt x="983" y="296"/>
                  <a:pt x="985" y="296"/>
                </a:cubicBezTo>
                <a:cubicBezTo>
                  <a:pt x="988" y="296"/>
                  <a:pt x="990" y="294"/>
                  <a:pt x="990" y="291"/>
                </a:cubicBezTo>
                <a:close/>
                <a:moveTo>
                  <a:pt x="1019" y="282"/>
                </a:moveTo>
                <a:cubicBezTo>
                  <a:pt x="1022" y="282"/>
                  <a:pt x="1024" y="280"/>
                  <a:pt x="1024" y="278"/>
                </a:cubicBezTo>
                <a:cubicBezTo>
                  <a:pt x="1024" y="275"/>
                  <a:pt x="1022" y="273"/>
                  <a:pt x="1019" y="273"/>
                </a:cubicBezTo>
                <a:cubicBezTo>
                  <a:pt x="1017" y="273"/>
                  <a:pt x="1015" y="275"/>
                  <a:pt x="1015" y="278"/>
                </a:cubicBezTo>
                <a:cubicBezTo>
                  <a:pt x="1015" y="280"/>
                  <a:pt x="1017" y="282"/>
                  <a:pt x="1019" y="282"/>
                </a:cubicBezTo>
                <a:close/>
                <a:moveTo>
                  <a:pt x="1074" y="91"/>
                </a:moveTo>
                <a:cubicBezTo>
                  <a:pt x="1076" y="91"/>
                  <a:pt x="1078" y="89"/>
                  <a:pt x="1078" y="87"/>
                </a:cubicBezTo>
                <a:cubicBezTo>
                  <a:pt x="1078" y="84"/>
                  <a:pt x="1076" y="82"/>
                  <a:pt x="1074" y="82"/>
                </a:cubicBezTo>
                <a:cubicBezTo>
                  <a:pt x="1071" y="82"/>
                  <a:pt x="1069" y="84"/>
                  <a:pt x="1069" y="87"/>
                </a:cubicBezTo>
                <a:cubicBezTo>
                  <a:pt x="1069" y="89"/>
                  <a:pt x="1071" y="91"/>
                  <a:pt x="1074" y="91"/>
                </a:cubicBezTo>
                <a:close/>
                <a:moveTo>
                  <a:pt x="472" y="100"/>
                </a:moveTo>
                <a:cubicBezTo>
                  <a:pt x="472" y="98"/>
                  <a:pt x="470" y="96"/>
                  <a:pt x="468" y="96"/>
                </a:cubicBezTo>
                <a:cubicBezTo>
                  <a:pt x="465" y="96"/>
                  <a:pt x="463" y="98"/>
                  <a:pt x="463" y="100"/>
                </a:cubicBezTo>
                <a:cubicBezTo>
                  <a:pt x="463" y="103"/>
                  <a:pt x="465" y="105"/>
                  <a:pt x="468" y="105"/>
                </a:cubicBezTo>
                <a:cubicBezTo>
                  <a:pt x="470" y="105"/>
                  <a:pt x="472" y="103"/>
                  <a:pt x="472" y="100"/>
                </a:cubicBezTo>
                <a:close/>
                <a:moveTo>
                  <a:pt x="479" y="87"/>
                </a:moveTo>
                <a:cubicBezTo>
                  <a:pt x="479" y="84"/>
                  <a:pt x="477" y="82"/>
                  <a:pt x="475" y="82"/>
                </a:cubicBezTo>
                <a:cubicBezTo>
                  <a:pt x="472" y="82"/>
                  <a:pt x="470" y="84"/>
                  <a:pt x="470" y="87"/>
                </a:cubicBezTo>
                <a:cubicBezTo>
                  <a:pt x="470" y="89"/>
                  <a:pt x="472" y="91"/>
                  <a:pt x="475" y="91"/>
                </a:cubicBezTo>
                <a:cubicBezTo>
                  <a:pt x="477" y="91"/>
                  <a:pt x="479" y="89"/>
                  <a:pt x="479" y="87"/>
                </a:cubicBezTo>
                <a:close/>
                <a:moveTo>
                  <a:pt x="506" y="59"/>
                </a:moveTo>
                <a:cubicBezTo>
                  <a:pt x="506" y="57"/>
                  <a:pt x="504" y="55"/>
                  <a:pt x="502" y="55"/>
                </a:cubicBezTo>
                <a:cubicBezTo>
                  <a:pt x="499" y="55"/>
                  <a:pt x="497" y="57"/>
                  <a:pt x="497" y="59"/>
                </a:cubicBezTo>
                <a:cubicBezTo>
                  <a:pt x="497" y="62"/>
                  <a:pt x="499" y="64"/>
                  <a:pt x="502" y="64"/>
                </a:cubicBezTo>
                <a:cubicBezTo>
                  <a:pt x="504" y="64"/>
                  <a:pt x="506" y="62"/>
                  <a:pt x="506" y="59"/>
                </a:cubicBezTo>
                <a:close/>
                <a:moveTo>
                  <a:pt x="495" y="77"/>
                </a:moveTo>
                <a:cubicBezTo>
                  <a:pt x="497" y="77"/>
                  <a:pt x="500" y="75"/>
                  <a:pt x="500" y="73"/>
                </a:cubicBezTo>
                <a:cubicBezTo>
                  <a:pt x="500" y="70"/>
                  <a:pt x="497" y="68"/>
                  <a:pt x="495" y="68"/>
                </a:cubicBezTo>
                <a:cubicBezTo>
                  <a:pt x="492" y="68"/>
                  <a:pt x="490" y="70"/>
                  <a:pt x="490" y="73"/>
                </a:cubicBezTo>
                <a:cubicBezTo>
                  <a:pt x="490" y="75"/>
                  <a:pt x="492" y="77"/>
                  <a:pt x="495" y="77"/>
                </a:cubicBezTo>
                <a:close/>
                <a:moveTo>
                  <a:pt x="465" y="496"/>
                </a:moveTo>
                <a:cubicBezTo>
                  <a:pt x="465" y="493"/>
                  <a:pt x="463" y="491"/>
                  <a:pt x="461" y="491"/>
                </a:cubicBezTo>
                <a:cubicBezTo>
                  <a:pt x="458" y="491"/>
                  <a:pt x="456" y="493"/>
                  <a:pt x="456" y="496"/>
                </a:cubicBezTo>
                <a:cubicBezTo>
                  <a:pt x="456" y="498"/>
                  <a:pt x="458" y="500"/>
                  <a:pt x="461" y="500"/>
                </a:cubicBezTo>
                <a:cubicBezTo>
                  <a:pt x="463" y="500"/>
                  <a:pt x="465" y="498"/>
                  <a:pt x="465" y="496"/>
                </a:cubicBezTo>
                <a:close/>
                <a:moveTo>
                  <a:pt x="493" y="59"/>
                </a:moveTo>
                <a:cubicBezTo>
                  <a:pt x="493" y="57"/>
                  <a:pt x="491" y="55"/>
                  <a:pt x="488" y="55"/>
                </a:cubicBezTo>
                <a:cubicBezTo>
                  <a:pt x="486" y="55"/>
                  <a:pt x="484" y="57"/>
                  <a:pt x="484" y="59"/>
                </a:cubicBezTo>
                <a:cubicBezTo>
                  <a:pt x="484" y="62"/>
                  <a:pt x="486" y="64"/>
                  <a:pt x="488" y="64"/>
                </a:cubicBezTo>
                <a:cubicBezTo>
                  <a:pt x="491" y="64"/>
                  <a:pt x="493" y="62"/>
                  <a:pt x="493" y="59"/>
                </a:cubicBezTo>
                <a:close/>
                <a:moveTo>
                  <a:pt x="486" y="73"/>
                </a:moveTo>
                <a:cubicBezTo>
                  <a:pt x="486" y="70"/>
                  <a:pt x="484" y="68"/>
                  <a:pt x="481" y="68"/>
                </a:cubicBezTo>
                <a:cubicBezTo>
                  <a:pt x="479" y="68"/>
                  <a:pt x="477" y="70"/>
                  <a:pt x="477" y="73"/>
                </a:cubicBezTo>
                <a:cubicBezTo>
                  <a:pt x="477" y="75"/>
                  <a:pt x="479" y="77"/>
                  <a:pt x="481" y="77"/>
                </a:cubicBezTo>
                <a:cubicBezTo>
                  <a:pt x="484" y="77"/>
                  <a:pt x="486" y="75"/>
                  <a:pt x="486" y="73"/>
                </a:cubicBezTo>
                <a:close/>
                <a:moveTo>
                  <a:pt x="472" y="482"/>
                </a:moveTo>
                <a:cubicBezTo>
                  <a:pt x="472" y="480"/>
                  <a:pt x="470" y="478"/>
                  <a:pt x="468" y="478"/>
                </a:cubicBezTo>
                <a:cubicBezTo>
                  <a:pt x="465" y="478"/>
                  <a:pt x="463" y="480"/>
                  <a:pt x="463" y="482"/>
                </a:cubicBezTo>
                <a:cubicBezTo>
                  <a:pt x="463" y="485"/>
                  <a:pt x="465" y="487"/>
                  <a:pt x="468" y="487"/>
                </a:cubicBezTo>
                <a:cubicBezTo>
                  <a:pt x="470" y="487"/>
                  <a:pt x="472" y="485"/>
                  <a:pt x="472" y="482"/>
                </a:cubicBezTo>
                <a:close/>
                <a:moveTo>
                  <a:pt x="431" y="537"/>
                </a:moveTo>
                <a:cubicBezTo>
                  <a:pt x="431" y="534"/>
                  <a:pt x="429" y="532"/>
                  <a:pt x="427" y="532"/>
                </a:cubicBezTo>
                <a:cubicBezTo>
                  <a:pt x="424" y="532"/>
                  <a:pt x="422" y="534"/>
                  <a:pt x="422" y="537"/>
                </a:cubicBezTo>
                <a:cubicBezTo>
                  <a:pt x="422" y="539"/>
                  <a:pt x="424" y="541"/>
                  <a:pt x="427" y="541"/>
                </a:cubicBezTo>
                <a:cubicBezTo>
                  <a:pt x="429" y="541"/>
                  <a:pt x="431" y="539"/>
                  <a:pt x="431" y="537"/>
                </a:cubicBezTo>
                <a:close/>
                <a:moveTo>
                  <a:pt x="425" y="550"/>
                </a:moveTo>
                <a:cubicBezTo>
                  <a:pt x="425" y="548"/>
                  <a:pt x="423" y="546"/>
                  <a:pt x="420" y="546"/>
                </a:cubicBezTo>
                <a:cubicBezTo>
                  <a:pt x="418" y="546"/>
                  <a:pt x="416" y="548"/>
                  <a:pt x="416" y="550"/>
                </a:cubicBezTo>
                <a:cubicBezTo>
                  <a:pt x="416" y="553"/>
                  <a:pt x="418" y="555"/>
                  <a:pt x="420" y="555"/>
                </a:cubicBezTo>
                <a:cubicBezTo>
                  <a:pt x="423" y="555"/>
                  <a:pt x="425" y="553"/>
                  <a:pt x="425" y="550"/>
                </a:cubicBezTo>
                <a:close/>
                <a:moveTo>
                  <a:pt x="438" y="523"/>
                </a:moveTo>
                <a:cubicBezTo>
                  <a:pt x="438" y="521"/>
                  <a:pt x="436" y="519"/>
                  <a:pt x="434" y="519"/>
                </a:cubicBezTo>
                <a:cubicBezTo>
                  <a:pt x="431" y="519"/>
                  <a:pt x="429" y="521"/>
                  <a:pt x="429" y="523"/>
                </a:cubicBezTo>
                <a:cubicBezTo>
                  <a:pt x="429" y="526"/>
                  <a:pt x="431" y="528"/>
                  <a:pt x="434" y="528"/>
                </a:cubicBezTo>
                <a:cubicBezTo>
                  <a:pt x="436" y="528"/>
                  <a:pt x="438" y="526"/>
                  <a:pt x="438" y="523"/>
                </a:cubicBezTo>
                <a:close/>
                <a:moveTo>
                  <a:pt x="459" y="509"/>
                </a:moveTo>
                <a:cubicBezTo>
                  <a:pt x="459" y="507"/>
                  <a:pt x="457" y="505"/>
                  <a:pt x="454" y="505"/>
                </a:cubicBezTo>
                <a:cubicBezTo>
                  <a:pt x="452" y="505"/>
                  <a:pt x="450" y="507"/>
                  <a:pt x="450" y="509"/>
                </a:cubicBezTo>
                <a:cubicBezTo>
                  <a:pt x="450" y="512"/>
                  <a:pt x="452" y="514"/>
                  <a:pt x="454" y="514"/>
                </a:cubicBezTo>
                <a:cubicBezTo>
                  <a:pt x="457" y="514"/>
                  <a:pt x="459" y="512"/>
                  <a:pt x="459" y="509"/>
                </a:cubicBezTo>
                <a:close/>
                <a:moveTo>
                  <a:pt x="418" y="564"/>
                </a:moveTo>
                <a:cubicBezTo>
                  <a:pt x="418" y="561"/>
                  <a:pt x="416" y="559"/>
                  <a:pt x="413" y="559"/>
                </a:cubicBezTo>
                <a:cubicBezTo>
                  <a:pt x="411" y="559"/>
                  <a:pt x="409" y="561"/>
                  <a:pt x="409" y="564"/>
                </a:cubicBezTo>
                <a:cubicBezTo>
                  <a:pt x="409" y="566"/>
                  <a:pt x="411" y="568"/>
                  <a:pt x="413" y="568"/>
                </a:cubicBezTo>
                <a:cubicBezTo>
                  <a:pt x="416" y="568"/>
                  <a:pt x="418" y="566"/>
                  <a:pt x="418" y="564"/>
                </a:cubicBezTo>
                <a:close/>
                <a:moveTo>
                  <a:pt x="445" y="509"/>
                </a:moveTo>
                <a:cubicBezTo>
                  <a:pt x="445" y="507"/>
                  <a:pt x="443" y="505"/>
                  <a:pt x="441" y="505"/>
                </a:cubicBezTo>
                <a:cubicBezTo>
                  <a:pt x="438" y="505"/>
                  <a:pt x="436" y="507"/>
                  <a:pt x="436" y="509"/>
                </a:cubicBezTo>
                <a:cubicBezTo>
                  <a:pt x="436" y="512"/>
                  <a:pt x="438" y="514"/>
                  <a:pt x="441" y="514"/>
                </a:cubicBezTo>
                <a:cubicBezTo>
                  <a:pt x="443" y="514"/>
                  <a:pt x="445" y="512"/>
                  <a:pt x="445" y="509"/>
                </a:cubicBezTo>
                <a:close/>
                <a:moveTo>
                  <a:pt x="447" y="528"/>
                </a:moveTo>
                <a:cubicBezTo>
                  <a:pt x="450" y="528"/>
                  <a:pt x="452" y="526"/>
                  <a:pt x="452" y="523"/>
                </a:cubicBezTo>
                <a:cubicBezTo>
                  <a:pt x="452" y="521"/>
                  <a:pt x="450" y="519"/>
                  <a:pt x="447" y="519"/>
                </a:cubicBezTo>
                <a:cubicBezTo>
                  <a:pt x="445" y="519"/>
                  <a:pt x="443" y="521"/>
                  <a:pt x="443" y="523"/>
                </a:cubicBezTo>
                <a:cubicBezTo>
                  <a:pt x="443" y="526"/>
                  <a:pt x="445" y="528"/>
                  <a:pt x="447" y="528"/>
                </a:cubicBezTo>
                <a:close/>
                <a:moveTo>
                  <a:pt x="450" y="18"/>
                </a:moveTo>
                <a:cubicBezTo>
                  <a:pt x="450" y="21"/>
                  <a:pt x="452" y="23"/>
                  <a:pt x="454" y="23"/>
                </a:cubicBezTo>
                <a:cubicBezTo>
                  <a:pt x="457" y="23"/>
                  <a:pt x="459" y="21"/>
                  <a:pt x="459" y="18"/>
                </a:cubicBezTo>
                <a:cubicBezTo>
                  <a:pt x="459" y="16"/>
                  <a:pt x="457" y="14"/>
                  <a:pt x="454" y="14"/>
                </a:cubicBezTo>
                <a:cubicBezTo>
                  <a:pt x="452" y="14"/>
                  <a:pt x="450" y="16"/>
                  <a:pt x="450" y="18"/>
                </a:cubicBezTo>
                <a:close/>
                <a:moveTo>
                  <a:pt x="477" y="18"/>
                </a:moveTo>
                <a:cubicBezTo>
                  <a:pt x="477" y="21"/>
                  <a:pt x="479" y="23"/>
                  <a:pt x="481" y="23"/>
                </a:cubicBezTo>
                <a:cubicBezTo>
                  <a:pt x="484" y="23"/>
                  <a:pt x="486" y="21"/>
                  <a:pt x="486" y="18"/>
                </a:cubicBezTo>
                <a:cubicBezTo>
                  <a:pt x="486" y="16"/>
                  <a:pt x="484" y="14"/>
                  <a:pt x="481" y="14"/>
                </a:cubicBezTo>
                <a:cubicBezTo>
                  <a:pt x="479" y="14"/>
                  <a:pt x="477" y="16"/>
                  <a:pt x="477" y="18"/>
                </a:cubicBezTo>
                <a:close/>
                <a:moveTo>
                  <a:pt x="488" y="9"/>
                </a:moveTo>
                <a:cubicBezTo>
                  <a:pt x="491" y="9"/>
                  <a:pt x="493" y="7"/>
                  <a:pt x="493" y="5"/>
                </a:cubicBezTo>
                <a:cubicBezTo>
                  <a:pt x="493" y="2"/>
                  <a:pt x="491" y="0"/>
                  <a:pt x="488" y="0"/>
                </a:cubicBezTo>
                <a:cubicBezTo>
                  <a:pt x="486" y="0"/>
                  <a:pt x="484" y="2"/>
                  <a:pt x="484" y="5"/>
                </a:cubicBezTo>
                <a:cubicBezTo>
                  <a:pt x="484" y="7"/>
                  <a:pt x="486" y="9"/>
                  <a:pt x="488" y="9"/>
                </a:cubicBezTo>
                <a:close/>
                <a:moveTo>
                  <a:pt x="461" y="9"/>
                </a:moveTo>
                <a:cubicBezTo>
                  <a:pt x="463" y="9"/>
                  <a:pt x="465" y="7"/>
                  <a:pt x="465" y="5"/>
                </a:cubicBezTo>
                <a:cubicBezTo>
                  <a:pt x="465" y="2"/>
                  <a:pt x="463" y="0"/>
                  <a:pt x="461" y="0"/>
                </a:cubicBezTo>
                <a:cubicBezTo>
                  <a:pt x="458" y="0"/>
                  <a:pt x="456" y="2"/>
                  <a:pt x="456" y="5"/>
                </a:cubicBezTo>
                <a:cubicBezTo>
                  <a:pt x="456" y="7"/>
                  <a:pt x="458" y="9"/>
                  <a:pt x="461" y="9"/>
                </a:cubicBezTo>
                <a:close/>
                <a:moveTo>
                  <a:pt x="509" y="77"/>
                </a:moveTo>
                <a:cubicBezTo>
                  <a:pt x="511" y="77"/>
                  <a:pt x="513" y="75"/>
                  <a:pt x="513" y="73"/>
                </a:cubicBezTo>
                <a:cubicBezTo>
                  <a:pt x="513" y="70"/>
                  <a:pt x="511" y="68"/>
                  <a:pt x="509" y="68"/>
                </a:cubicBezTo>
                <a:cubicBezTo>
                  <a:pt x="506" y="68"/>
                  <a:pt x="504" y="70"/>
                  <a:pt x="504" y="73"/>
                </a:cubicBezTo>
                <a:cubicBezTo>
                  <a:pt x="504" y="75"/>
                  <a:pt x="506" y="77"/>
                  <a:pt x="509" y="77"/>
                </a:cubicBezTo>
                <a:close/>
                <a:moveTo>
                  <a:pt x="463" y="18"/>
                </a:moveTo>
                <a:cubicBezTo>
                  <a:pt x="463" y="21"/>
                  <a:pt x="465" y="23"/>
                  <a:pt x="468" y="23"/>
                </a:cubicBezTo>
                <a:cubicBezTo>
                  <a:pt x="470" y="23"/>
                  <a:pt x="472" y="21"/>
                  <a:pt x="472" y="18"/>
                </a:cubicBezTo>
                <a:cubicBezTo>
                  <a:pt x="472" y="16"/>
                  <a:pt x="470" y="14"/>
                  <a:pt x="468" y="14"/>
                </a:cubicBezTo>
                <a:cubicBezTo>
                  <a:pt x="465" y="14"/>
                  <a:pt x="463" y="16"/>
                  <a:pt x="463" y="18"/>
                </a:cubicBezTo>
                <a:close/>
                <a:moveTo>
                  <a:pt x="490" y="18"/>
                </a:moveTo>
                <a:cubicBezTo>
                  <a:pt x="490" y="21"/>
                  <a:pt x="492" y="23"/>
                  <a:pt x="495" y="23"/>
                </a:cubicBezTo>
                <a:cubicBezTo>
                  <a:pt x="497" y="23"/>
                  <a:pt x="500" y="21"/>
                  <a:pt x="500" y="18"/>
                </a:cubicBezTo>
                <a:cubicBezTo>
                  <a:pt x="500" y="16"/>
                  <a:pt x="497" y="14"/>
                  <a:pt x="495" y="14"/>
                </a:cubicBezTo>
                <a:cubicBezTo>
                  <a:pt x="492" y="14"/>
                  <a:pt x="490" y="16"/>
                  <a:pt x="490" y="18"/>
                </a:cubicBezTo>
                <a:close/>
                <a:moveTo>
                  <a:pt x="502" y="9"/>
                </a:moveTo>
                <a:cubicBezTo>
                  <a:pt x="504" y="9"/>
                  <a:pt x="506" y="7"/>
                  <a:pt x="506" y="5"/>
                </a:cubicBezTo>
                <a:cubicBezTo>
                  <a:pt x="506" y="2"/>
                  <a:pt x="504" y="0"/>
                  <a:pt x="502" y="0"/>
                </a:cubicBezTo>
                <a:cubicBezTo>
                  <a:pt x="499" y="0"/>
                  <a:pt x="497" y="2"/>
                  <a:pt x="497" y="5"/>
                </a:cubicBezTo>
                <a:cubicBezTo>
                  <a:pt x="497" y="7"/>
                  <a:pt x="499" y="9"/>
                  <a:pt x="502" y="9"/>
                </a:cubicBezTo>
                <a:close/>
                <a:moveTo>
                  <a:pt x="518" y="18"/>
                </a:moveTo>
                <a:cubicBezTo>
                  <a:pt x="518" y="21"/>
                  <a:pt x="520" y="23"/>
                  <a:pt x="522" y="23"/>
                </a:cubicBezTo>
                <a:cubicBezTo>
                  <a:pt x="525" y="23"/>
                  <a:pt x="527" y="21"/>
                  <a:pt x="527" y="18"/>
                </a:cubicBezTo>
                <a:cubicBezTo>
                  <a:pt x="527" y="16"/>
                  <a:pt x="525" y="14"/>
                  <a:pt x="522" y="14"/>
                </a:cubicBezTo>
                <a:cubicBezTo>
                  <a:pt x="520" y="14"/>
                  <a:pt x="518" y="16"/>
                  <a:pt x="518" y="18"/>
                </a:cubicBezTo>
                <a:close/>
                <a:moveTo>
                  <a:pt x="520" y="59"/>
                </a:moveTo>
                <a:cubicBezTo>
                  <a:pt x="520" y="57"/>
                  <a:pt x="518" y="55"/>
                  <a:pt x="515" y="55"/>
                </a:cubicBezTo>
                <a:cubicBezTo>
                  <a:pt x="513" y="55"/>
                  <a:pt x="511" y="57"/>
                  <a:pt x="511" y="59"/>
                </a:cubicBezTo>
                <a:cubicBezTo>
                  <a:pt x="511" y="62"/>
                  <a:pt x="513" y="64"/>
                  <a:pt x="515" y="64"/>
                </a:cubicBezTo>
                <a:cubicBezTo>
                  <a:pt x="518" y="64"/>
                  <a:pt x="520" y="62"/>
                  <a:pt x="520" y="59"/>
                </a:cubicBezTo>
                <a:close/>
                <a:moveTo>
                  <a:pt x="527" y="46"/>
                </a:moveTo>
                <a:cubicBezTo>
                  <a:pt x="527" y="43"/>
                  <a:pt x="525" y="41"/>
                  <a:pt x="522" y="41"/>
                </a:cubicBezTo>
                <a:cubicBezTo>
                  <a:pt x="520" y="41"/>
                  <a:pt x="518" y="43"/>
                  <a:pt x="518" y="46"/>
                </a:cubicBezTo>
                <a:cubicBezTo>
                  <a:pt x="518" y="48"/>
                  <a:pt x="520" y="50"/>
                  <a:pt x="522" y="50"/>
                </a:cubicBezTo>
                <a:cubicBezTo>
                  <a:pt x="525" y="50"/>
                  <a:pt x="527" y="48"/>
                  <a:pt x="527" y="46"/>
                </a:cubicBezTo>
                <a:close/>
                <a:moveTo>
                  <a:pt x="504" y="18"/>
                </a:moveTo>
                <a:cubicBezTo>
                  <a:pt x="504" y="21"/>
                  <a:pt x="506" y="23"/>
                  <a:pt x="509" y="23"/>
                </a:cubicBezTo>
                <a:cubicBezTo>
                  <a:pt x="511" y="23"/>
                  <a:pt x="513" y="21"/>
                  <a:pt x="513" y="18"/>
                </a:cubicBezTo>
                <a:cubicBezTo>
                  <a:pt x="513" y="16"/>
                  <a:pt x="511" y="14"/>
                  <a:pt x="509" y="14"/>
                </a:cubicBezTo>
                <a:cubicBezTo>
                  <a:pt x="506" y="14"/>
                  <a:pt x="504" y="16"/>
                  <a:pt x="504" y="18"/>
                </a:cubicBezTo>
                <a:close/>
                <a:moveTo>
                  <a:pt x="515" y="9"/>
                </a:moveTo>
                <a:cubicBezTo>
                  <a:pt x="518" y="9"/>
                  <a:pt x="520" y="7"/>
                  <a:pt x="520" y="5"/>
                </a:cubicBezTo>
                <a:cubicBezTo>
                  <a:pt x="520" y="2"/>
                  <a:pt x="518" y="0"/>
                  <a:pt x="515" y="0"/>
                </a:cubicBezTo>
                <a:cubicBezTo>
                  <a:pt x="513" y="0"/>
                  <a:pt x="511" y="2"/>
                  <a:pt x="511" y="5"/>
                </a:cubicBezTo>
                <a:cubicBezTo>
                  <a:pt x="511" y="7"/>
                  <a:pt x="513" y="9"/>
                  <a:pt x="515" y="9"/>
                </a:cubicBezTo>
                <a:close/>
                <a:moveTo>
                  <a:pt x="475" y="9"/>
                </a:moveTo>
                <a:cubicBezTo>
                  <a:pt x="477" y="9"/>
                  <a:pt x="479" y="7"/>
                  <a:pt x="479" y="5"/>
                </a:cubicBezTo>
                <a:cubicBezTo>
                  <a:pt x="479" y="2"/>
                  <a:pt x="477" y="0"/>
                  <a:pt x="475" y="0"/>
                </a:cubicBezTo>
                <a:cubicBezTo>
                  <a:pt x="472" y="0"/>
                  <a:pt x="470" y="2"/>
                  <a:pt x="470" y="5"/>
                </a:cubicBezTo>
                <a:cubicBezTo>
                  <a:pt x="470" y="7"/>
                  <a:pt x="472" y="9"/>
                  <a:pt x="475" y="9"/>
                </a:cubicBezTo>
                <a:close/>
                <a:moveTo>
                  <a:pt x="318" y="459"/>
                </a:moveTo>
                <a:cubicBezTo>
                  <a:pt x="320" y="459"/>
                  <a:pt x="322" y="457"/>
                  <a:pt x="322" y="455"/>
                </a:cubicBezTo>
                <a:cubicBezTo>
                  <a:pt x="322" y="452"/>
                  <a:pt x="320" y="450"/>
                  <a:pt x="318" y="450"/>
                </a:cubicBezTo>
                <a:cubicBezTo>
                  <a:pt x="315" y="450"/>
                  <a:pt x="313" y="452"/>
                  <a:pt x="313" y="455"/>
                </a:cubicBezTo>
                <a:cubicBezTo>
                  <a:pt x="313" y="457"/>
                  <a:pt x="315" y="459"/>
                  <a:pt x="318" y="459"/>
                </a:cubicBezTo>
                <a:close/>
                <a:moveTo>
                  <a:pt x="327" y="509"/>
                </a:moveTo>
                <a:cubicBezTo>
                  <a:pt x="327" y="512"/>
                  <a:pt x="329" y="514"/>
                  <a:pt x="332" y="514"/>
                </a:cubicBezTo>
                <a:cubicBezTo>
                  <a:pt x="334" y="514"/>
                  <a:pt x="336" y="512"/>
                  <a:pt x="336" y="509"/>
                </a:cubicBezTo>
                <a:cubicBezTo>
                  <a:pt x="336" y="507"/>
                  <a:pt x="334" y="505"/>
                  <a:pt x="332" y="505"/>
                </a:cubicBezTo>
                <a:cubicBezTo>
                  <a:pt x="329" y="505"/>
                  <a:pt x="327" y="507"/>
                  <a:pt x="327" y="509"/>
                </a:cubicBezTo>
                <a:close/>
                <a:moveTo>
                  <a:pt x="307" y="332"/>
                </a:moveTo>
                <a:cubicBezTo>
                  <a:pt x="307" y="335"/>
                  <a:pt x="309" y="337"/>
                  <a:pt x="311" y="337"/>
                </a:cubicBezTo>
                <a:cubicBezTo>
                  <a:pt x="314" y="337"/>
                  <a:pt x="316" y="335"/>
                  <a:pt x="316" y="332"/>
                </a:cubicBezTo>
                <a:cubicBezTo>
                  <a:pt x="316" y="330"/>
                  <a:pt x="314" y="328"/>
                  <a:pt x="311" y="328"/>
                </a:cubicBezTo>
                <a:cubicBezTo>
                  <a:pt x="309" y="328"/>
                  <a:pt x="307" y="330"/>
                  <a:pt x="307" y="332"/>
                </a:cubicBezTo>
                <a:close/>
                <a:moveTo>
                  <a:pt x="311" y="418"/>
                </a:moveTo>
                <a:cubicBezTo>
                  <a:pt x="314" y="418"/>
                  <a:pt x="316" y="416"/>
                  <a:pt x="316" y="414"/>
                </a:cubicBezTo>
                <a:cubicBezTo>
                  <a:pt x="316" y="411"/>
                  <a:pt x="314" y="409"/>
                  <a:pt x="311" y="409"/>
                </a:cubicBezTo>
                <a:cubicBezTo>
                  <a:pt x="309" y="409"/>
                  <a:pt x="307" y="411"/>
                  <a:pt x="307" y="414"/>
                </a:cubicBezTo>
                <a:cubicBezTo>
                  <a:pt x="307" y="416"/>
                  <a:pt x="309" y="418"/>
                  <a:pt x="311" y="418"/>
                </a:cubicBezTo>
                <a:close/>
                <a:moveTo>
                  <a:pt x="332" y="487"/>
                </a:moveTo>
                <a:cubicBezTo>
                  <a:pt x="334" y="487"/>
                  <a:pt x="336" y="485"/>
                  <a:pt x="336" y="482"/>
                </a:cubicBezTo>
                <a:cubicBezTo>
                  <a:pt x="336" y="480"/>
                  <a:pt x="334" y="478"/>
                  <a:pt x="332" y="478"/>
                </a:cubicBezTo>
                <a:cubicBezTo>
                  <a:pt x="329" y="478"/>
                  <a:pt x="327" y="480"/>
                  <a:pt x="327" y="482"/>
                </a:cubicBezTo>
                <a:cubicBezTo>
                  <a:pt x="327" y="485"/>
                  <a:pt x="329" y="487"/>
                  <a:pt x="332" y="487"/>
                </a:cubicBezTo>
                <a:close/>
                <a:moveTo>
                  <a:pt x="325" y="473"/>
                </a:moveTo>
                <a:cubicBezTo>
                  <a:pt x="327" y="473"/>
                  <a:pt x="329" y="471"/>
                  <a:pt x="329" y="468"/>
                </a:cubicBezTo>
                <a:cubicBezTo>
                  <a:pt x="329" y="466"/>
                  <a:pt x="327" y="464"/>
                  <a:pt x="325" y="464"/>
                </a:cubicBezTo>
                <a:cubicBezTo>
                  <a:pt x="322" y="464"/>
                  <a:pt x="320" y="466"/>
                  <a:pt x="320" y="468"/>
                </a:cubicBezTo>
                <a:cubicBezTo>
                  <a:pt x="320" y="471"/>
                  <a:pt x="322" y="473"/>
                  <a:pt x="325" y="473"/>
                </a:cubicBezTo>
                <a:close/>
                <a:moveTo>
                  <a:pt x="309" y="291"/>
                </a:moveTo>
                <a:cubicBezTo>
                  <a:pt x="309" y="289"/>
                  <a:pt x="307" y="287"/>
                  <a:pt x="304" y="287"/>
                </a:cubicBezTo>
                <a:cubicBezTo>
                  <a:pt x="302" y="287"/>
                  <a:pt x="300" y="289"/>
                  <a:pt x="300" y="291"/>
                </a:cubicBezTo>
                <a:cubicBezTo>
                  <a:pt x="300" y="294"/>
                  <a:pt x="302" y="296"/>
                  <a:pt x="304" y="296"/>
                </a:cubicBezTo>
                <a:cubicBezTo>
                  <a:pt x="307" y="296"/>
                  <a:pt x="309" y="294"/>
                  <a:pt x="309" y="291"/>
                </a:cubicBezTo>
                <a:close/>
                <a:moveTo>
                  <a:pt x="277" y="323"/>
                </a:moveTo>
                <a:cubicBezTo>
                  <a:pt x="280" y="323"/>
                  <a:pt x="282" y="321"/>
                  <a:pt x="282" y="318"/>
                </a:cubicBezTo>
                <a:cubicBezTo>
                  <a:pt x="282" y="316"/>
                  <a:pt x="280" y="314"/>
                  <a:pt x="277" y="314"/>
                </a:cubicBezTo>
                <a:cubicBezTo>
                  <a:pt x="275" y="314"/>
                  <a:pt x="273" y="316"/>
                  <a:pt x="273" y="318"/>
                </a:cubicBezTo>
                <a:cubicBezTo>
                  <a:pt x="273" y="321"/>
                  <a:pt x="275" y="323"/>
                  <a:pt x="277" y="323"/>
                </a:cubicBezTo>
                <a:close/>
                <a:moveTo>
                  <a:pt x="302" y="305"/>
                </a:moveTo>
                <a:cubicBezTo>
                  <a:pt x="302" y="302"/>
                  <a:pt x="300" y="300"/>
                  <a:pt x="297" y="300"/>
                </a:cubicBezTo>
                <a:cubicBezTo>
                  <a:pt x="295" y="300"/>
                  <a:pt x="293" y="302"/>
                  <a:pt x="293" y="305"/>
                </a:cubicBezTo>
                <a:cubicBezTo>
                  <a:pt x="293" y="307"/>
                  <a:pt x="295" y="309"/>
                  <a:pt x="297" y="309"/>
                </a:cubicBezTo>
                <a:cubicBezTo>
                  <a:pt x="300" y="309"/>
                  <a:pt x="302" y="307"/>
                  <a:pt x="302" y="305"/>
                </a:cubicBezTo>
                <a:close/>
                <a:moveTo>
                  <a:pt x="259" y="318"/>
                </a:moveTo>
                <a:cubicBezTo>
                  <a:pt x="259" y="321"/>
                  <a:pt x="261" y="323"/>
                  <a:pt x="263" y="323"/>
                </a:cubicBezTo>
                <a:cubicBezTo>
                  <a:pt x="266" y="323"/>
                  <a:pt x="268" y="321"/>
                  <a:pt x="268" y="318"/>
                </a:cubicBezTo>
                <a:cubicBezTo>
                  <a:pt x="268" y="316"/>
                  <a:pt x="266" y="314"/>
                  <a:pt x="263" y="314"/>
                </a:cubicBezTo>
                <a:cubicBezTo>
                  <a:pt x="261" y="314"/>
                  <a:pt x="259" y="316"/>
                  <a:pt x="259" y="318"/>
                </a:cubicBezTo>
                <a:close/>
                <a:moveTo>
                  <a:pt x="275" y="305"/>
                </a:moveTo>
                <a:cubicBezTo>
                  <a:pt x="275" y="302"/>
                  <a:pt x="273" y="300"/>
                  <a:pt x="270" y="300"/>
                </a:cubicBezTo>
                <a:cubicBezTo>
                  <a:pt x="268" y="300"/>
                  <a:pt x="266" y="302"/>
                  <a:pt x="266" y="305"/>
                </a:cubicBezTo>
                <a:cubicBezTo>
                  <a:pt x="266" y="307"/>
                  <a:pt x="268" y="309"/>
                  <a:pt x="270" y="309"/>
                </a:cubicBezTo>
                <a:cubicBezTo>
                  <a:pt x="273" y="309"/>
                  <a:pt x="275" y="307"/>
                  <a:pt x="275" y="305"/>
                </a:cubicBezTo>
                <a:close/>
                <a:moveTo>
                  <a:pt x="295" y="318"/>
                </a:moveTo>
                <a:cubicBezTo>
                  <a:pt x="295" y="316"/>
                  <a:pt x="293" y="314"/>
                  <a:pt x="291" y="314"/>
                </a:cubicBezTo>
                <a:cubicBezTo>
                  <a:pt x="288" y="314"/>
                  <a:pt x="286" y="316"/>
                  <a:pt x="286" y="318"/>
                </a:cubicBezTo>
                <a:cubicBezTo>
                  <a:pt x="286" y="321"/>
                  <a:pt x="288" y="323"/>
                  <a:pt x="291" y="323"/>
                </a:cubicBezTo>
                <a:cubicBezTo>
                  <a:pt x="293" y="323"/>
                  <a:pt x="295" y="321"/>
                  <a:pt x="295" y="318"/>
                </a:cubicBezTo>
                <a:close/>
                <a:moveTo>
                  <a:pt x="284" y="364"/>
                </a:moveTo>
                <a:cubicBezTo>
                  <a:pt x="286" y="364"/>
                  <a:pt x="288" y="362"/>
                  <a:pt x="288" y="359"/>
                </a:cubicBezTo>
                <a:cubicBezTo>
                  <a:pt x="288" y="357"/>
                  <a:pt x="286" y="355"/>
                  <a:pt x="284" y="355"/>
                </a:cubicBezTo>
                <a:cubicBezTo>
                  <a:pt x="281" y="355"/>
                  <a:pt x="279" y="357"/>
                  <a:pt x="279" y="359"/>
                </a:cubicBezTo>
                <a:cubicBezTo>
                  <a:pt x="279" y="362"/>
                  <a:pt x="281" y="364"/>
                  <a:pt x="284" y="364"/>
                </a:cubicBezTo>
                <a:close/>
                <a:moveTo>
                  <a:pt x="356" y="659"/>
                </a:moveTo>
                <a:cubicBezTo>
                  <a:pt x="356" y="657"/>
                  <a:pt x="354" y="655"/>
                  <a:pt x="352" y="655"/>
                </a:cubicBezTo>
                <a:cubicBezTo>
                  <a:pt x="349" y="655"/>
                  <a:pt x="347" y="657"/>
                  <a:pt x="347" y="659"/>
                </a:cubicBezTo>
                <a:cubicBezTo>
                  <a:pt x="347" y="662"/>
                  <a:pt x="349" y="664"/>
                  <a:pt x="352" y="664"/>
                </a:cubicBezTo>
                <a:cubicBezTo>
                  <a:pt x="354" y="664"/>
                  <a:pt x="356" y="662"/>
                  <a:pt x="356" y="659"/>
                </a:cubicBezTo>
                <a:close/>
                <a:moveTo>
                  <a:pt x="370" y="605"/>
                </a:moveTo>
                <a:cubicBezTo>
                  <a:pt x="370" y="602"/>
                  <a:pt x="368" y="600"/>
                  <a:pt x="366" y="600"/>
                </a:cubicBezTo>
                <a:cubicBezTo>
                  <a:pt x="363" y="600"/>
                  <a:pt x="361" y="602"/>
                  <a:pt x="361" y="605"/>
                </a:cubicBezTo>
                <a:cubicBezTo>
                  <a:pt x="361" y="607"/>
                  <a:pt x="363" y="609"/>
                  <a:pt x="366" y="609"/>
                </a:cubicBezTo>
                <a:cubicBezTo>
                  <a:pt x="368" y="609"/>
                  <a:pt x="370" y="607"/>
                  <a:pt x="370" y="605"/>
                </a:cubicBezTo>
                <a:close/>
                <a:moveTo>
                  <a:pt x="391" y="591"/>
                </a:moveTo>
                <a:cubicBezTo>
                  <a:pt x="391" y="589"/>
                  <a:pt x="389" y="587"/>
                  <a:pt x="386" y="587"/>
                </a:cubicBezTo>
                <a:cubicBezTo>
                  <a:pt x="384" y="587"/>
                  <a:pt x="381" y="589"/>
                  <a:pt x="381" y="591"/>
                </a:cubicBezTo>
                <a:cubicBezTo>
                  <a:pt x="381" y="594"/>
                  <a:pt x="384" y="596"/>
                  <a:pt x="386" y="596"/>
                </a:cubicBezTo>
                <a:cubicBezTo>
                  <a:pt x="389" y="596"/>
                  <a:pt x="391" y="594"/>
                  <a:pt x="391" y="591"/>
                </a:cubicBezTo>
                <a:close/>
                <a:moveTo>
                  <a:pt x="372" y="623"/>
                </a:moveTo>
                <a:cubicBezTo>
                  <a:pt x="375" y="623"/>
                  <a:pt x="377" y="621"/>
                  <a:pt x="377" y="619"/>
                </a:cubicBezTo>
                <a:cubicBezTo>
                  <a:pt x="377" y="616"/>
                  <a:pt x="375" y="614"/>
                  <a:pt x="372" y="614"/>
                </a:cubicBezTo>
                <a:cubicBezTo>
                  <a:pt x="370" y="614"/>
                  <a:pt x="368" y="616"/>
                  <a:pt x="368" y="619"/>
                </a:cubicBezTo>
                <a:cubicBezTo>
                  <a:pt x="368" y="621"/>
                  <a:pt x="370" y="623"/>
                  <a:pt x="372" y="623"/>
                </a:cubicBezTo>
                <a:close/>
                <a:moveTo>
                  <a:pt x="384" y="605"/>
                </a:moveTo>
                <a:cubicBezTo>
                  <a:pt x="384" y="602"/>
                  <a:pt x="382" y="600"/>
                  <a:pt x="379" y="600"/>
                </a:cubicBezTo>
                <a:cubicBezTo>
                  <a:pt x="377" y="600"/>
                  <a:pt x="375" y="602"/>
                  <a:pt x="375" y="605"/>
                </a:cubicBezTo>
                <a:cubicBezTo>
                  <a:pt x="375" y="607"/>
                  <a:pt x="377" y="609"/>
                  <a:pt x="379" y="609"/>
                </a:cubicBezTo>
                <a:cubicBezTo>
                  <a:pt x="382" y="609"/>
                  <a:pt x="384" y="607"/>
                  <a:pt x="384" y="605"/>
                </a:cubicBezTo>
                <a:close/>
                <a:moveTo>
                  <a:pt x="397" y="578"/>
                </a:moveTo>
                <a:cubicBezTo>
                  <a:pt x="397" y="575"/>
                  <a:pt x="395" y="573"/>
                  <a:pt x="393" y="573"/>
                </a:cubicBezTo>
                <a:cubicBezTo>
                  <a:pt x="390" y="573"/>
                  <a:pt x="388" y="575"/>
                  <a:pt x="388" y="578"/>
                </a:cubicBezTo>
                <a:cubicBezTo>
                  <a:pt x="388" y="580"/>
                  <a:pt x="390" y="582"/>
                  <a:pt x="393" y="582"/>
                </a:cubicBezTo>
                <a:cubicBezTo>
                  <a:pt x="395" y="582"/>
                  <a:pt x="397" y="580"/>
                  <a:pt x="397" y="578"/>
                </a:cubicBezTo>
                <a:close/>
                <a:moveTo>
                  <a:pt x="404" y="564"/>
                </a:moveTo>
                <a:cubicBezTo>
                  <a:pt x="404" y="561"/>
                  <a:pt x="402" y="559"/>
                  <a:pt x="400" y="559"/>
                </a:cubicBezTo>
                <a:cubicBezTo>
                  <a:pt x="397" y="559"/>
                  <a:pt x="395" y="561"/>
                  <a:pt x="395" y="564"/>
                </a:cubicBezTo>
                <a:cubicBezTo>
                  <a:pt x="395" y="566"/>
                  <a:pt x="397" y="568"/>
                  <a:pt x="400" y="568"/>
                </a:cubicBezTo>
                <a:cubicBezTo>
                  <a:pt x="402" y="568"/>
                  <a:pt x="404" y="566"/>
                  <a:pt x="404" y="564"/>
                </a:cubicBezTo>
                <a:close/>
                <a:moveTo>
                  <a:pt x="332" y="650"/>
                </a:moveTo>
                <a:cubicBezTo>
                  <a:pt x="334" y="650"/>
                  <a:pt x="336" y="648"/>
                  <a:pt x="336" y="646"/>
                </a:cubicBezTo>
                <a:cubicBezTo>
                  <a:pt x="336" y="643"/>
                  <a:pt x="334" y="641"/>
                  <a:pt x="332" y="641"/>
                </a:cubicBezTo>
                <a:cubicBezTo>
                  <a:pt x="329" y="641"/>
                  <a:pt x="327" y="643"/>
                  <a:pt x="327" y="646"/>
                </a:cubicBezTo>
                <a:cubicBezTo>
                  <a:pt x="327" y="648"/>
                  <a:pt x="329" y="650"/>
                  <a:pt x="332" y="650"/>
                </a:cubicBezTo>
                <a:close/>
                <a:moveTo>
                  <a:pt x="343" y="659"/>
                </a:moveTo>
                <a:cubicBezTo>
                  <a:pt x="343" y="657"/>
                  <a:pt x="341" y="655"/>
                  <a:pt x="338" y="655"/>
                </a:cubicBezTo>
                <a:cubicBezTo>
                  <a:pt x="336" y="655"/>
                  <a:pt x="334" y="657"/>
                  <a:pt x="334" y="659"/>
                </a:cubicBezTo>
                <a:cubicBezTo>
                  <a:pt x="334" y="662"/>
                  <a:pt x="336" y="664"/>
                  <a:pt x="338" y="664"/>
                </a:cubicBezTo>
                <a:cubicBezTo>
                  <a:pt x="341" y="664"/>
                  <a:pt x="343" y="662"/>
                  <a:pt x="343" y="659"/>
                </a:cubicBezTo>
                <a:close/>
                <a:moveTo>
                  <a:pt x="345" y="678"/>
                </a:moveTo>
                <a:cubicBezTo>
                  <a:pt x="348" y="678"/>
                  <a:pt x="350" y="676"/>
                  <a:pt x="350" y="673"/>
                </a:cubicBezTo>
                <a:cubicBezTo>
                  <a:pt x="350" y="671"/>
                  <a:pt x="348" y="669"/>
                  <a:pt x="345" y="669"/>
                </a:cubicBezTo>
                <a:cubicBezTo>
                  <a:pt x="343" y="669"/>
                  <a:pt x="341" y="671"/>
                  <a:pt x="341" y="673"/>
                </a:cubicBezTo>
                <a:cubicBezTo>
                  <a:pt x="341" y="676"/>
                  <a:pt x="343" y="678"/>
                  <a:pt x="345" y="678"/>
                </a:cubicBezTo>
                <a:close/>
                <a:moveTo>
                  <a:pt x="263" y="296"/>
                </a:moveTo>
                <a:cubicBezTo>
                  <a:pt x="266" y="296"/>
                  <a:pt x="268" y="294"/>
                  <a:pt x="268" y="291"/>
                </a:cubicBezTo>
                <a:cubicBezTo>
                  <a:pt x="268" y="289"/>
                  <a:pt x="266" y="287"/>
                  <a:pt x="263" y="287"/>
                </a:cubicBezTo>
                <a:cubicBezTo>
                  <a:pt x="261" y="287"/>
                  <a:pt x="259" y="289"/>
                  <a:pt x="259" y="291"/>
                </a:cubicBezTo>
                <a:cubicBezTo>
                  <a:pt x="259" y="294"/>
                  <a:pt x="261" y="296"/>
                  <a:pt x="263" y="296"/>
                </a:cubicBezTo>
                <a:close/>
                <a:moveTo>
                  <a:pt x="332" y="678"/>
                </a:moveTo>
                <a:cubicBezTo>
                  <a:pt x="334" y="678"/>
                  <a:pt x="336" y="676"/>
                  <a:pt x="336" y="673"/>
                </a:cubicBezTo>
                <a:cubicBezTo>
                  <a:pt x="336" y="671"/>
                  <a:pt x="334" y="669"/>
                  <a:pt x="332" y="669"/>
                </a:cubicBezTo>
                <a:cubicBezTo>
                  <a:pt x="329" y="669"/>
                  <a:pt x="327" y="671"/>
                  <a:pt x="327" y="673"/>
                </a:cubicBezTo>
                <a:cubicBezTo>
                  <a:pt x="327" y="676"/>
                  <a:pt x="329" y="678"/>
                  <a:pt x="332" y="678"/>
                </a:cubicBezTo>
                <a:close/>
                <a:moveTo>
                  <a:pt x="406" y="582"/>
                </a:moveTo>
                <a:cubicBezTo>
                  <a:pt x="409" y="582"/>
                  <a:pt x="411" y="580"/>
                  <a:pt x="411" y="578"/>
                </a:cubicBezTo>
                <a:cubicBezTo>
                  <a:pt x="411" y="575"/>
                  <a:pt x="409" y="573"/>
                  <a:pt x="406" y="573"/>
                </a:cubicBezTo>
                <a:cubicBezTo>
                  <a:pt x="404" y="573"/>
                  <a:pt x="402" y="575"/>
                  <a:pt x="402" y="578"/>
                </a:cubicBezTo>
                <a:cubicBezTo>
                  <a:pt x="402" y="580"/>
                  <a:pt x="404" y="582"/>
                  <a:pt x="406" y="582"/>
                </a:cubicBezTo>
                <a:close/>
                <a:moveTo>
                  <a:pt x="356" y="632"/>
                </a:moveTo>
                <a:cubicBezTo>
                  <a:pt x="356" y="630"/>
                  <a:pt x="354" y="628"/>
                  <a:pt x="352" y="628"/>
                </a:cubicBezTo>
                <a:cubicBezTo>
                  <a:pt x="349" y="628"/>
                  <a:pt x="347" y="630"/>
                  <a:pt x="347" y="632"/>
                </a:cubicBezTo>
                <a:cubicBezTo>
                  <a:pt x="347" y="635"/>
                  <a:pt x="349" y="637"/>
                  <a:pt x="352" y="637"/>
                </a:cubicBezTo>
                <a:cubicBezTo>
                  <a:pt x="354" y="637"/>
                  <a:pt x="356" y="635"/>
                  <a:pt x="356" y="632"/>
                </a:cubicBezTo>
                <a:close/>
                <a:moveTo>
                  <a:pt x="363" y="619"/>
                </a:moveTo>
                <a:cubicBezTo>
                  <a:pt x="363" y="616"/>
                  <a:pt x="361" y="614"/>
                  <a:pt x="359" y="614"/>
                </a:cubicBezTo>
                <a:cubicBezTo>
                  <a:pt x="356" y="614"/>
                  <a:pt x="354" y="616"/>
                  <a:pt x="354" y="619"/>
                </a:cubicBezTo>
                <a:cubicBezTo>
                  <a:pt x="354" y="621"/>
                  <a:pt x="356" y="623"/>
                  <a:pt x="359" y="623"/>
                </a:cubicBezTo>
                <a:cubicBezTo>
                  <a:pt x="361" y="623"/>
                  <a:pt x="363" y="621"/>
                  <a:pt x="363" y="619"/>
                </a:cubicBezTo>
                <a:close/>
                <a:moveTo>
                  <a:pt x="202" y="37"/>
                </a:moveTo>
                <a:cubicBezTo>
                  <a:pt x="205" y="37"/>
                  <a:pt x="207" y="34"/>
                  <a:pt x="207" y="32"/>
                </a:cubicBezTo>
                <a:cubicBezTo>
                  <a:pt x="207" y="29"/>
                  <a:pt x="205" y="27"/>
                  <a:pt x="202" y="27"/>
                </a:cubicBezTo>
                <a:cubicBezTo>
                  <a:pt x="200" y="27"/>
                  <a:pt x="198" y="29"/>
                  <a:pt x="198" y="32"/>
                </a:cubicBezTo>
                <a:cubicBezTo>
                  <a:pt x="198" y="34"/>
                  <a:pt x="200" y="37"/>
                  <a:pt x="202" y="37"/>
                </a:cubicBezTo>
                <a:close/>
                <a:moveTo>
                  <a:pt x="204" y="100"/>
                </a:moveTo>
                <a:cubicBezTo>
                  <a:pt x="204" y="103"/>
                  <a:pt x="206" y="105"/>
                  <a:pt x="209" y="105"/>
                </a:cubicBezTo>
                <a:cubicBezTo>
                  <a:pt x="211" y="105"/>
                  <a:pt x="214" y="103"/>
                  <a:pt x="214" y="100"/>
                </a:cubicBezTo>
                <a:cubicBezTo>
                  <a:pt x="214" y="98"/>
                  <a:pt x="211" y="96"/>
                  <a:pt x="209" y="96"/>
                </a:cubicBezTo>
                <a:cubicBezTo>
                  <a:pt x="206" y="96"/>
                  <a:pt x="204" y="98"/>
                  <a:pt x="204" y="100"/>
                </a:cubicBezTo>
                <a:close/>
                <a:moveTo>
                  <a:pt x="223" y="77"/>
                </a:moveTo>
                <a:cubicBezTo>
                  <a:pt x="225" y="77"/>
                  <a:pt x="227" y="75"/>
                  <a:pt x="227" y="73"/>
                </a:cubicBezTo>
                <a:cubicBezTo>
                  <a:pt x="227" y="70"/>
                  <a:pt x="225" y="68"/>
                  <a:pt x="223" y="68"/>
                </a:cubicBezTo>
                <a:cubicBezTo>
                  <a:pt x="220" y="68"/>
                  <a:pt x="218" y="70"/>
                  <a:pt x="218" y="73"/>
                </a:cubicBezTo>
                <a:cubicBezTo>
                  <a:pt x="218" y="75"/>
                  <a:pt x="220" y="77"/>
                  <a:pt x="223" y="77"/>
                </a:cubicBezTo>
                <a:close/>
                <a:moveTo>
                  <a:pt x="216" y="91"/>
                </a:moveTo>
                <a:cubicBezTo>
                  <a:pt x="218" y="91"/>
                  <a:pt x="220" y="89"/>
                  <a:pt x="220" y="87"/>
                </a:cubicBezTo>
                <a:cubicBezTo>
                  <a:pt x="220" y="84"/>
                  <a:pt x="218" y="82"/>
                  <a:pt x="216" y="82"/>
                </a:cubicBezTo>
                <a:cubicBezTo>
                  <a:pt x="213" y="82"/>
                  <a:pt x="211" y="84"/>
                  <a:pt x="211" y="87"/>
                </a:cubicBezTo>
                <a:cubicBezTo>
                  <a:pt x="211" y="89"/>
                  <a:pt x="213" y="91"/>
                  <a:pt x="216" y="91"/>
                </a:cubicBezTo>
                <a:close/>
                <a:moveTo>
                  <a:pt x="202" y="64"/>
                </a:moveTo>
                <a:cubicBezTo>
                  <a:pt x="205" y="64"/>
                  <a:pt x="207" y="62"/>
                  <a:pt x="207" y="59"/>
                </a:cubicBezTo>
                <a:cubicBezTo>
                  <a:pt x="207" y="57"/>
                  <a:pt x="205" y="55"/>
                  <a:pt x="202" y="55"/>
                </a:cubicBezTo>
                <a:cubicBezTo>
                  <a:pt x="200" y="55"/>
                  <a:pt x="198" y="57"/>
                  <a:pt x="198" y="59"/>
                </a:cubicBezTo>
                <a:cubicBezTo>
                  <a:pt x="198" y="62"/>
                  <a:pt x="200" y="64"/>
                  <a:pt x="202" y="64"/>
                </a:cubicBezTo>
                <a:close/>
                <a:moveTo>
                  <a:pt x="191" y="73"/>
                </a:moveTo>
                <a:cubicBezTo>
                  <a:pt x="191" y="75"/>
                  <a:pt x="193" y="77"/>
                  <a:pt x="195" y="77"/>
                </a:cubicBezTo>
                <a:cubicBezTo>
                  <a:pt x="198" y="77"/>
                  <a:pt x="200" y="75"/>
                  <a:pt x="200" y="73"/>
                </a:cubicBezTo>
                <a:cubicBezTo>
                  <a:pt x="200" y="70"/>
                  <a:pt x="198" y="68"/>
                  <a:pt x="195" y="68"/>
                </a:cubicBezTo>
                <a:cubicBezTo>
                  <a:pt x="193" y="68"/>
                  <a:pt x="191" y="70"/>
                  <a:pt x="191" y="73"/>
                </a:cubicBezTo>
                <a:close/>
                <a:moveTo>
                  <a:pt x="184" y="59"/>
                </a:moveTo>
                <a:cubicBezTo>
                  <a:pt x="184" y="62"/>
                  <a:pt x="186" y="64"/>
                  <a:pt x="189" y="64"/>
                </a:cubicBezTo>
                <a:cubicBezTo>
                  <a:pt x="191" y="64"/>
                  <a:pt x="193" y="62"/>
                  <a:pt x="193" y="59"/>
                </a:cubicBezTo>
                <a:cubicBezTo>
                  <a:pt x="193" y="57"/>
                  <a:pt x="191" y="55"/>
                  <a:pt x="189" y="55"/>
                </a:cubicBezTo>
                <a:cubicBezTo>
                  <a:pt x="186" y="55"/>
                  <a:pt x="184" y="57"/>
                  <a:pt x="184" y="59"/>
                </a:cubicBezTo>
                <a:close/>
                <a:moveTo>
                  <a:pt x="245" y="46"/>
                </a:moveTo>
                <a:cubicBezTo>
                  <a:pt x="245" y="48"/>
                  <a:pt x="247" y="50"/>
                  <a:pt x="250" y="50"/>
                </a:cubicBezTo>
                <a:cubicBezTo>
                  <a:pt x="252" y="50"/>
                  <a:pt x="254" y="48"/>
                  <a:pt x="254" y="46"/>
                </a:cubicBezTo>
                <a:cubicBezTo>
                  <a:pt x="254" y="43"/>
                  <a:pt x="252" y="41"/>
                  <a:pt x="250" y="41"/>
                </a:cubicBezTo>
                <a:cubicBezTo>
                  <a:pt x="247" y="41"/>
                  <a:pt x="245" y="43"/>
                  <a:pt x="245" y="46"/>
                </a:cubicBezTo>
                <a:close/>
                <a:moveTo>
                  <a:pt x="243" y="37"/>
                </a:moveTo>
                <a:cubicBezTo>
                  <a:pt x="246" y="37"/>
                  <a:pt x="248" y="34"/>
                  <a:pt x="248" y="32"/>
                </a:cubicBezTo>
                <a:cubicBezTo>
                  <a:pt x="248" y="29"/>
                  <a:pt x="246" y="27"/>
                  <a:pt x="243" y="27"/>
                </a:cubicBezTo>
                <a:cubicBezTo>
                  <a:pt x="240" y="27"/>
                  <a:pt x="238" y="29"/>
                  <a:pt x="238" y="32"/>
                </a:cubicBezTo>
                <a:cubicBezTo>
                  <a:pt x="238" y="34"/>
                  <a:pt x="240" y="37"/>
                  <a:pt x="243" y="37"/>
                </a:cubicBezTo>
                <a:close/>
                <a:moveTo>
                  <a:pt x="447" y="9"/>
                </a:moveTo>
                <a:cubicBezTo>
                  <a:pt x="450" y="9"/>
                  <a:pt x="452" y="7"/>
                  <a:pt x="452" y="5"/>
                </a:cubicBezTo>
                <a:cubicBezTo>
                  <a:pt x="452" y="2"/>
                  <a:pt x="450" y="0"/>
                  <a:pt x="447" y="0"/>
                </a:cubicBezTo>
                <a:cubicBezTo>
                  <a:pt x="445" y="0"/>
                  <a:pt x="443" y="2"/>
                  <a:pt x="443" y="5"/>
                </a:cubicBezTo>
                <a:cubicBezTo>
                  <a:pt x="443" y="7"/>
                  <a:pt x="445" y="9"/>
                  <a:pt x="447" y="9"/>
                </a:cubicBezTo>
                <a:close/>
                <a:moveTo>
                  <a:pt x="223" y="50"/>
                </a:moveTo>
                <a:cubicBezTo>
                  <a:pt x="225" y="50"/>
                  <a:pt x="227" y="48"/>
                  <a:pt x="227" y="46"/>
                </a:cubicBezTo>
                <a:cubicBezTo>
                  <a:pt x="227" y="43"/>
                  <a:pt x="225" y="41"/>
                  <a:pt x="223" y="41"/>
                </a:cubicBezTo>
                <a:cubicBezTo>
                  <a:pt x="220" y="41"/>
                  <a:pt x="218" y="43"/>
                  <a:pt x="218" y="46"/>
                </a:cubicBezTo>
                <a:cubicBezTo>
                  <a:pt x="218" y="48"/>
                  <a:pt x="220" y="50"/>
                  <a:pt x="223" y="50"/>
                </a:cubicBezTo>
                <a:close/>
                <a:moveTo>
                  <a:pt x="232" y="46"/>
                </a:moveTo>
                <a:cubicBezTo>
                  <a:pt x="232" y="48"/>
                  <a:pt x="234" y="50"/>
                  <a:pt x="236" y="50"/>
                </a:cubicBezTo>
                <a:cubicBezTo>
                  <a:pt x="239" y="50"/>
                  <a:pt x="241" y="48"/>
                  <a:pt x="241" y="46"/>
                </a:cubicBezTo>
                <a:cubicBezTo>
                  <a:pt x="241" y="43"/>
                  <a:pt x="239" y="41"/>
                  <a:pt x="236" y="41"/>
                </a:cubicBezTo>
                <a:cubicBezTo>
                  <a:pt x="234" y="41"/>
                  <a:pt x="232" y="43"/>
                  <a:pt x="232" y="46"/>
                </a:cubicBezTo>
                <a:close/>
                <a:moveTo>
                  <a:pt x="229" y="37"/>
                </a:moveTo>
                <a:cubicBezTo>
                  <a:pt x="232" y="37"/>
                  <a:pt x="234" y="34"/>
                  <a:pt x="234" y="32"/>
                </a:cubicBezTo>
                <a:cubicBezTo>
                  <a:pt x="234" y="29"/>
                  <a:pt x="232" y="27"/>
                  <a:pt x="229" y="27"/>
                </a:cubicBezTo>
                <a:cubicBezTo>
                  <a:pt x="227" y="27"/>
                  <a:pt x="225" y="29"/>
                  <a:pt x="225" y="32"/>
                </a:cubicBezTo>
                <a:cubicBezTo>
                  <a:pt x="225" y="34"/>
                  <a:pt x="227" y="37"/>
                  <a:pt x="229" y="37"/>
                </a:cubicBezTo>
                <a:close/>
                <a:moveTo>
                  <a:pt x="143" y="114"/>
                </a:moveTo>
                <a:cubicBezTo>
                  <a:pt x="143" y="116"/>
                  <a:pt x="145" y="118"/>
                  <a:pt x="148" y="118"/>
                </a:cubicBezTo>
                <a:cubicBezTo>
                  <a:pt x="150" y="118"/>
                  <a:pt x="152" y="116"/>
                  <a:pt x="152" y="114"/>
                </a:cubicBezTo>
                <a:cubicBezTo>
                  <a:pt x="152" y="111"/>
                  <a:pt x="150" y="109"/>
                  <a:pt x="148" y="109"/>
                </a:cubicBezTo>
                <a:cubicBezTo>
                  <a:pt x="145" y="109"/>
                  <a:pt x="143" y="111"/>
                  <a:pt x="143" y="114"/>
                </a:cubicBezTo>
                <a:close/>
                <a:moveTo>
                  <a:pt x="127" y="105"/>
                </a:moveTo>
                <a:cubicBezTo>
                  <a:pt x="130" y="105"/>
                  <a:pt x="132" y="103"/>
                  <a:pt x="132" y="100"/>
                </a:cubicBezTo>
                <a:cubicBezTo>
                  <a:pt x="132" y="98"/>
                  <a:pt x="130" y="96"/>
                  <a:pt x="127" y="96"/>
                </a:cubicBezTo>
                <a:cubicBezTo>
                  <a:pt x="125" y="96"/>
                  <a:pt x="123" y="98"/>
                  <a:pt x="123" y="100"/>
                </a:cubicBezTo>
                <a:cubicBezTo>
                  <a:pt x="123" y="103"/>
                  <a:pt x="125" y="105"/>
                  <a:pt x="127" y="105"/>
                </a:cubicBezTo>
                <a:close/>
                <a:moveTo>
                  <a:pt x="130" y="114"/>
                </a:moveTo>
                <a:cubicBezTo>
                  <a:pt x="130" y="116"/>
                  <a:pt x="132" y="118"/>
                  <a:pt x="134" y="118"/>
                </a:cubicBezTo>
                <a:cubicBezTo>
                  <a:pt x="137" y="118"/>
                  <a:pt x="139" y="116"/>
                  <a:pt x="139" y="114"/>
                </a:cubicBezTo>
                <a:cubicBezTo>
                  <a:pt x="139" y="111"/>
                  <a:pt x="137" y="109"/>
                  <a:pt x="134" y="109"/>
                </a:cubicBezTo>
                <a:cubicBezTo>
                  <a:pt x="132" y="109"/>
                  <a:pt x="130" y="111"/>
                  <a:pt x="130" y="114"/>
                </a:cubicBezTo>
                <a:close/>
                <a:moveTo>
                  <a:pt x="120" y="118"/>
                </a:moveTo>
                <a:cubicBezTo>
                  <a:pt x="123" y="118"/>
                  <a:pt x="125" y="116"/>
                  <a:pt x="125" y="114"/>
                </a:cubicBezTo>
                <a:cubicBezTo>
                  <a:pt x="125" y="111"/>
                  <a:pt x="123" y="109"/>
                  <a:pt x="120" y="109"/>
                </a:cubicBezTo>
                <a:cubicBezTo>
                  <a:pt x="118" y="109"/>
                  <a:pt x="116" y="111"/>
                  <a:pt x="116" y="114"/>
                </a:cubicBezTo>
                <a:cubicBezTo>
                  <a:pt x="116" y="116"/>
                  <a:pt x="118" y="118"/>
                  <a:pt x="120" y="118"/>
                </a:cubicBezTo>
                <a:close/>
                <a:moveTo>
                  <a:pt x="141" y="105"/>
                </a:moveTo>
                <a:cubicBezTo>
                  <a:pt x="143" y="105"/>
                  <a:pt x="145" y="103"/>
                  <a:pt x="145" y="100"/>
                </a:cubicBezTo>
                <a:cubicBezTo>
                  <a:pt x="145" y="98"/>
                  <a:pt x="143" y="96"/>
                  <a:pt x="141" y="96"/>
                </a:cubicBezTo>
                <a:cubicBezTo>
                  <a:pt x="138" y="96"/>
                  <a:pt x="136" y="98"/>
                  <a:pt x="136" y="100"/>
                </a:cubicBezTo>
                <a:cubicBezTo>
                  <a:pt x="136" y="103"/>
                  <a:pt x="138" y="105"/>
                  <a:pt x="141" y="105"/>
                </a:cubicBezTo>
                <a:close/>
                <a:moveTo>
                  <a:pt x="109" y="127"/>
                </a:moveTo>
                <a:cubicBezTo>
                  <a:pt x="109" y="130"/>
                  <a:pt x="111" y="132"/>
                  <a:pt x="114" y="132"/>
                </a:cubicBezTo>
                <a:cubicBezTo>
                  <a:pt x="116" y="132"/>
                  <a:pt x="118" y="130"/>
                  <a:pt x="118" y="127"/>
                </a:cubicBezTo>
                <a:cubicBezTo>
                  <a:pt x="118" y="125"/>
                  <a:pt x="116" y="123"/>
                  <a:pt x="114" y="123"/>
                </a:cubicBezTo>
                <a:cubicBezTo>
                  <a:pt x="111" y="123"/>
                  <a:pt x="109" y="125"/>
                  <a:pt x="109" y="127"/>
                </a:cubicBezTo>
                <a:close/>
                <a:moveTo>
                  <a:pt x="107" y="118"/>
                </a:moveTo>
                <a:cubicBezTo>
                  <a:pt x="109" y="118"/>
                  <a:pt x="111" y="116"/>
                  <a:pt x="111" y="114"/>
                </a:cubicBezTo>
                <a:cubicBezTo>
                  <a:pt x="111" y="111"/>
                  <a:pt x="109" y="109"/>
                  <a:pt x="107" y="109"/>
                </a:cubicBezTo>
                <a:cubicBezTo>
                  <a:pt x="104" y="109"/>
                  <a:pt x="102" y="111"/>
                  <a:pt x="102" y="114"/>
                </a:cubicBezTo>
                <a:cubicBezTo>
                  <a:pt x="102" y="116"/>
                  <a:pt x="104" y="118"/>
                  <a:pt x="107" y="118"/>
                </a:cubicBezTo>
                <a:close/>
                <a:moveTo>
                  <a:pt x="182" y="50"/>
                </a:moveTo>
                <a:cubicBezTo>
                  <a:pt x="184" y="50"/>
                  <a:pt x="186" y="48"/>
                  <a:pt x="186" y="46"/>
                </a:cubicBezTo>
                <a:cubicBezTo>
                  <a:pt x="186" y="43"/>
                  <a:pt x="184" y="41"/>
                  <a:pt x="182" y="41"/>
                </a:cubicBezTo>
                <a:cubicBezTo>
                  <a:pt x="179" y="41"/>
                  <a:pt x="177" y="43"/>
                  <a:pt x="177" y="46"/>
                </a:cubicBezTo>
                <a:cubicBezTo>
                  <a:pt x="177" y="48"/>
                  <a:pt x="179" y="50"/>
                  <a:pt x="182" y="50"/>
                </a:cubicBezTo>
                <a:close/>
                <a:moveTo>
                  <a:pt x="168" y="50"/>
                </a:moveTo>
                <a:cubicBezTo>
                  <a:pt x="171" y="50"/>
                  <a:pt x="173" y="48"/>
                  <a:pt x="173" y="46"/>
                </a:cubicBezTo>
                <a:cubicBezTo>
                  <a:pt x="173" y="43"/>
                  <a:pt x="171" y="41"/>
                  <a:pt x="168" y="41"/>
                </a:cubicBezTo>
                <a:cubicBezTo>
                  <a:pt x="166" y="41"/>
                  <a:pt x="164" y="43"/>
                  <a:pt x="164" y="46"/>
                </a:cubicBezTo>
                <a:cubicBezTo>
                  <a:pt x="164" y="48"/>
                  <a:pt x="166" y="50"/>
                  <a:pt x="168" y="50"/>
                </a:cubicBezTo>
                <a:close/>
                <a:moveTo>
                  <a:pt x="263" y="23"/>
                </a:moveTo>
                <a:cubicBezTo>
                  <a:pt x="266" y="23"/>
                  <a:pt x="268" y="21"/>
                  <a:pt x="268" y="18"/>
                </a:cubicBezTo>
                <a:cubicBezTo>
                  <a:pt x="268" y="16"/>
                  <a:pt x="266" y="14"/>
                  <a:pt x="263" y="14"/>
                </a:cubicBezTo>
                <a:cubicBezTo>
                  <a:pt x="261" y="14"/>
                  <a:pt x="259" y="16"/>
                  <a:pt x="259" y="18"/>
                </a:cubicBezTo>
                <a:cubicBezTo>
                  <a:pt x="259" y="21"/>
                  <a:pt x="261" y="23"/>
                  <a:pt x="263" y="23"/>
                </a:cubicBezTo>
                <a:close/>
                <a:moveTo>
                  <a:pt x="170" y="59"/>
                </a:moveTo>
                <a:cubicBezTo>
                  <a:pt x="170" y="62"/>
                  <a:pt x="172" y="64"/>
                  <a:pt x="175" y="64"/>
                </a:cubicBezTo>
                <a:cubicBezTo>
                  <a:pt x="177" y="64"/>
                  <a:pt x="179" y="62"/>
                  <a:pt x="179" y="59"/>
                </a:cubicBezTo>
                <a:cubicBezTo>
                  <a:pt x="179" y="57"/>
                  <a:pt x="177" y="55"/>
                  <a:pt x="175" y="55"/>
                </a:cubicBezTo>
                <a:cubicBezTo>
                  <a:pt x="172" y="55"/>
                  <a:pt x="170" y="57"/>
                  <a:pt x="170" y="59"/>
                </a:cubicBezTo>
                <a:close/>
                <a:moveTo>
                  <a:pt x="161" y="64"/>
                </a:moveTo>
                <a:cubicBezTo>
                  <a:pt x="164" y="64"/>
                  <a:pt x="166" y="62"/>
                  <a:pt x="166" y="59"/>
                </a:cubicBezTo>
                <a:cubicBezTo>
                  <a:pt x="166" y="57"/>
                  <a:pt x="164" y="55"/>
                  <a:pt x="161" y="55"/>
                </a:cubicBezTo>
                <a:cubicBezTo>
                  <a:pt x="159" y="55"/>
                  <a:pt x="157" y="57"/>
                  <a:pt x="157" y="59"/>
                </a:cubicBezTo>
                <a:cubicBezTo>
                  <a:pt x="157" y="62"/>
                  <a:pt x="159" y="64"/>
                  <a:pt x="161" y="64"/>
                </a:cubicBezTo>
                <a:close/>
                <a:moveTo>
                  <a:pt x="154" y="105"/>
                </a:moveTo>
                <a:cubicBezTo>
                  <a:pt x="157" y="105"/>
                  <a:pt x="159" y="103"/>
                  <a:pt x="159" y="100"/>
                </a:cubicBezTo>
                <a:cubicBezTo>
                  <a:pt x="159" y="98"/>
                  <a:pt x="157" y="96"/>
                  <a:pt x="154" y="96"/>
                </a:cubicBezTo>
                <a:cubicBezTo>
                  <a:pt x="152" y="96"/>
                  <a:pt x="150" y="98"/>
                  <a:pt x="150" y="100"/>
                </a:cubicBezTo>
                <a:cubicBezTo>
                  <a:pt x="150" y="103"/>
                  <a:pt x="152" y="105"/>
                  <a:pt x="154" y="105"/>
                </a:cubicBezTo>
                <a:close/>
                <a:moveTo>
                  <a:pt x="154" y="77"/>
                </a:moveTo>
                <a:cubicBezTo>
                  <a:pt x="157" y="77"/>
                  <a:pt x="159" y="75"/>
                  <a:pt x="159" y="73"/>
                </a:cubicBezTo>
                <a:cubicBezTo>
                  <a:pt x="159" y="70"/>
                  <a:pt x="157" y="68"/>
                  <a:pt x="154" y="68"/>
                </a:cubicBezTo>
                <a:cubicBezTo>
                  <a:pt x="152" y="68"/>
                  <a:pt x="150" y="70"/>
                  <a:pt x="150" y="73"/>
                </a:cubicBezTo>
                <a:cubicBezTo>
                  <a:pt x="150" y="75"/>
                  <a:pt x="152" y="77"/>
                  <a:pt x="154" y="77"/>
                </a:cubicBezTo>
                <a:close/>
                <a:moveTo>
                  <a:pt x="252" y="59"/>
                </a:moveTo>
                <a:cubicBezTo>
                  <a:pt x="252" y="62"/>
                  <a:pt x="254" y="64"/>
                  <a:pt x="257" y="64"/>
                </a:cubicBezTo>
                <a:cubicBezTo>
                  <a:pt x="259" y="64"/>
                  <a:pt x="261" y="62"/>
                  <a:pt x="261" y="59"/>
                </a:cubicBezTo>
                <a:cubicBezTo>
                  <a:pt x="261" y="57"/>
                  <a:pt x="259" y="55"/>
                  <a:pt x="257" y="55"/>
                </a:cubicBezTo>
                <a:cubicBezTo>
                  <a:pt x="254" y="55"/>
                  <a:pt x="252" y="57"/>
                  <a:pt x="252" y="59"/>
                </a:cubicBezTo>
                <a:close/>
                <a:moveTo>
                  <a:pt x="386" y="23"/>
                </a:moveTo>
                <a:cubicBezTo>
                  <a:pt x="389" y="23"/>
                  <a:pt x="391" y="21"/>
                  <a:pt x="391" y="18"/>
                </a:cubicBezTo>
                <a:cubicBezTo>
                  <a:pt x="391" y="16"/>
                  <a:pt x="389" y="14"/>
                  <a:pt x="386" y="14"/>
                </a:cubicBezTo>
                <a:cubicBezTo>
                  <a:pt x="384" y="14"/>
                  <a:pt x="381" y="16"/>
                  <a:pt x="381" y="18"/>
                </a:cubicBezTo>
                <a:cubicBezTo>
                  <a:pt x="381" y="21"/>
                  <a:pt x="384" y="23"/>
                  <a:pt x="386" y="23"/>
                </a:cubicBezTo>
                <a:close/>
                <a:moveTo>
                  <a:pt x="375" y="32"/>
                </a:moveTo>
                <a:cubicBezTo>
                  <a:pt x="375" y="34"/>
                  <a:pt x="377" y="37"/>
                  <a:pt x="379" y="37"/>
                </a:cubicBezTo>
                <a:cubicBezTo>
                  <a:pt x="382" y="37"/>
                  <a:pt x="384" y="34"/>
                  <a:pt x="384" y="32"/>
                </a:cubicBezTo>
                <a:cubicBezTo>
                  <a:pt x="384" y="29"/>
                  <a:pt x="382" y="27"/>
                  <a:pt x="379" y="27"/>
                </a:cubicBezTo>
                <a:cubicBezTo>
                  <a:pt x="377" y="27"/>
                  <a:pt x="375" y="29"/>
                  <a:pt x="375" y="32"/>
                </a:cubicBezTo>
                <a:close/>
                <a:moveTo>
                  <a:pt x="400" y="23"/>
                </a:moveTo>
                <a:cubicBezTo>
                  <a:pt x="402" y="23"/>
                  <a:pt x="404" y="21"/>
                  <a:pt x="404" y="18"/>
                </a:cubicBezTo>
                <a:cubicBezTo>
                  <a:pt x="404" y="16"/>
                  <a:pt x="402" y="14"/>
                  <a:pt x="400" y="14"/>
                </a:cubicBezTo>
                <a:cubicBezTo>
                  <a:pt x="397" y="14"/>
                  <a:pt x="395" y="16"/>
                  <a:pt x="395" y="18"/>
                </a:cubicBezTo>
                <a:cubicBezTo>
                  <a:pt x="395" y="21"/>
                  <a:pt x="397" y="23"/>
                  <a:pt x="400" y="23"/>
                </a:cubicBezTo>
                <a:close/>
                <a:moveTo>
                  <a:pt x="388" y="32"/>
                </a:moveTo>
                <a:cubicBezTo>
                  <a:pt x="388" y="34"/>
                  <a:pt x="390" y="37"/>
                  <a:pt x="393" y="37"/>
                </a:cubicBezTo>
                <a:cubicBezTo>
                  <a:pt x="395" y="37"/>
                  <a:pt x="397" y="34"/>
                  <a:pt x="397" y="32"/>
                </a:cubicBezTo>
                <a:cubicBezTo>
                  <a:pt x="397" y="29"/>
                  <a:pt x="395" y="27"/>
                  <a:pt x="393" y="27"/>
                </a:cubicBezTo>
                <a:cubicBezTo>
                  <a:pt x="390" y="27"/>
                  <a:pt x="388" y="29"/>
                  <a:pt x="388" y="32"/>
                </a:cubicBezTo>
                <a:close/>
                <a:moveTo>
                  <a:pt x="368" y="18"/>
                </a:moveTo>
                <a:cubicBezTo>
                  <a:pt x="368" y="21"/>
                  <a:pt x="370" y="23"/>
                  <a:pt x="372" y="23"/>
                </a:cubicBezTo>
                <a:cubicBezTo>
                  <a:pt x="375" y="23"/>
                  <a:pt x="377" y="21"/>
                  <a:pt x="377" y="18"/>
                </a:cubicBezTo>
                <a:cubicBezTo>
                  <a:pt x="377" y="16"/>
                  <a:pt x="375" y="14"/>
                  <a:pt x="372" y="14"/>
                </a:cubicBezTo>
                <a:cubicBezTo>
                  <a:pt x="370" y="14"/>
                  <a:pt x="368" y="16"/>
                  <a:pt x="368" y="18"/>
                </a:cubicBezTo>
                <a:close/>
                <a:moveTo>
                  <a:pt x="366" y="9"/>
                </a:moveTo>
                <a:cubicBezTo>
                  <a:pt x="368" y="9"/>
                  <a:pt x="370" y="7"/>
                  <a:pt x="370" y="5"/>
                </a:cubicBezTo>
                <a:cubicBezTo>
                  <a:pt x="370" y="2"/>
                  <a:pt x="368" y="0"/>
                  <a:pt x="366" y="0"/>
                </a:cubicBezTo>
                <a:cubicBezTo>
                  <a:pt x="363" y="0"/>
                  <a:pt x="361" y="2"/>
                  <a:pt x="361" y="5"/>
                </a:cubicBezTo>
                <a:cubicBezTo>
                  <a:pt x="361" y="7"/>
                  <a:pt x="363" y="9"/>
                  <a:pt x="366" y="9"/>
                </a:cubicBezTo>
                <a:close/>
                <a:moveTo>
                  <a:pt x="434" y="9"/>
                </a:moveTo>
                <a:cubicBezTo>
                  <a:pt x="436" y="9"/>
                  <a:pt x="438" y="7"/>
                  <a:pt x="438" y="5"/>
                </a:cubicBezTo>
                <a:cubicBezTo>
                  <a:pt x="438" y="2"/>
                  <a:pt x="436" y="0"/>
                  <a:pt x="434" y="0"/>
                </a:cubicBezTo>
                <a:cubicBezTo>
                  <a:pt x="431" y="0"/>
                  <a:pt x="429" y="2"/>
                  <a:pt x="429" y="5"/>
                </a:cubicBezTo>
                <a:cubicBezTo>
                  <a:pt x="429" y="7"/>
                  <a:pt x="431" y="9"/>
                  <a:pt x="434" y="9"/>
                </a:cubicBezTo>
                <a:close/>
                <a:moveTo>
                  <a:pt x="366" y="37"/>
                </a:moveTo>
                <a:cubicBezTo>
                  <a:pt x="368" y="37"/>
                  <a:pt x="370" y="34"/>
                  <a:pt x="370" y="32"/>
                </a:cubicBezTo>
                <a:cubicBezTo>
                  <a:pt x="370" y="29"/>
                  <a:pt x="368" y="27"/>
                  <a:pt x="366" y="27"/>
                </a:cubicBezTo>
                <a:cubicBezTo>
                  <a:pt x="363" y="27"/>
                  <a:pt x="361" y="29"/>
                  <a:pt x="361" y="32"/>
                </a:cubicBezTo>
                <a:cubicBezTo>
                  <a:pt x="361" y="34"/>
                  <a:pt x="363" y="37"/>
                  <a:pt x="366" y="37"/>
                </a:cubicBezTo>
                <a:close/>
                <a:moveTo>
                  <a:pt x="436" y="18"/>
                </a:moveTo>
                <a:cubicBezTo>
                  <a:pt x="436" y="21"/>
                  <a:pt x="438" y="23"/>
                  <a:pt x="441" y="23"/>
                </a:cubicBezTo>
                <a:cubicBezTo>
                  <a:pt x="443" y="23"/>
                  <a:pt x="445" y="21"/>
                  <a:pt x="445" y="18"/>
                </a:cubicBezTo>
                <a:cubicBezTo>
                  <a:pt x="445" y="16"/>
                  <a:pt x="443" y="14"/>
                  <a:pt x="441" y="14"/>
                </a:cubicBezTo>
                <a:cubicBezTo>
                  <a:pt x="438" y="14"/>
                  <a:pt x="436" y="16"/>
                  <a:pt x="436" y="18"/>
                </a:cubicBezTo>
                <a:close/>
                <a:moveTo>
                  <a:pt x="427" y="23"/>
                </a:moveTo>
                <a:cubicBezTo>
                  <a:pt x="429" y="23"/>
                  <a:pt x="431" y="21"/>
                  <a:pt x="431" y="18"/>
                </a:cubicBezTo>
                <a:cubicBezTo>
                  <a:pt x="431" y="16"/>
                  <a:pt x="429" y="14"/>
                  <a:pt x="427" y="14"/>
                </a:cubicBezTo>
                <a:cubicBezTo>
                  <a:pt x="424" y="14"/>
                  <a:pt x="422" y="16"/>
                  <a:pt x="422" y="18"/>
                </a:cubicBezTo>
                <a:cubicBezTo>
                  <a:pt x="422" y="21"/>
                  <a:pt x="424" y="23"/>
                  <a:pt x="427" y="23"/>
                </a:cubicBezTo>
                <a:close/>
                <a:moveTo>
                  <a:pt x="413" y="23"/>
                </a:moveTo>
                <a:cubicBezTo>
                  <a:pt x="416" y="23"/>
                  <a:pt x="418" y="21"/>
                  <a:pt x="418" y="18"/>
                </a:cubicBezTo>
                <a:cubicBezTo>
                  <a:pt x="418" y="16"/>
                  <a:pt x="416" y="14"/>
                  <a:pt x="413" y="14"/>
                </a:cubicBezTo>
                <a:cubicBezTo>
                  <a:pt x="411" y="14"/>
                  <a:pt x="409" y="16"/>
                  <a:pt x="409" y="18"/>
                </a:cubicBezTo>
                <a:cubicBezTo>
                  <a:pt x="409" y="21"/>
                  <a:pt x="411" y="23"/>
                  <a:pt x="413" y="23"/>
                </a:cubicBezTo>
                <a:close/>
                <a:moveTo>
                  <a:pt x="416" y="32"/>
                </a:moveTo>
                <a:cubicBezTo>
                  <a:pt x="416" y="34"/>
                  <a:pt x="418" y="37"/>
                  <a:pt x="420" y="37"/>
                </a:cubicBezTo>
                <a:cubicBezTo>
                  <a:pt x="423" y="37"/>
                  <a:pt x="425" y="34"/>
                  <a:pt x="425" y="32"/>
                </a:cubicBezTo>
                <a:cubicBezTo>
                  <a:pt x="425" y="29"/>
                  <a:pt x="423" y="27"/>
                  <a:pt x="420" y="27"/>
                </a:cubicBezTo>
                <a:cubicBezTo>
                  <a:pt x="418" y="27"/>
                  <a:pt x="416" y="29"/>
                  <a:pt x="416" y="32"/>
                </a:cubicBezTo>
                <a:close/>
                <a:moveTo>
                  <a:pt x="402" y="32"/>
                </a:moveTo>
                <a:cubicBezTo>
                  <a:pt x="402" y="34"/>
                  <a:pt x="404" y="37"/>
                  <a:pt x="406" y="37"/>
                </a:cubicBezTo>
                <a:cubicBezTo>
                  <a:pt x="409" y="37"/>
                  <a:pt x="411" y="34"/>
                  <a:pt x="411" y="32"/>
                </a:cubicBezTo>
                <a:cubicBezTo>
                  <a:pt x="411" y="29"/>
                  <a:pt x="409" y="27"/>
                  <a:pt x="406" y="27"/>
                </a:cubicBezTo>
                <a:cubicBezTo>
                  <a:pt x="404" y="27"/>
                  <a:pt x="402" y="29"/>
                  <a:pt x="402" y="32"/>
                </a:cubicBezTo>
                <a:close/>
                <a:moveTo>
                  <a:pt x="293" y="32"/>
                </a:moveTo>
                <a:cubicBezTo>
                  <a:pt x="293" y="34"/>
                  <a:pt x="295" y="37"/>
                  <a:pt x="297" y="37"/>
                </a:cubicBezTo>
                <a:cubicBezTo>
                  <a:pt x="300" y="37"/>
                  <a:pt x="302" y="34"/>
                  <a:pt x="302" y="32"/>
                </a:cubicBezTo>
                <a:cubicBezTo>
                  <a:pt x="302" y="29"/>
                  <a:pt x="300" y="27"/>
                  <a:pt x="297" y="27"/>
                </a:cubicBezTo>
                <a:cubicBezTo>
                  <a:pt x="295" y="27"/>
                  <a:pt x="293" y="29"/>
                  <a:pt x="293" y="32"/>
                </a:cubicBezTo>
                <a:close/>
                <a:moveTo>
                  <a:pt x="291" y="23"/>
                </a:moveTo>
                <a:cubicBezTo>
                  <a:pt x="293" y="23"/>
                  <a:pt x="295" y="21"/>
                  <a:pt x="295" y="18"/>
                </a:cubicBezTo>
                <a:cubicBezTo>
                  <a:pt x="295" y="16"/>
                  <a:pt x="293" y="14"/>
                  <a:pt x="291" y="14"/>
                </a:cubicBezTo>
                <a:cubicBezTo>
                  <a:pt x="288" y="14"/>
                  <a:pt x="286" y="16"/>
                  <a:pt x="286" y="18"/>
                </a:cubicBezTo>
                <a:cubicBezTo>
                  <a:pt x="286" y="21"/>
                  <a:pt x="288" y="23"/>
                  <a:pt x="291" y="23"/>
                </a:cubicBezTo>
                <a:close/>
                <a:moveTo>
                  <a:pt x="266" y="32"/>
                </a:moveTo>
                <a:cubicBezTo>
                  <a:pt x="266" y="34"/>
                  <a:pt x="268" y="37"/>
                  <a:pt x="270" y="37"/>
                </a:cubicBezTo>
                <a:cubicBezTo>
                  <a:pt x="273" y="37"/>
                  <a:pt x="275" y="34"/>
                  <a:pt x="275" y="32"/>
                </a:cubicBezTo>
                <a:cubicBezTo>
                  <a:pt x="275" y="29"/>
                  <a:pt x="273" y="27"/>
                  <a:pt x="270" y="27"/>
                </a:cubicBezTo>
                <a:cubicBezTo>
                  <a:pt x="268" y="27"/>
                  <a:pt x="266" y="29"/>
                  <a:pt x="266" y="32"/>
                </a:cubicBezTo>
                <a:close/>
                <a:moveTo>
                  <a:pt x="307" y="32"/>
                </a:moveTo>
                <a:cubicBezTo>
                  <a:pt x="307" y="34"/>
                  <a:pt x="309" y="37"/>
                  <a:pt x="311" y="37"/>
                </a:cubicBezTo>
                <a:cubicBezTo>
                  <a:pt x="314" y="37"/>
                  <a:pt x="316" y="34"/>
                  <a:pt x="316" y="32"/>
                </a:cubicBezTo>
                <a:cubicBezTo>
                  <a:pt x="316" y="29"/>
                  <a:pt x="314" y="27"/>
                  <a:pt x="311" y="27"/>
                </a:cubicBezTo>
                <a:cubicBezTo>
                  <a:pt x="309" y="27"/>
                  <a:pt x="307" y="29"/>
                  <a:pt x="307" y="32"/>
                </a:cubicBezTo>
                <a:close/>
                <a:moveTo>
                  <a:pt x="304" y="23"/>
                </a:moveTo>
                <a:cubicBezTo>
                  <a:pt x="307" y="23"/>
                  <a:pt x="309" y="21"/>
                  <a:pt x="309" y="18"/>
                </a:cubicBezTo>
                <a:cubicBezTo>
                  <a:pt x="309" y="16"/>
                  <a:pt x="307" y="14"/>
                  <a:pt x="304" y="14"/>
                </a:cubicBezTo>
                <a:cubicBezTo>
                  <a:pt x="302" y="14"/>
                  <a:pt x="300" y="16"/>
                  <a:pt x="300" y="18"/>
                </a:cubicBezTo>
                <a:cubicBezTo>
                  <a:pt x="300" y="21"/>
                  <a:pt x="302" y="23"/>
                  <a:pt x="304" y="23"/>
                </a:cubicBezTo>
                <a:close/>
                <a:moveTo>
                  <a:pt x="279" y="32"/>
                </a:moveTo>
                <a:cubicBezTo>
                  <a:pt x="279" y="34"/>
                  <a:pt x="281" y="37"/>
                  <a:pt x="284" y="37"/>
                </a:cubicBezTo>
                <a:cubicBezTo>
                  <a:pt x="286" y="37"/>
                  <a:pt x="288" y="34"/>
                  <a:pt x="288" y="32"/>
                </a:cubicBezTo>
                <a:cubicBezTo>
                  <a:pt x="288" y="29"/>
                  <a:pt x="286" y="27"/>
                  <a:pt x="284" y="27"/>
                </a:cubicBezTo>
                <a:cubicBezTo>
                  <a:pt x="281" y="27"/>
                  <a:pt x="279" y="29"/>
                  <a:pt x="279" y="32"/>
                </a:cubicBezTo>
                <a:close/>
                <a:moveTo>
                  <a:pt x="277" y="23"/>
                </a:moveTo>
                <a:cubicBezTo>
                  <a:pt x="280" y="23"/>
                  <a:pt x="282" y="21"/>
                  <a:pt x="282" y="18"/>
                </a:cubicBezTo>
                <a:cubicBezTo>
                  <a:pt x="282" y="16"/>
                  <a:pt x="280" y="14"/>
                  <a:pt x="277" y="14"/>
                </a:cubicBezTo>
                <a:cubicBezTo>
                  <a:pt x="275" y="14"/>
                  <a:pt x="273" y="16"/>
                  <a:pt x="273" y="18"/>
                </a:cubicBezTo>
                <a:cubicBezTo>
                  <a:pt x="273" y="21"/>
                  <a:pt x="275" y="23"/>
                  <a:pt x="277" y="23"/>
                </a:cubicBezTo>
                <a:close/>
                <a:moveTo>
                  <a:pt x="354" y="46"/>
                </a:moveTo>
                <a:cubicBezTo>
                  <a:pt x="354" y="48"/>
                  <a:pt x="356" y="50"/>
                  <a:pt x="359" y="50"/>
                </a:cubicBezTo>
                <a:cubicBezTo>
                  <a:pt x="361" y="50"/>
                  <a:pt x="363" y="48"/>
                  <a:pt x="363" y="46"/>
                </a:cubicBezTo>
                <a:cubicBezTo>
                  <a:pt x="363" y="43"/>
                  <a:pt x="361" y="41"/>
                  <a:pt x="359" y="41"/>
                </a:cubicBezTo>
                <a:cubicBezTo>
                  <a:pt x="356" y="41"/>
                  <a:pt x="354" y="43"/>
                  <a:pt x="354" y="46"/>
                </a:cubicBezTo>
                <a:close/>
                <a:moveTo>
                  <a:pt x="341" y="18"/>
                </a:moveTo>
                <a:cubicBezTo>
                  <a:pt x="341" y="21"/>
                  <a:pt x="343" y="23"/>
                  <a:pt x="345" y="23"/>
                </a:cubicBezTo>
                <a:cubicBezTo>
                  <a:pt x="348" y="23"/>
                  <a:pt x="350" y="21"/>
                  <a:pt x="350" y="18"/>
                </a:cubicBezTo>
                <a:cubicBezTo>
                  <a:pt x="350" y="16"/>
                  <a:pt x="348" y="14"/>
                  <a:pt x="345" y="14"/>
                </a:cubicBezTo>
                <a:cubicBezTo>
                  <a:pt x="343" y="14"/>
                  <a:pt x="341" y="16"/>
                  <a:pt x="341" y="18"/>
                </a:cubicBezTo>
                <a:close/>
                <a:moveTo>
                  <a:pt x="352" y="9"/>
                </a:moveTo>
                <a:cubicBezTo>
                  <a:pt x="354" y="9"/>
                  <a:pt x="356" y="7"/>
                  <a:pt x="356" y="5"/>
                </a:cubicBezTo>
                <a:cubicBezTo>
                  <a:pt x="356" y="2"/>
                  <a:pt x="354" y="0"/>
                  <a:pt x="352" y="0"/>
                </a:cubicBezTo>
                <a:cubicBezTo>
                  <a:pt x="349" y="0"/>
                  <a:pt x="347" y="2"/>
                  <a:pt x="347" y="5"/>
                </a:cubicBezTo>
                <a:cubicBezTo>
                  <a:pt x="347" y="7"/>
                  <a:pt x="349" y="9"/>
                  <a:pt x="352" y="9"/>
                </a:cubicBezTo>
                <a:close/>
                <a:moveTo>
                  <a:pt x="338" y="9"/>
                </a:moveTo>
                <a:cubicBezTo>
                  <a:pt x="341" y="9"/>
                  <a:pt x="343" y="7"/>
                  <a:pt x="343" y="5"/>
                </a:cubicBezTo>
                <a:cubicBezTo>
                  <a:pt x="343" y="2"/>
                  <a:pt x="341" y="0"/>
                  <a:pt x="338" y="0"/>
                </a:cubicBezTo>
                <a:cubicBezTo>
                  <a:pt x="336" y="0"/>
                  <a:pt x="334" y="2"/>
                  <a:pt x="334" y="5"/>
                </a:cubicBezTo>
                <a:cubicBezTo>
                  <a:pt x="334" y="7"/>
                  <a:pt x="336" y="9"/>
                  <a:pt x="338" y="9"/>
                </a:cubicBezTo>
                <a:close/>
                <a:moveTo>
                  <a:pt x="318" y="23"/>
                </a:moveTo>
                <a:cubicBezTo>
                  <a:pt x="320" y="23"/>
                  <a:pt x="322" y="21"/>
                  <a:pt x="322" y="18"/>
                </a:cubicBezTo>
                <a:cubicBezTo>
                  <a:pt x="322" y="16"/>
                  <a:pt x="320" y="14"/>
                  <a:pt x="318" y="14"/>
                </a:cubicBezTo>
                <a:cubicBezTo>
                  <a:pt x="315" y="14"/>
                  <a:pt x="313" y="16"/>
                  <a:pt x="313" y="18"/>
                </a:cubicBezTo>
                <a:cubicBezTo>
                  <a:pt x="313" y="21"/>
                  <a:pt x="315" y="23"/>
                  <a:pt x="318" y="23"/>
                </a:cubicBezTo>
                <a:close/>
                <a:moveTo>
                  <a:pt x="325" y="9"/>
                </a:moveTo>
                <a:cubicBezTo>
                  <a:pt x="327" y="9"/>
                  <a:pt x="329" y="7"/>
                  <a:pt x="329" y="5"/>
                </a:cubicBezTo>
                <a:cubicBezTo>
                  <a:pt x="329" y="2"/>
                  <a:pt x="327" y="0"/>
                  <a:pt x="325" y="0"/>
                </a:cubicBezTo>
                <a:cubicBezTo>
                  <a:pt x="322" y="0"/>
                  <a:pt x="320" y="2"/>
                  <a:pt x="320" y="5"/>
                </a:cubicBezTo>
                <a:cubicBezTo>
                  <a:pt x="320" y="7"/>
                  <a:pt x="322" y="9"/>
                  <a:pt x="325" y="9"/>
                </a:cubicBezTo>
                <a:close/>
                <a:moveTo>
                  <a:pt x="327" y="18"/>
                </a:moveTo>
                <a:cubicBezTo>
                  <a:pt x="327" y="21"/>
                  <a:pt x="329" y="23"/>
                  <a:pt x="332" y="23"/>
                </a:cubicBezTo>
                <a:cubicBezTo>
                  <a:pt x="334" y="23"/>
                  <a:pt x="336" y="21"/>
                  <a:pt x="336" y="18"/>
                </a:cubicBezTo>
                <a:cubicBezTo>
                  <a:pt x="336" y="16"/>
                  <a:pt x="334" y="14"/>
                  <a:pt x="332" y="14"/>
                </a:cubicBezTo>
                <a:cubicBezTo>
                  <a:pt x="329" y="14"/>
                  <a:pt x="327" y="16"/>
                  <a:pt x="327" y="18"/>
                </a:cubicBezTo>
                <a:close/>
                <a:moveTo>
                  <a:pt x="388" y="59"/>
                </a:moveTo>
                <a:cubicBezTo>
                  <a:pt x="388" y="62"/>
                  <a:pt x="390" y="64"/>
                  <a:pt x="393" y="64"/>
                </a:cubicBezTo>
                <a:cubicBezTo>
                  <a:pt x="395" y="64"/>
                  <a:pt x="397" y="62"/>
                  <a:pt x="397" y="59"/>
                </a:cubicBezTo>
                <a:cubicBezTo>
                  <a:pt x="397" y="57"/>
                  <a:pt x="395" y="55"/>
                  <a:pt x="393" y="55"/>
                </a:cubicBezTo>
                <a:cubicBezTo>
                  <a:pt x="390" y="55"/>
                  <a:pt x="388" y="57"/>
                  <a:pt x="388" y="59"/>
                </a:cubicBezTo>
                <a:close/>
                <a:moveTo>
                  <a:pt x="434" y="27"/>
                </a:moveTo>
                <a:cubicBezTo>
                  <a:pt x="431" y="27"/>
                  <a:pt x="429" y="29"/>
                  <a:pt x="429" y="32"/>
                </a:cubicBezTo>
                <a:cubicBezTo>
                  <a:pt x="429" y="34"/>
                  <a:pt x="431" y="37"/>
                  <a:pt x="434" y="37"/>
                </a:cubicBezTo>
                <a:cubicBezTo>
                  <a:pt x="436" y="37"/>
                  <a:pt x="438" y="34"/>
                  <a:pt x="438" y="32"/>
                </a:cubicBezTo>
                <a:cubicBezTo>
                  <a:pt x="438" y="29"/>
                  <a:pt x="436" y="27"/>
                  <a:pt x="434" y="27"/>
                </a:cubicBezTo>
                <a:close/>
                <a:moveTo>
                  <a:pt x="422" y="46"/>
                </a:moveTo>
                <a:cubicBezTo>
                  <a:pt x="422" y="48"/>
                  <a:pt x="424" y="50"/>
                  <a:pt x="427" y="50"/>
                </a:cubicBezTo>
                <a:cubicBezTo>
                  <a:pt x="429" y="50"/>
                  <a:pt x="431" y="48"/>
                  <a:pt x="431" y="46"/>
                </a:cubicBezTo>
                <a:cubicBezTo>
                  <a:pt x="431" y="43"/>
                  <a:pt x="429" y="41"/>
                  <a:pt x="427" y="41"/>
                </a:cubicBezTo>
                <a:cubicBezTo>
                  <a:pt x="424" y="41"/>
                  <a:pt x="422" y="43"/>
                  <a:pt x="422" y="46"/>
                </a:cubicBezTo>
                <a:close/>
                <a:moveTo>
                  <a:pt x="447" y="27"/>
                </a:moveTo>
                <a:cubicBezTo>
                  <a:pt x="445" y="27"/>
                  <a:pt x="443" y="29"/>
                  <a:pt x="443" y="32"/>
                </a:cubicBezTo>
                <a:cubicBezTo>
                  <a:pt x="443" y="34"/>
                  <a:pt x="445" y="37"/>
                  <a:pt x="447" y="37"/>
                </a:cubicBezTo>
                <a:cubicBezTo>
                  <a:pt x="450" y="37"/>
                  <a:pt x="452" y="34"/>
                  <a:pt x="452" y="32"/>
                </a:cubicBezTo>
                <a:cubicBezTo>
                  <a:pt x="452" y="29"/>
                  <a:pt x="450" y="27"/>
                  <a:pt x="447" y="27"/>
                </a:cubicBezTo>
                <a:close/>
                <a:moveTo>
                  <a:pt x="402" y="59"/>
                </a:moveTo>
                <a:cubicBezTo>
                  <a:pt x="402" y="62"/>
                  <a:pt x="404" y="64"/>
                  <a:pt x="406" y="64"/>
                </a:cubicBezTo>
                <a:cubicBezTo>
                  <a:pt x="409" y="64"/>
                  <a:pt x="411" y="62"/>
                  <a:pt x="411" y="59"/>
                </a:cubicBezTo>
                <a:cubicBezTo>
                  <a:pt x="411" y="57"/>
                  <a:pt x="409" y="55"/>
                  <a:pt x="406" y="55"/>
                </a:cubicBezTo>
                <a:cubicBezTo>
                  <a:pt x="404" y="55"/>
                  <a:pt x="402" y="57"/>
                  <a:pt x="402" y="59"/>
                </a:cubicBezTo>
                <a:close/>
                <a:moveTo>
                  <a:pt x="416" y="59"/>
                </a:moveTo>
                <a:cubicBezTo>
                  <a:pt x="416" y="62"/>
                  <a:pt x="418" y="64"/>
                  <a:pt x="420" y="64"/>
                </a:cubicBezTo>
                <a:cubicBezTo>
                  <a:pt x="423" y="64"/>
                  <a:pt x="425" y="62"/>
                  <a:pt x="425" y="59"/>
                </a:cubicBezTo>
                <a:cubicBezTo>
                  <a:pt x="425" y="57"/>
                  <a:pt x="423" y="55"/>
                  <a:pt x="420" y="55"/>
                </a:cubicBezTo>
                <a:cubicBezTo>
                  <a:pt x="418" y="55"/>
                  <a:pt x="416" y="57"/>
                  <a:pt x="416" y="59"/>
                </a:cubicBezTo>
                <a:close/>
                <a:moveTo>
                  <a:pt x="413" y="41"/>
                </a:moveTo>
                <a:cubicBezTo>
                  <a:pt x="411" y="41"/>
                  <a:pt x="409" y="43"/>
                  <a:pt x="409" y="46"/>
                </a:cubicBezTo>
                <a:cubicBezTo>
                  <a:pt x="409" y="48"/>
                  <a:pt x="411" y="50"/>
                  <a:pt x="413" y="50"/>
                </a:cubicBezTo>
                <a:cubicBezTo>
                  <a:pt x="416" y="50"/>
                  <a:pt x="418" y="48"/>
                  <a:pt x="418" y="46"/>
                </a:cubicBezTo>
                <a:cubicBezTo>
                  <a:pt x="418" y="43"/>
                  <a:pt x="416" y="41"/>
                  <a:pt x="413" y="41"/>
                </a:cubicBezTo>
                <a:close/>
                <a:moveTo>
                  <a:pt x="465" y="87"/>
                </a:moveTo>
                <a:cubicBezTo>
                  <a:pt x="465" y="84"/>
                  <a:pt x="463" y="82"/>
                  <a:pt x="461" y="82"/>
                </a:cubicBezTo>
                <a:cubicBezTo>
                  <a:pt x="458" y="82"/>
                  <a:pt x="456" y="84"/>
                  <a:pt x="456" y="87"/>
                </a:cubicBezTo>
                <a:cubicBezTo>
                  <a:pt x="456" y="89"/>
                  <a:pt x="458" y="91"/>
                  <a:pt x="461" y="91"/>
                </a:cubicBezTo>
                <a:cubicBezTo>
                  <a:pt x="463" y="91"/>
                  <a:pt x="465" y="89"/>
                  <a:pt x="465" y="87"/>
                </a:cubicBezTo>
                <a:close/>
                <a:moveTo>
                  <a:pt x="450" y="46"/>
                </a:moveTo>
                <a:cubicBezTo>
                  <a:pt x="450" y="48"/>
                  <a:pt x="452" y="50"/>
                  <a:pt x="454" y="50"/>
                </a:cubicBezTo>
                <a:cubicBezTo>
                  <a:pt x="457" y="50"/>
                  <a:pt x="459" y="48"/>
                  <a:pt x="459" y="46"/>
                </a:cubicBezTo>
                <a:cubicBezTo>
                  <a:pt x="459" y="43"/>
                  <a:pt x="457" y="41"/>
                  <a:pt x="454" y="41"/>
                </a:cubicBezTo>
                <a:cubicBezTo>
                  <a:pt x="452" y="41"/>
                  <a:pt x="450" y="43"/>
                  <a:pt x="450" y="46"/>
                </a:cubicBezTo>
                <a:close/>
                <a:moveTo>
                  <a:pt x="479" y="59"/>
                </a:moveTo>
                <a:cubicBezTo>
                  <a:pt x="479" y="57"/>
                  <a:pt x="477" y="55"/>
                  <a:pt x="475" y="55"/>
                </a:cubicBezTo>
                <a:cubicBezTo>
                  <a:pt x="472" y="55"/>
                  <a:pt x="470" y="57"/>
                  <a:pt x="470" y="59"/>
                </a:cubicBezTo>
                <a:cubicBezTo>
                  <a:pt x="470" y="62"/>
                  <a:pt x="472" y="64"/>
                  <a:pt x="475" y="64"/>
                </a:cubicBezTo>
                <a:cubicBezTo>
                  <a:pt x="477" y="64"/>
                  <a:pt x="479" y="62"/>
                  <a:pt x="479" y="59"/>
                </a:cubicBezTo>
                <a:close/>
                <a:moveTo>
                  <a:pt x="472" y="73"/>
                </a:moveTo>
                <a:cubicBezTo>
                  <a:pt x="472" y="70"/>
                  <a:pt x="470" y="68"/>
                  <a:pt x="468" y="68"/>
                </a:cubicBezTo>
                <a:cubicBezTo>
                  <a:pt x="465" y="68"/>
                  <a:pt x="463" y="70"/>
                  <a:pt x="463" y="73"/>
                </a:cubicBezTo>
                <a:cubicBezTo>
                  <a:pt x="463" y="75"/>
                  <a:pt x="465" y="77"/>
                  <a:pt x="468" y="77"/>
                </a:cubicBezTo>
                <a:cubicBezTo>
                  <a:pt x="470" y="77"/>
                  <a:pt x="472" y="75"/>
                  <a:pt x="472" y="73"/>
                </a:cubicBezTo>
                <a:close/>
                <a:moveTo>
                  <a:pt x="475" y="27"/>
                </a:moveTo>
                <a:cubicBezTo>
                  <a:pt x="472" y="27"/>
                  <a:pt x="470" y="29"/>
                  <a:pt x="470" y="32"/>
                </a:cubicBezTo>
                <a:cubicBezTo>
                  <a:pt x="470" y="34"/>
                  <a:pt x="472" y="37"/>
                  <a:pt x="475" y="37"/>
                </a:cubicBezTo>
                <a:cubicBezTo>
                  <a:pt x="477" y="37"/>
                  <a:pt x="479" y="34"/>
                  <a:pt x="479" y="32"/>
                </a:cubicBezTo>
                <a:cubicBezTo>
                  <a:pt x="479" y="29"/>
                  <a:pt x="477" y="27"/>
                  <a:pt x="475" y="27"/>
                </a:cubicBezTo>
                <a:close/>
                <a:moveTo>
                  <a:pt x="461" y="27"/>
                </a:moveTo>
                <a:cubicBezTo>
                  <a:pt x="458" y="27"/>
                  <a:pt x="456" y="29"/>
                  <a:pt x="456" y="32"/>
                </a:cubicBezTo>
                <a:cubicBezTo>
                  <a:pt x="456" y="34"/>
                  <a:pt x="458" y="37"/>
                  <a:pt x="461" y="37"/>
                </a:cubicBezTo>
                <a:cubicBezTo>
                  <a:pt x="463" y="37"/>
                  <a:pt x="465" y="34"/>
                  <a:pt x="465" y="32"/>
                </a:cubicBezTo>
                <a:cubicBezTo>
                  <a:pt x="465" y="29"/>
                  <a:pt x="463" y="27"/>
                  <a:pt x="461" y="27"/>
                </a:cubicBezTo>
                <a:close/>
                <a:moveTo>
                  <a:pt x="463" y="46"/>
                </a:moveTo>
                <a:cubicBezTo>
                  <a:pt x="463" y="48"/>
                  <a:pt x="465" y="50"/>
                  <a:pt x="468" y="50"/>
                </a:cubicBezTo>
                <a:cubicBezTo>
                  <a:pt x="470" y="50"/>
                  <a:pt x="472" y="48"/>
                  <a:pt x="472" y="46"/>
                </a:cubicBezTo>
                <a:cubicBezTo>
                  <a:pt x="472" y="43"/>
                  <a:pt x="470" y="41"/>
                  <a:pt x="468" y="41"/>
                </a:cubicBezTo>
                <a:cubicBezTo>
                  <a:pt x="465" y="41"/>
                  <a:pt x="463" y="43"/>
                  <a:pt x="463" y="46"/>
                </a:cubicBezTo>
                <a:close/>
                <a:moveTo>
                  <a:pt x="436" y="46"/>
                </a:moveTo>
                <a:cubicBezTo>
                  <a:pt x="436" y="48"/>
                  <a:pt x="438" y="50"/>
                  <a:pt x="441" y="50"/>
                </a:cubicBezTo>
                <a:cubicBezTo>
                  <a:pt x="443" y="50"/>
                  <a:pt x="445" y="48"/>
                  <a:pt x="445" y="46"/>
                </a:cubicBezTo>
                <a:cubicBezTo>
                  <a:pt x="445" y="43"/>
                  <a:pt x="443" y="41"/>
                  <a:pt x="441" y="41"/>
                </a:cubicBezTo>
                <a:cubicBezTo>
                  <a:pt x="438" y="41"/>
                  <a:pt x="436" y="43"/>
                  <a:pt x="436" y="46"/>
                </a:cubicBezTo>
                <a:close/>
                <a:moveTo>
                  <a:pt x="327" y="100"/>
                </a:moveTo>
                <a:cubicBezTo>
                  <a:pt x="327" y="103"/>
                  <a:pt x="329" y="105"/>
                  <a:pt x="332" y="105"/>
                </a:cubicBezTo>
                <a:cubicBezTo>
                  <a:pt x="334" y="105"/>
                  <a:pt x="336" y="103"/>
                  <a:pt x="336" y="100"/>
                </a:cubicBezTo>
                <a:cubicBezTo>
                  <a:pt x="336" y="98"/>
                  <a:pt x="334" y="96"/>
                  <a:pt x="332" y="96"/>
                </a:cubicBezTo>
                <a:cubicBezTo>
                  <a:pt x="329" y="96"/>
                  <a:pt x="327" y="98"/>
                  <a:pt x="327" y="100"/>
                </a:cubicBezTo>
                <a:close/>
                <a:moveTo>
                  <a:pt x="334" y="87"/>
                </a:moveTo>
                <a:cubicBezTo>
                  <a:pt x="334" y="89"/>
                  <a:pt x="336" y="91"/>
                  <a:pt x="338" y="91"/>
                </a:cubicBezTo>
                <a:cubicBezTo>
                  <a:pt x="341" y="91"/>
                  <a:pt x="343" y="89"/>
                  <a:pt x="343" y="87"/>
                </a:cubicBezTo>
                <a:cubicBezTo>
                  <a:pt x="343" y="84"/>
                  <a:pt x="341" y="82"/>
                  <a:pt x="338" y="82"/>
                </a:cubicBezTo>
                <a:cubicBezTo>
                  <a:pt x="336" y="82"/>
                  <a:pt x="334" y="84"/>
                  <a:pt x="334" y="87"/>
                </a:cubicBezTo>
                <a:close/>
                <a:moveTo>
                  <a:pt x="345" y="41"/>
                </a:moveTo>
                <a:cubicBezTo>
                  <a:pt x="343" y="41"/>
                  <a:pt x="341" y="43"/>
                  <a:pt x="341" y="46"/>
                </a:cubicBezTo>
                <a:cubicBezTo>
                  <a:pt x="341" y="48"/>
                  <a:pt x="343" y="50"/>
                  <a:pt x="345" y="50"/>
                </a:cubicBezTo>
                <a:cubicBezTo>
                  <a:pt x="348" y="50"/>
                  <a:pt x="350" y="48"/>
                  <a:pt x="350" y="46"/>
                </a:cubicBezTo>
                <a:cubicBezTo>
                  <a:pt x="350" y="43"/>
                  <a:pt x="348" y="41"/>
                  <a:pt x="345" y="41"/>
                </a:cubicBezTo>
                <a:close/>
                <a:moveTo>
                  <a:pt x="325" y="27"/>
                </a:moveTo>
                <a:cubicBezTo>
                  <a:pt x="322" y="27"/>
                  <a:pt x="320" y="29"/>
                  <a:pt x="320" y="32"/>
                </a:cubicBezTo>
                <a:cubicBezTo>
                  <a:pt x="320" y="34"/>
                  <a:pt x="322" y="37"/>
                  <a:pt x="325" y="37"/>
                </a:cubicBezTo>
                <a:cubicBezTo>
                  <a:pt x="327" y="37"/>
                  <a:pt x="329" y="34"/>
                  <a:pt x="329" y="32"/>
                </a:cubicBezTo>
                <a:cubicBezTo>
                  <a:pt x="329" y="29"/>
                  <a:pt x="327" y="27"/>
                  <a:pt x="325" y="27"/>
                </a:cubicBezTo>
                <a:close/>
                <a:moveTo>
                  <a:pt x="313" y="46"/>
                </a:moveTo>
                <a:cubicBezTo>
                  <a:pt x="313" y="48"/>
                  <a:pt x="315" y="50"/>
                  <a:pt x="318" y="50"/>
                </a:cubicBezTo>
                <a:cubicBezTo>
                  <a:pt x="320" y="50"/>
                  <a:pt x="322" y="48"/>
                  <a:pt x="322" y="46"/>
                </a:cubicBezTo>
                <a:cubicBezTo>
                  <a:pt x="322" y="43"/>
                  <a:pt x="320" y="41"/>
                  <a:pt x="318" y="41"/>
                </a:cubicBezTo>
                <a:cubicBezTo>
                  <a:pt x="315" y="41"/>
                  <a:pt x="313" y="43"/>
                  <a:pt x="313" y="46"/>
                </a:cubicBezTo>
                <a:close/>
                <a:moveTo>
                  <a:pt x="352" y="82"/>
                </a:moveTo>
                <a:cubicBezTo>
                  <a:pt x="349" y="82"/>
                  <a:pt x="347" y="84"/>
                  <a:pt x="347" y="87"/>
                </a:cubicBezTo>
                <a:cubicBezTo>
                  <a:pt x="347" y="89"/>
                  <a:pt x="349" y="91"/>
                  <a:pt x="352" y="91"/>
                </a:cubicBezTo>
                <a:cubicBezTo>
                  <a:pt x="354" y="91"/>
                  <a:pt x="356" y="89"/>
                  <a:pt x="356" y="87"/>
                </a:cubicBezTo>
                <a:cubicBezTo>
                  <a:pt x="356" y="84"/>
                  <a:pt x="354" y="82"/>
                  <a:pt x="352" y="82"/>
                </a:cubicBezTo>
                <a:close/>
                <a:moveTo>
                  <a:pt x="386" y="41"/>
                </a:moveTo>
                <a:cubicBezTo>
                  <a:pt x="384" y="41"/>
                  <a:pt x="381" y="43"/>
                  <a:pt x="381" y="46"/>
                </a:cubicBezTo>
                <a:cubicBezTo>
                  <a:pt x="381" y="48"/>
                  <a:pt x="384" y="50"/>
                  <a:pt x="386" y="50"/>
                </a:cubicBezTo>
                <a:cubicBezTo>
                  <a:pt x="389" y="50"/>
                  <a:pt x="391" y="48"/>
                  <a:pt x="391" y="46"/>
                </a:cubicBezTo>
                <a:cubicBezTo>
                  <a:pt x="391" y="43"/>
                  <a:pt x="389" y="41"/>
                  <a:pt x="386" y="41"/>
                </a:cubicBezTo>
                <a:close/>
                <a:moveTo>
                  <a:pt x="359" y="96"/>
                </a:moveTo>
                <a:cubicBezTo>
                  <a:pt x="356" y="96"/>
                  <a:pt x="354" y="98"/>
                  <a:pt x="354" y="100"/>
                </a:cubicBezTo>
                <a:cubicBezTo>
                  <a:pt x="354" y="103"/>
                  <a:pt x="356" y="105"/>
                  <a:pt x="359" y="105"/>
                </a:cubicBezTo>
                <a:cubicBezTo>
                  <a:pt x="361" y="105"/>
                  <a:pt x="363" y="103"/>
                  <a:pt x="363" y="100"/>
                </a:cubicBezTo>
                <a:cubicBezTo>
                  <a:pt x="363" y="98"/>
                  <a:pt x="361" y="96"/>
                  <a:pt x="359" y="96"/>
                </a:cubicBezTo>
                <a:close/>
                <a:moveTo>
                  <a:pt x="400" y="41"/>
                </a:moveTo>
                <a:cubicBezTo>
                  <a:pt x="397" y="41"/>
                  <a:pt x="395" y="43"/>
                  <a:pt x="395" y="46"/>
                </a:cubicBezTo>
                <a:cubicBezTo>
                  <a:pt x="395" y="48"/>
                  <a:pt x="397" y="50"/>
                  <a:pt x="400" y="50"/>
                </a:cubicBezTo>
                <a:cubicBezTo>
                  <a:pt x="402" y="50"/>
                  <a:pt x="404" y="48"/>
                  <a:pt x="404" y="46"/>
                </a:cubicBezTo>
                <a:cubicBezTo>
                  <a:pt x="404" y="43"/>
                  <a:pt x="402" y="41"/>
                  <a:pt x="400" y="41"/>
                </a:cubicBezTo>
                <a:close/>
                <a:moveTo>
                  <a:pt x="95" y="127"/>
                </a:moveTo>
                <a:cubicBezTo>
                  <a:pt x="95" y="130"/>
                  <a:pt x="98" y="132"/>
                  <a:pt x="100" y="132"/>
                </a:cubicBezTo>
                <a:cubicBezTo>
                  <a:pt x="103" y="132"/>
                  <a:pt x="105" y="130"/>
                  <a:pt x="105" y="127"/>
                </a:cubicBezTo>
                <a:cubicBezTo>
                  <a:pt x="105" y="125"/>
                  <a:pt x="103" y="123"/>
                  <a:pt x="100" y="123"/>
                </a:cubicBezTo>
                <a:cubicBezTo>
                  <a:pt x="98" y="123"/>
                  <a:pt x="95" y="125"/>
                  <a:pt x="95" y="127"/>
                </a:cubicBezTo>
                <a:close/>
                <a:moveTo>
                  <a:pt x="375" y="196"/>
                </a:moveTo>
                <a:cubicBezTo>
                  <a:pt x="375" y="198"/>
                  <a:pt x="377" y="200"/>
                  <a:pt x="379" y="200"/>
                </a:cubicBezTo>
                <a:cubicBezTo>
                  <a:pt x="382" y="200"/>
                  <a:pt x="384" y="198"/>
                  <a:pt x="384" y="196"/>
                </a:cubicBezTo>
                <a:cubicBezTo>
                  <a:pt x="384" y="193"/>
                  <a:pt x="382" y="191"/>
                  <a:pt x="379" y="191"/>
                </a:cubicBezTo>
                <a:cubicBezTo>
                  <a:pt x="377" y="191"/>
                  <a:pt x="375" y="193"/>
                  <a:pt x="375" y="196"/>
                </a:cubicBezTo>
                <a:close/>
                <a:moveTo>
                  <a:pt x="361" y="114"/>
                </a:moveTo>
                <a:cubicBezTo>
                  <a:pt x="361" y="116"/>
                  <a:pt x="363" y="118"/>
                  <a:pt x="366" y="118"/>
                </a:cubicBezTo>
                <a:cubicBezTo>
                  <a:pt x="368" y="118"/>
                  <a:pt x="370" y="116"/>
                  <a:pt x="370" y="114"/>
                </a:cubicBezTo>
                <a:cubicBezTo>
                  <a:pt x="370" y="111"/>
                  <a:pt x="368" y="109"/>
                  <a:pt x="366" y="109"/>
                </a:cubicBezTo>
                <a:cubicBezTo>
                  <a:pt x="363" y="109"/>
                  <a:pt x="361" y="111"/>
                  <a:pt x="361" y="114"/>
                </a:cubicBezTo>
                <a:close/>
                <a:moveTo>
                  <a:pt x="372" y="41"/>
                </a:moveTo>
                <a:cubicBezTo>
                  <a:pt x="370" y="41"/>
                  <a:pt x="368" y="43"/>
                  <a:pt x="368" y="46"/>
                </a:cubicBezTo>
                <a:cubicBezTo>
                  <a:pt x="368" y="48"/>
                  <a:pt x="370" y="50"/>
                  <a:pt x="372" y="50"/>
                </a:cubicBezTo>
                <a:cubicBezTo>
                  <a:pt x="375" y="50"/>
                  <a:pt x="377" y="48"/>
                  <a:pt x="377" y="46"/>
                </a:cubicBezTo>
                <a:cubicBezTo>
                  <a:pt x="377" y="43"/>
                  <a:pt x="375" y="41"/>
                  <a:pt x="372" y="41"/>
                </a:cubicBezTo>
                <a:close/>
                <a:moveTo>
                  <a:pt x="363" y="591"/>
                </a:moveTo>
                <a:cubicBezTo>
                  <a:pt x="363" y="589"/>
                  <a:pt x="361" y="587"/>
                  <a:pt x="359" y="587"/>
                </a:cubicBezTo>
                <a:cubicBezTo>
                  <a:pt x="356" y="587"/>
                  <a:pt x="354" y="589"/>
                  <a:pt x="354" y="591"/>
                </a:cubicBezTo>
                <a:cubicBezTo>
                  <a:pt x="354" y="594"/>
                  <a:pt x="356" y="596"/>
                  <a:pt x="359" y="596"/>
                </a:cubicBezTo>
                <a:cubicBezTo>
                  <a:pt x="361" y="596"/>
                  <a:pt x="363" y="594"/>
                  <a:pt x="363" y="591"/>
                </a:cubicBezTo>
                <a:close/>
                <a:moveTo>
                  <a:pt x="350" y="619"/>
                </a:moveTo>
                <a:cubicBezTo>
                  <a:pt x="350" y="616"/>
                  <a:pt x="348" y="614"/>
                  <a:pt x="345" y="614"/>
                </a:cubicBezTo>
                <a:cubicBezTo>
                  <a:pt x="343" y="614"/>
                  <a:pt x="341" y="616"/>
                  <a:pt x="341" y="619"/>
                </a:cubicBezTo>
                <a:cubicBezTo>
                  <a:pt x="341" y="621"/>
                  <a:pt x="343" y="623"/>
                  <a:pt x="345" y="623"/>
                </a:cubicBezTo>
                <a:cubicBezTo>
                  <a:pt x="348" y="623"/>
                  <a:pt x="350" y="621"/>
                  <a:pt x="350" y="619"/>
                </a:cubicBezTo>
                <a:close/>
                <a:moveTo>
                  <a:pt x="356" y="605"/>
                </a:moveTo>
                <a:cubicBezTo>
                  <a:pt x="356" y="602"/>
                  <a:pt x="354" y="600"/>
                  <a:pt x="352" y="600"/>
                </a:cubicBezTo>
                <a:cubicBezTo>
                  <a:pt x="349" y="600"/>
                  <a:pt x="347" y="602"/>
                  <a:pt x="347" y="605"/>
                </a:cubicBezTo>
                <a:cubicBezTo>
                  <a:pt x="347" y="607"/>
                  <a:pt x="349" y="609"/>
                  <a:pt x="352" y="609"/>
                </a:cubicBezTo>
                <a:cubicBezTo>
                  <a:pt x="354" y="609"/>
                  <a:pt x="356" y="607"/>
                  <a:pt x="356" y="605"/>
                </a:cubicBezTo>
                <a:close/>
                <a:moveTo>
                  <a:pt x="261" y="278"/>
                </a:moveTo>
                <a:cubicBezTo>
                  <a:pt x="261" y="275"/>
                  <a:pt x="259" y="273"/>
                  <a:pt x="257" y="273"/>
                </a:cubicBezTo>
                <a:cubicBezTo>
                  <a:pt x="254" y="273"/>
                  <a:pt x="252" y="275"/>
                  <a:pt x="252" y="278"/>
                </a:cubicBezTo>
                <a:cubicBezTo>
                  <a:pt x="252" y="280"/>
                  <a:pt x="254" y="282"/>
                  <a:pt x="257" y="282"/>
                </a:cubicBezTo>
                <a:cubicBezTo>
                  <a:pt x="259" y="282"/>
                  <a:pt x="261" y="280"/>
                  <a:pt x="261" y="278"/>
                </a:cubicBezTo>
                <a:close/>
                <a:moveTo>
                  <a:pt x="307" y="59"/>
                </a:moveTo>
                <a:cubicBezTo>
                  <a:pt x="307" y="62"/>
                  <a:pt x="309" y="64"/>
                  <a:pt x="311" y="64"/>
                </a:cubicBezTo>
                <a:cubicBezTo>
                  <a:pt x="314" y="64"/>
                  <a:pt x="316" y="62"/>
                  <a:pt x="316" y="59"/>
                </a:cubicBezTo>
                <a:cubicBezTo>
                  <a:pt x="316" y="57"/>
                  <a:pt x="314" y="55"/>
                  <a:pt x="311" y="55"/>
                </a:cubicBezTo>
                <a:cubicBezTo>
                  <a:pt x="309" y="55"/>
                  <a:pt x="307" y="57"/>
                  <a:pt x="307" y="59"/>
                </a:cubicBezTo>
                <a:close/>
                <a:moveTo>
                  <a:pt x="370" y="578"/>
                </a:moveTo>
                <a:cubicBezTo>
                  <a:pt x="370" y="575"/>
                  <a:pt x="368" y="573"/>
                  <a:pt x="366" y="573"/>
                </a:cubicBezTo>
                <a:cubicBezTo>
                  <a:pt x="363" y="573"/>
                  <a:pt x="361" y="575"/>
                  <a:pt x="361" y="578"/>
                </a:cubicBezTo>
                <a:cubicBezTo>
                  <a:pt x="361" y="580"/>
                  <a:pt x="363" y="582"/>
                  <a:pt x="366" y="582"/>
                </a:cubicBezTo>
                <a:cubicBezTo>
                  <a:pt x="368" y="582"/>
                  <a:pt x="370" y="580"/>
                  <a:pt x="370" y="578"/>
                </a:cubicBezTo>
                <a:close/>
                <a:moveTo>
                  <a:pt x="372" y="596"/>
                </a:moveTo>
                <a:cubicBezTo>
                  <a:pt x="375" y="596"/>
                  <a:pt x="377" y="594"/>
                  <a:pt x="377" y="591"/>
                </a:cubicBezTo>
                <a:cubicBezTo>
                  <a:pt x="377" y="589"/>
                  <a:pt x="375" y="587"/>
                  <a:pt x="372" y="587"/>
                </a:cubicBezTo>
                <a:cubicBezTo>
                  <a:pt x="370" y="587"/>
                  <a:pt x="368" y="589"/>
                  <a:pt x="368" y="591"/>
                </a:cubicBezTo>
                <a:cubicBezTo>
                  <a:pt x="368" y="594"/>
                  <a:pt x="370" y="596"/>
                  <a:pt x="372" y="596"/>
                </a:cubicBezTo>
                <a:close/>
                <a:moveTo>
                  <a:pt x="338" y="637"/>
                </a:moveTo>
                <a:cubicBezTo>
                  <a:pt x="341" y="637"/>
                  <a:pt x="343" y="635"/>
                  <a:pt x="343" y="632"/>
                </a:cubicBezTo>
                <a:cubicBezTo>
                  <a:pt x="343" y="630"/>
                  <a:pt x="341" y="628"/>
                  <a:pt x="338" y="628"/>
                </a:cubicBezTo>
                <a:cubicBezTo>
                  <a:pt x="336" y="628"/>
                  <a:pt x="334" y="630"/>
                  <a:pt x="334" y="632"/>
                </a:cubicBezTo>
                <a:cubicBezTo>
                  <a:pt x="334" y="635"/>
                  <a:pt x="336" y="637"/>
                  <a:pt x="338" y="637"/>
                </a:cubicBezTo>
                <a:close/>
                <a:moveTo>
                  <a:pt x="338" y="473"/>
                </a:moveTo>
                <a:cubicBezTo>
                  <a:pt x="341" y="473"/>
                  <a:pt x="343" y="471"/>
                  <a:pt x="343" y="468"/>
                </a:cubicBezTo>
                <a:cubicBezTo>
                  <a:pt x="343" y="466"/>
                  <a:pt x="341" y="464"/>
                  <a:pt x="338" y="464"/>
                </a:cubicBezTo>
                <a:cubicBezTo>
                  <a:pt x="336" y="464"/>
                  <a:pt x="334" y="466"/>
                  <a:pt x="334" y="468"/>
                </a:cubicBezTo>
                <a:cubicBezTo>
                  <a:pt x="334" y="471"/>
                  <a:pt x="336" y="473"/>
                  <a:pt x="338" y="473"/>
                </a:cubicBezTo>
                <a:close/>
                <a:moveTo>
                  <a:pt x="318" y="296"/>
                </a:moveTo>
                <a:cubicBezTo>
                  <a:pt x="320" y="296"/>
                  <a:pt x="322" y="294"/>
                  <a:pt x="322" y="291"/>
                </a:cubicBezTo>
                <a:cubicBezTo>
                  <a:pt x="322" y="289"/>
                  <a:pt x="320" y="287"/>
                  <a:pt x="318" y="287"/>
                </a:cubicBezTo>
                <a:cubicBezTo>
                  <a:pt x="315" y="287"/>
                  <a:pt x="313" y="289"/>
                  <a:pt x="313" y="291"/>
                </a:cubicBezTo>
                <a:cubicBezTo>
                  <a:pt x="313" y="294"/>
                  <a:pt x="315" y="296"/>
                  <a:pt x="318" y="296"/>
                </a:cubicBezTo>
                <a:close/>
                <a:moveTo>
                  <a:pt x="325" y="446"/>
                </a:moveTo>
                <a:cubicBezTo>
                  <a:pt x="327" y="446"/>
                  <a:pt x="329" y="444"/>
                  <a:pt x="329" y="441"/>
                </a:cubicBezTo>
                <a:cubicBezTo>
                  <a:pt x="329" y="439"/>
                  <a:pt x="327" y="437"/>
                  <a:pt x="325" y="437"/>
                </a:cubicBezTo>
                <a:cubicBezTo>
                  <a:pt x="322" y="437"/>
                  <a:pt x="320" y="439"/>
                  <a:pt x="320" y="441"/>
                </a:cubicBezTo>
                <a:cubicBezTo>
                  <a:pt x="320" y="444"/>
                  <a:pt x="322" y="446"/>
                  <a:pt x="325" y="446"/>
                </a:cubicBezTo>
                <a:close/>
                <a:moveTo>
                  <a:pt x="332" y="459"/>
                </a:moveTo>
                <a:cubicBezTo>
                  <a:pt x="334" y="459"/>
                  <a:pt x="336" y="457"/>
                  <a:pt x="336" y="455"/>
                </a:cubicBezTo>
                <a:cubicBezTo>
                  <a:pt x="336" y="452"/>
                  <a:pt x="334" y="450"/>
                  <a:pt x="332" y="450"/>
                </a:cubicBezTo>
                <a:cubicBezTo>
                  <a:pt x="329" y="450"/>
                  <a:pt x="327" y="452"/>
                  <a:pt x="327" y="455"/>
                </a:cubicBezTo>
                <a:cubicBezTo>
                  <a:pt x="327" y="457"/>
                  <a:pt x="329" y="459"/>
                  <a:pt x="332" y="459"/>
                </a:cubicBezTo>
                <a:close/>
                <a:moveTo>
                  <a:pt x="334" y="496"/>
                </a:moveTo>
                <a:cubicBezTo>
                  <a:pt x="334" y="498"/>
                  <a:pt x="336" y="500"/>
                  <a:pt x="338" y="500"/>
                </a:cubicBezTo>
                <a:cubicBezTo>
                  <a:pt x="341" y="500"/>
                  <a:pt x="343" y="498"/>
                  <a:pt x="343" y="496"/>
                </a:cubicBezTo>
                <a:cubicBezTo>
                  <a:pt x="343" y="493"/>
                  <a:pt x="341" y="491"/>
                  <a:pt x="338" y="491"/>
                </a:cubicBezTo>
                <a:cubicBezTo>
                  <a:pt x="336" y="491"/>
                  <a:pt x="334" y="493"/>
                  <a:pt x="334" y="496"/>
                </a:cubicBezTo>
                <a:close/>
                <a:moveTo>
                  <a:pt x="334" y="523"/>
                </a:moveTo>
                <a:cubicBezTo>
                  <a:pt x="334" y="526"/>
                  <a:pt x="336" y="528"/>
                  <a:pt x="338" y="528"/>
                </a:cubicBezTo>
                <a:cubicBezTo>
                  <a:pt x="341" y="528"/>
                  <a:pt x="343" y="526"/>
                  <a:pt x="343" y="523"/>
                </a:cubicBezTo>
                <a:cubicBezTo>
                  <a:pt x="343" y="521"/>
                  <a:pt x="341" y="519"/>
                  <a:pt x="338" y="519"/>
                </a:cubicBezTo>
                <a:cubicBezTo>
                  <a:pt x="336" y="519"/>
                  <a:pt x="334" y="521"/>
                  <a:pt x="334" y="523"/>
                </a:cubicBezTo>
                <a:close/>
                <a:moveTo>
                  <a:pt x="465" y="468"/>
                </a:moveTo>
                <a:cubicBezTo>
                  <a:pt x="465" y="466"/>
                  <a:pt x="463" y="464"/>
                  <a:pt x="461" y="464"/>
                </a:cubicBezTo>
                <a:cubicBezTo>
                  <a:pt x="458" y="464"/>
                  <a:pt x="456" y="466"/>
                  <a:pt x="456" y="468"/>
                </a:cubicBezTo>
                <a:cubicBezTo>
                  <a:pt x="456" y="471"/>
                  <a:pt x="458" y="473"/>
                  <a:pt x="461" y="473"/>
                </a:cubicBezTo>
                <a:cubicBezTo>
                  <a:pt x="463" y="473"/>
                  <a:pt x="465" y="471"/>
                  <a:pt x="465" y="468"/>
                </a:cubicBezTo>
                <a:close/>
                <a:moveTo>
                  <a:pt x="445" y="482"/>
                </a:moveTo>
                <a:cubicBezTo>
                  <a:pt x="445" y="480"/>
                  <a:pt x="443" y="478"/>
                  <a:pt x="441" y="478"/>
                </a:cubicBezTo>
                <a:cubicBezTo>
                  <a:pt x="438" y="478"/>
                  <a:pt x="436" y="480"/>
                  <a:pt x="436" y="482"/>
                </a:cubicBezTo>
                <a:cubicBezTo>
                  <a:pt x="436" y="485"/>
                  <a:pt x="438" y="487"/>
                  <a:pt x="441" y="487"/>
                </a:cubicBezTo>
                <a:cubicBezTo>
                  <a:pt x="443" y="487"/>
                  <a:pt x="445" y="485"/>
                  <a:pt x="445" y="482"/>
                </a:cubicBezTo>
                <a:close/>
                <a:moveTo>
                  <a:pt x="447" y="500"/>
                </a:moveTo>
                <a:cubicBezTo>
                  <a:pt x="450" y="500"/>
                  <a:pt x="452" y="498"/>
                  <a:pt x="452" y="496"/>
                </a:cubicBezTo>
                <a:cubicBezTo>
                  <a:pt x="452" y="493"/>
                  <a:pt x="450" y="491"/>
                  <a:pt x="447" y="491"/>
                </a:cubicBezTo>
                <a:cubicBezTo>
                  <a:pt x="445" y="491"/>
                  <a:pt x="443" y="493"/>
                  <a:pt x="443" y="496"/>
                </a:cubicBezTo>
                <a:cubicBezTo>
                  <a:pt x="443" y="498"/>
                  <a:pt x="445" y="500"/>
                  <a:pt x="447" y="500"/>
                </a:cubicBezTo>
                <a:close/>
                <a:moveTo>
                  <a:pt x="431" y="509"/>
                </a:moveTo>
                <a:cubicBezTo>
                  <a:pt x="431" y="507"/>
                  <a:pt x="429" y="505"/>
                  <a:pt x="427" y="505"/>
                </a:cubicBezTo>
                <a:cubicBezTo>
                  <a:pt x="424" y="505"/>
                  <a:pt x="422" y="507"/>
                  <a:pt x="422" y="509"/>
                </a:cubicBezTo>
                <a:cubicBezTo>
                  <a:pt x="422" y="512"/>
                  <a:pt x="424" y="514"/>
                  <a:pt x="427" y="514"/>
                </a:cubicBezTo>
                <a:cubicBezTo>
                  <a:pt x="429" y="514"/>
                  <a:pt x="431" y="512"/>
                  <a:pt x="431" y="509"/>
                </a:cubicBezTo>
                <a:close/>
                <a:moveTo>
                  <a:pt x="438" y="496"/>
                </a:moveTo>
                <a:cubicBezTo>
                  <a:pt x="438" y="493"/>
                  <a:pt x="436" y="491"/>
                  <a:pt x="434" y="491"/>
                </a:cubicBezTo>
                <a:cubicBezTo>
                  <a:pt x="431" y="491"/>
                  <a:pt x="429" y="493"/>
                  <a:pt x="429" y="496"/>
                </a:cubicBezTo>
                <a:cubicBezTo>
                  <a:pt x="429" y="498"/>
                  <a:pt x="431" y="500"/>
                  <a:pt x="434" y="500"/>
                </a:cubicBezTo>
                <a:cubicBezTo>
                  <a:pt x="436" y="500"/>
                  <a:pt x="438" y="498"/>
                  <a:pt x="438" y="496"/>
                </a:cubicBezTo>
                <a:close/>
                <a:moveTo>
                  <a:pt x="459" y="482"/>
                </a:moveTo>
                <a:cubicBezTo>
                  <a:pt x="459" y="480"/>
                  <a:pt x="457" y="478"/>
                  <a:pt x="454" y="478"/>
                </a:cubicBezTo>
                <a:cubicBezTo>
                  <a:pt x="452" y="478"/>
                  <a:pt x="450" y="480"/>
                  <a:pt x="450" y="482"/>
                </a:cubicBezTo>
                <a:cubicBezTo>
                  <a:pt x="450" y="485"/>
                  <a:pt x="452" y="487"/>
                  <a:pt x="454" y="487"/>
                </a:cubicBezTo>
                <a:cubicBezTo>
                  <a:pt x="457" y="487"/>
                  <a:pt x="459" y="485"/>
                  <a:pt x="459" y="482"/>
                </a:cubicBezTo>
                <a:close/>
                <a:moveTo>
                  <a:pt x="461" y="109"/>
                </a:moveTo>
                <a:cubicBezTo>
                  <a:pt x="458" y="109"/>
                  <a:pt x="456" y="111"/>
                  <a:pt x="456" y="114"/>
                </a:cubicBezTo>
                <a:cubicBezTo>
                  <a:pt x="456" y="116"/>
                  <a:pt x="458" y="118"/>
                  <a:pt x="461" y="118"/>
                </a:cubicBezTo>
                <a:cubicBezTo>
                  <a:pt x="463" y="118"/>
                  <a:pt x="465" y="116"/>
                  <a:pt x="465" y="114"/>
                </a:cubicBezTo>
                <a:cubicBezTo>
                  <a:pt x="465" y="111"/>
                  <a:pt x="463" y="109"/>
                  <a:pt x="461" y="109"/>
                </a:cubicBezTo>
                <a:close/>
                <a:moveTo>
                  <a:pt x="418" y="537"/>
                </a:moveTo>
                <a:cubicBezTo>
                  <a:pt x="418" y="534"/>
                  <a:pt x="416" y="532"/>
                  <a:pt x="413" y="532"/>
                </a:cubicBezTo>
                <a:cubicBezTo>
                  <a:pt x="411" y="532"/>
                  <a:pt x="409" y="534"/>
                  <a:pt x="409" y="537"/>
                </a:cubicBezTo>
                <a:cubicBezTo>
                  <a:pt x="409" y="539"/>
                  <a:pt x="411" y="541"/>
                  <a:pt x="413" y="541"/>
                </a:cubicBezTo>
                <a:cubicBezTo>
                  <a:pt x="416" y="541"/>
                  <a:pt x="418" y="539"/>
                  <a:pt x="418" y="537"/>
                </a:cubicBezTo>
                <a:close/>
                <a:moveTo>
                  <a:pt x="404" y="537"/>
                </a:moveTo>
                <a:cubicBezTo>
                  <a:pt x="404" y="534"/>
                  <a:pt x="402" y="532"/>
                  <a:pt x="400" y="532"/>
                </a:cubicBezTo>
                <a:cubicBezTo>
                  <a:pt x="397" y="532"/>
                  <a:pt x="395" y="534"/>
                  <a:pt x="395" y="537"/>
                </a:cubicBezTo>
                <a:cubicBezTo>
                  <a:pt x="395" y="539"/>
                  <a:pt x="397" y="541"/>
                  <a:pt x="400" y="541"/>
                </a:cubicBezTo>
                <a:cubicBezTo>
                  <a:pt x="402" y="541"/>
                  <a:pt x="404" y="539"/>
                  <a:pt x="404" y="537"/>
                </a:cubicBezTo>
                <a:close/>
                <a:moveTo>
                  <a:pt x="425" y="523"/>
                </a:moveTo>
                <a:cubicBezTo>
                  <a:pt x="425" y="521"/>
                  <a:pt x="423" y="519"/>
                  <a:pt x="420" y="519"/>
                </a:cubicBezTo>
                <a:cubicBezTo>
                  <a:pt x="418" y="519"/>
                  <a:pt x="416" y="521"/>
                  <a:pt x="416" y="523"/>
                </a:cubicBezTo>
                <a:cubicBezTo>
                  <a:pt x="416" y="526"/>
                  <a:pt x="418" y="528"/>
                  <a:pt x="420" y="528"/>
                </a:cubicBezTo>
                <a:cubicBezTo>
                  <a:pt x="423" y="528"/>
                  <a:pt x="425" y="526"/>
                  <a:pt x="425" y="523"/>
                </a:cubicBezTo>
                <a:close/>
                <a:moveTo>
                  <a:pt x="391" y="564"/>
                </a:moveTo>
                <a:cubicBezTo>
                  <a:pt x="391" y="561"/>
                  <a:pt x="389" y="559"/>
                  <a:pt x="386" y="559"/>
                </a:cubicBezTo>
                <a:cubicBezTo>
                  <a:pt x="384" y="559"/>
                  <a:pt x="381" y="561"/>
                  <a:pt x="381" y="564"/>
                </a:cubicBezTo>
                <a:cubicBezTo>
                  <a:pt x="381" y="566"/>
                  <a:pt x="384" y="568"/>
                  <a:pt x="386" y="568"/>
                </a:cubicBezTo>
                <a:cubicBezTo>
                  <a:pt x="389" y="568"/>
                  <a:pt x="391" y="566"/>
                  <a:pt x="391" y="564"/>
                </a:cubicBezTo>
                <a:close/>
                <a:moveTo>
                  <a:pt x="397" y="550"/>
                </a:moveTo>
                <a:cubicBezTo>
                  <a:pt x="397" y="548"/>
                  <a:pt x="395" y="546"/>
                  <a:pt x="393" y="546"/>
                </a:cubicBezTo>
                <a:cubicBezTo>
                  <a:pt x="390" y="546"/>
                  <a:pt x="388" y="548"/>
                  <a:pt x="388" y="550"/>
                </a:cubicBezTo>
                <a:cubicBezTo>
                  <a:pt x="388" y="553"/>
                  <a:pt x="390" y="555"/>
                  <a:pt x="393" y="555"/>
                </a:cubicBezTo>
                <a:cubicBezTo>
                  <a:pt x="395" y="555"/>
                  <a:pt x="397" y="553"/>
                  <a:pt x="397" y="550"/>
                </a:cubicBezTo>
                <a:close/>
                <a:moveTo>
                  <a:pt x="406" y="555"/>
                </a:moveTo>
                <a:cubicBezTo>
                  <a:pt x="409" y="555"/>
                  <a:pt x="411" y="553"/>
                  <a:pt x="411" y="550"/>
                </a:cubicBezTo>
                <a:cubicBezTo>
                  <a:pt x="411" y="548"/>
                  <a:pt x="409" y="546"/>
                  <a:pt x="406" y="546"/>
                </a:cubicBezTo>
                <a:cubicBezTo>
                  <a:pt x="404" y="546"/>
                  <a:pt x="402" y="548"/>
                  <a:pt x="402" y="550"/>
                </a:cubicBezTo>
                <a:cubicBezTo>
                  <a:pt x="402" y="553"/>
                  <a:pt x="404" y="555"/>
                  <a:pt x="406" y="555"/>
                </a:cubicBezTo>
                <a:close/>
                <a:moveTo>
                  <a:pt x="384" y="578"/>
                </a:moveTo>
                <a:cubicBezTo>
                  <a:pt x="384" y="575"/>
                  <a:pt x="382" y="573"/>
                  <a:pt x="379" y="573"/>
                </a:cubicBezTo>
                <a:cubicBezTo>
                  <a:pt x="377" y="573"/>
                  <a:pt x="375" y="575"/>
                  <a:pt x="375" y="578"/>
                </a:cubicBezTo>
                <a:cubicBezTo>
                  <a:pt x="375" y="580"/>
                  <a:pt x="377" y="582"/>
                  <a:pt x="379" y="582"/>
                </a:cubicBezTo>
                <a:cubicBezTo>
                  <a:pt x="382" y="582"/>
                  <a:pt x="384" y="580"/>
                  <a:pt x="384" y="578"/>
                </a:cubicBezTo>
                <a:close/>
                <a:moveTo>
                  <a:pt x="345" y="650"/>
                </a:moveTo>
                <a:cubicBezTo>
                  <a:pt x="348" y="650"/>
                  <a:pt x="350" y="648"/>
                  <a:pt x="350" y="646"/>
                </a:cubicBezTo>
                <a:cubicBezTo>
                  <a:pt x="350" y="643"/>
                  <a:pt x="348" y="641"/>
                  <a:pt x="345" y="641"/>
                </a:cubicBezTo>
                <a:cubicBezTo>
                  <a:pt x="343" y="641"/>
                  <a:pt x="341" y="643"/>
                  <a:pt x="341" y="646"/>
                </a:cubicBezTo>
                <a:cubicBezTo>
                  <a:pt x="341" y="648"/>
                  <a:pt x="343" y="650"/>
                  <a:pt x="345" y="650"/>
                </a:cubicBezTo>
                <a:close/>
                <a:moveTo>
                  <a:pt x="154" y="214"/>
                </a:moveTo>
                <a:cubicBezTo>
                  <a:pt x="157" y="214"/>
                  <a:pt x="159" y="212"/>
                  <a:pt x="159" y="209"/>
                </a:cubicBezTo>
                <a:cubicBezTo>
                  <a:pt x="159" y="207"/>
                  <a:pt x="157" y="205"/>
                  <a:pt x="154" y="205"/>
                </a:cubicBezTo>
                <a:cubicBezTo>
                  <a:pt x="152" y="205"/>
                  <a:pt x="150" y="207"/>
                  <a:pt x="150" y="209"/>
                </a:cubicBezTo>
                <a:cubicBezTo>
                  <a:pt x="150" y="212"/>
                  <a:pt x="152" y="214"/>
                  <a:pt x="154" y="214"/>
                </a:cubicBezTo>
                <a:close/>
                <a:moveTo>
                  <a:pt x="168" y="268"/>
                </a:moveTo>
                <a:cubicBezTo>
                  <a:pt x="171" y="268"/>
                  <a:pt x="173" y="266"/>
                  <a:pt x="173" y="264"/>
                </a:cubicBezTo>
                <a:cubicBezTo>
                  <a:pt x="173" y="261"/>
                  <a:pt x="171" y="259"/>
                  <a:pt x="168" y="259"/>
                </a:cubicBezTo>
                <a:cubicBezTo>
                  <a:pt x="166" y="259"/>
                  <a:pt x="164" y="261"/>
                  <a:pt x="164" y="264"/>
                </a:cubicBezTo>
                <a:cubicBezTo>
                  <a:pt x="164" y="266"/>
                  <a:pt x="166" y="268"/>
                  <a:pt x="168" y="268"/>
                </a:cubicBezTo>
                <a:close/>
                <a:moveTo>
                  <a:pt x="148" y="173"/>
                </a:moveTo>
                <a:cubicBezTo>
                  <a:pt x="150" y="173"/>
                  <a:pt x="152" y="171"/>
                  <a:pt x="152" y="168"/>
                </a:cubicBezTo>
                <a:cubicBezTo>
                  <a:pt x="152" y="166"/>
                  <a:pt x="150" y="164"/>
                  <a:pt x="148" y="164"/>
                </a:cubicBezTo>
                <a:cubicBezTo>
                  <a:pt x="145" y="164"/>
                  <a:pt x="143" y="166"/>
                  <a:pt x="143" y="168"/>
                </a:cubicBezTo>
                <a:cubicBezTo>
                  <a:pt x="143" y="171"/>
                  <a:pt x="145" y="173"/>
                  <a:pt x="148" y="173"/>
                </a:cubicBezTo>
                <a:close/>
                <a:moveTo>
                  <a:pt x="145" y="155"/>
                </a:moveTo>
                <a:cubicBezTo>
                  <a:pt x="145" y="152"/>
                  <a:pt x="143" y="150"/>
                  <a:pt x="141" y="150"/>
                </a:cubicBezTo>
                <a:cubicBezTo>
                  <a:pt x="138" y="150"/>
                  <a:pt x="136" y="152"/>
                  <a:pt x="136" y="155"/>
                </a:cubicBezTo>
                <a:cubicBezTo>
                  <a:pt x="136" y="157"/>
                  <a:pt x="138" y="159"/>
                  <a:pt x="141" y="159"/>
                </a:cubicBezTo>
                <a:cubicBezTo>
                  <a:pt x="143" y="159"/>
                  <a:pt x="145" y="157"/>
                  <a:pt x="145" y="155"/>
                </a:cubicBezTo>
                <a:close/>
                <a:moveTo>
                  <a:pt x="150" y="237"/>
                </a:moveTo>
                <a:cubicBezTo>
                  <a:pt x="150" y="239"/>
                  <a:pt x="152" y="241"/>
                  <a:pt x="154" y="241"/>
                </a:cubicBezTo>
                <a:cubicBezTo>
                  <a:pt x="157" y="241"/>
                  <a:pt x="159" y="239"/>
                  <a:pt x="159" y="237"/>
                </a:cubicBezTo>
                <a:cubicBezTo>
                  <a:pt x="159" y="234"/>
                  <a:pt x="157" y="232"/>
                  <a:pt x="154" y="232"/>
                </a:cubicBezTo>
                <a:cubicBezTo>
                  <a:pt x="152" y="232"/>
                  <a:pt x="150" y="234"/>
                  <a:pt x="150" y="237"/>
                </a:cubicBezTo>
                <a:close/>
                <a:moveTo>
                  <a:pt x="150" y="155"/>
                </a:moveTo>
                <a:cubicBezTo>
                  <a:pt x="150" y="157"/>
                  <a:pt x="152" y="159"/>
                  <a:pt x="154" y="159"/>
                </a:cubicBezTo>
                <a:cubicBezTo>
                  <a:pt x="157" y="159"/>
                  <a:pt x="159" y="157"/>
                  <a:pt x="159" y="155"/>
                </a:cubicBezTo>
                <a:cubicBezTo>
                  <a:pt x="159" y="152"/>
                  <a:pt x="157" y="150"/>
                  <a:pt x="154" y="150"/>
                </a:cubicBezTo>
                <a:cubicBezTo>
                  <a:pt x="152" y="150"/>
                  <a:pt x="150" y="152"/>
                  <a:pt x="150" y="155"/>
                </a:cubicBezTo>
                <a:close/>
                <a:moveTo>
                  <a:pt x="143" y="196"/>
                </a:moveTo>
                <a:cubicBezTo>
                  <a:pt x="143" y="198"/>
                  <a:pt x="145" y="200"/>
                  <a:pt x="148" y="200"/>
                </a:cubicBezTo>
                <a:cubicBezTo>
                  <a:pt x="150" y="200"/>
                  <a:pt x="152" y="198"/>
                  <a:pt x="152" y="196"/>
                </a:cubicBezTo>
                <a:cubicBezTo>
                  <a:pt x="152" y="193"/>
                  <a:pt x="150" y="191"/>
                  <a:pt x="148" y="191"/>
                </a:cubicBezTo>
                <a:cubicBezTo>
                  <a:pt x="145" y="191"/>
                  <a:pt x="143" y="193"/>
                  <a:pt x="143" y="196"/>
                </a:cubicBezTo>
                <a:close/>
                <a:moveTo>
                  <a:pt x="134" y="173"/>
                </a:moveTo>
                <a:cubicBezTo>
                  <a:pt x="137" y="173"/>
                  <a:pt x="139" y="171"/>
                  <a:pt x="139" y="168"/>
                </a:cubicBezTo>
                <a:cubicBezTo>
                  <a:pt x="139" y="166"/>
                  <a:pt x="137" y="164"/>
                  <a:pt x="134" y="164"/>
                </a:cubicBezTo>
                <a:cubicBezTo>
                  <a:pt x="132" y="164"/>
                  <a:pt x="130" y="166"/>
                  <a:pt x="130" y="168"/>
                </a:cubicBezTo>
                <a:cubicBezTo>
                  <a:pt x="130" y="171"/>
                  <a:pt x="132" y="173"/>
                  <a:pt x="134" y="173"/>
                </a:cubicBezTo>
                <a:close/>
                <a:moveTo>
                  <a:pt x="141" y="123"/>
                </a:moveTo>
                <a:cubicBezTo>
                  <a:pt x="138" y="123"/>
                  <a:pt x="136" y="125"/>
                  <a:pt x="136" y="127"/>
                </a:cubicBezTo>
                <a:cubicBezTo>
                  <a:pt x="136" y="130"/>
                  <a:pt x="138" y="132"/>
                  <a:pt x="141" y="132"/>
                </a:cubicBezTo>
                <a:cubicBezTo>
                  <a:pt x="143" y="132"/>
                  <a:pt x="145" y="130"/>
                  <a:pt x="145" y="127"/>
                </a:cubicBezTo>
                <a:cubicBezTo>
                  <a:pt x="145" y="125"/>
                  <a:pt x="143" y="123"/>
                  <a:pt x="141" y="123"/>
                </a:cubicBezTo>
                <a:close/>
                <a:moveTo>
                  <a:pt x="148" y="137"/>
                </a:moveTo>
                <a:cubicBezTo>
                  <a:pt x="145" y="137"/>
                  <a:pt x="143" y="139"/>
                  <a:pt x="143" y="141"/>
                </a:cubicBezTo>
                <a:cubicBezTo>
                  <a:pt x="143" y="144"/>
                  <a:pt x="145" y="146"/>
                  <a:pt x="148" y="146"/>
                </a:cubicBezTo>
                <a:cubicBezTo>
                  <a:pt x="150" y="146"/>
                  <a:pt x="152" y="144"/>
                  <a:pt x="152" y="141"/>
                </a:cubicBezTo>
                <a:cubicBezTo>
                  <a:pt x="152" y="139"/>
                  <a:pt x="150" y="137"/>
                  <a:pt x="148" y="137"/>
                </a:cubicBezTo>
                <a:close/>
                <a:moveTo>
                  <a:pt x="304" y="41"/>
                </a:moveTo>
                <a:cubicBezTo>
                  <a:pt x="302" y="41"/>
                  <a:pt x="300" y="43"/>
                  <a:pt x="300" y="46"/>
                </a:cubicBezTo>
                <a:cubicBezTo>
                  <a:pt x="300" y="48"/>
                  <a:pt x="302" y="50"/>
                  <a:pt x="304" y="50"/>
                </a:cubicBezTo>
                <a:cubicBezTo>
                  <a:pt x="307" y="50"/>
                  <a:pt x="309" y="48"/>
                  <a:pt x="309" y="46"/>
                </a:cubicBezTo>
                <a:cubicBezTo>
                  <a:pt x="309" y="43"/>
                  <a:pt x="307" y="41"/>
                  <a:pt x="304" y="41"/>
                </a:cubicBezTo>
                <a:close/>
                <a:moveTo>
                  <a:pt x="127" y="159"/>
                </a:moveTo>
                <a:cubicBezTo>
                  <a:pt x="130" y="159"/>
                  <a:pt x="132" y="157"/>
                  <a:pt x="132" y="155"/>
                </a:cubicBezTo>
                <a:cubicBezTo>
                  <a:pt x="132" y="152"/>
                  <a:pt x="130" y="150"/>
                  <a:pt x="127" y="150"/>
                </a:cubicBezTo>
                <a:cubicBezTo>
                  <a:pt x="125" y="150"/>
                  <a:pt x="123" y="152"/>
                  <a:pt x="123" y="155"/>
                </a:cubicBezTo>
                <a:cubicBezTo>
                  <a:pt x="123" y="157"/>
                  <a:pt x="125" y="159"/>
                  <a:pt x="127" y="159"/>
                </a:cubicBezTo>
                <a:close/>
                <a:moveTo>
                  <a:pt x="127" y="123"/>
                </a:moveTo>
                <a:cubicBezTo>
                  <a:pt x="125" y="123"/>
                  <a:pt x="123" y="125"/>
                  <a:pt x="123" y="127"/>
                </a:cubicBezTo>
                <a:cubicBezTo>
                  <a:pt x="123" y="130"/>
                  <a:pt x="125" y="132"/>
                  <a:pt x="127" y="132"/>
                </a:cubicBezTo>
                <a:cubicBezTo>
                  <a:pt x="130" y="132"/>
                  <a:pt x="132" y="130"/>
                  <a:pt x="132" y="127"/>
                </a:cubicBezTo>
                <a:cubicBezTo>
                  <a:pt x="132" y="125"/>
                  <a:pt x="130" y="123"/>
                  <a:pt x="127" y="123"/>
                </a:cubicBezTo>
                <a:close/>
                <a:moveTo>
                  <a:pt x="161" y="255"/>
                </a:moveTo>
                <a:cubicBezTo>
                  <a:pt x="164" y="255"/>
                  <a:pt x="166" y="253"/>
                  <a:pt x="166" y="250"/>
                </a:cubicBezTo>
                <a:cubicBezTo>
                  <a:pt x="166" y="248"/>
                  <a:pt x="164" y="246"/>
                  <a:pt x="161" y="246"/>
                </a:cubicBezTo>
                <a:cubicBezTo>
                  <a:pt x="159" y="246"/>
                  <a:pt x="157" y="248"/>
                  <a:pt x="157" y="250"/>
                </a:cubicBezTo>
                <a:cubicBezTo>
                  <a:pt x="157" y="253"/>
                  <a:pt x="159" y="255"/>
                  <a:pt x="161" y="255"/>
                </a:cubicBezTo>
                <a:close/>
                <a:moveTo>
                  <a:pt x="248" y="332"/>
                </a:moveTo>
                <a:cubicBezTo>
                  <a:pt x="248" y="330"/>
                  <a:pt x="246" y="328"/>
                  <a:pt x="243" y="328"/>
                </a:cubicBezTo>
                <a:cubicBezTo>
                  <a:pt x="240" y="328"/>
                  <a:pt x="238" y="330"/>
                  <a:pt x="238" y="332"/>
                </a:cubicBezTo>
                <a:cubicBezTo>
                  <a:pt x="238" y="335"/>
                  <a:pt x="240" y="337"/>
                  <a:pt x="243" y="337"/>
                </a:cubicBezTo>
                <a:cubicBezTo>
                  <a:pt x="246" y="337"/>
                  <a:pt x="248" y="335"/>
                  <a:pt x="248" y="332"/>
                </a:cubicBezTo>
                <a:close/>
                <a:moveTo>
                  <a:pt x="236" y="350"/>
                </a:moveTo>
                <a:cubicBezTo>
                  <a:pt x="239" y="350"/>
                  <a:pt x="241" y="348"/>
                  <a:pt x="241" y="346"/>
                </a:cubicBezTo>
                <a:cubicBezTo>
                  <a:pt x="241" y="343"/>
                  <a:pt x="239" y="341"/>
                  <a:pt x="236" y="341"/>
                </a:cubicBezTo>
                <a:cubicBezTo>
                  <a:pt x="234" y="341"/>
                  <a:pt x="232" y="343"/>
                  <a:pt x="232" y="346"/>
                </a:cubicBezTo>
                <a:cubicBezTo>
                  <a:pt x="232" y="348"/>
                  <a:pt x="234" y="350"/>
                  <a:pt x="236" y="350"/>
                </a:cubicBezTo>
                <a:close/>
                <a:moveTo>
                  <a:pt x="229" y="337"/>
                </a:moveTo>
                <a:cubicBezTo>
                  <a:pt x="232" y="337"/>
                  <a:pt x="234" y="335"/>
                  <a:pt x="234" y="332"/>
                </a:cubicBezTo>
                <a:cubicBezTo>
                  <a:pt x="234" y="330"/>
                  <a:pt x="232" y="328"/>
                  <a:pt x="229" y="328"/>
                </a:cubicBezTo>
                <a:cubicBezTo>
                  <a:pt x="227" y="328"/>
                  <a:pt x="225" y="330"/>
                  <a:pt x="225" y="332"/>
                </a:cubicBezTo>
                <a:cubicBezTo>
                  <a:pt x="225" y="335"/>
                  <a:pt x="227" y="337"/>
                  <a:pt x="229" y="337"/>
                </a:cubicBezTo>
                <a:close/>
                <a:moveTo>
                  <a:pt x="223" y="323"/>
                </a:moveTo>
                <a:cubicBezTo>
                  <a:pt x="225" y="323"/>
                  <a:pt x="227" y="321"/>
                  <a:pt x="227" y="318"/>
                </a:cubicBezTo>
                <a:cubicBezTo>
                  <a:pt x="227" y="316"/>
                  <a:pt x="225" y="314"/>
                  <a:pt x="223" y="314"/>
                </a:cubicBezTo>
                <a:cubicBezTo>
                  <a:pt x="220" y="314"/>
                  <a:pt x="218" y="316"/>
                  <a:pt x="218" y="318"/>
                </a:cubicBezTo>
                <a:cubicBezTo>
                  <a:pt x="218" y="321"/>
                  <a:pt x="220" y="323"/>
                  <a:pt x="223" y="323"/>
                </a:cubicBezTo>
                <a:close/>
                <a:moveTo>
                  <a:pt x="248" y="305"/>
                </a:moveTo>
                <a:cubicBezTo>
                  <a:pt x="248" y="302"/>
                  <a:pt x="246" y="300"/>
                  <a:pt x="243" y="300"/>
                </a:cubicBezTo>
                <a:cubicBezTo>
                  <a:pt x="240" y="300"/>
                  <a:pt x="238" y="302"/>
                  <a:pt x="238" y="305"/>
                </a:cubicBezTo>
                <a:cubicBezTo>
                  <a:pt x="238" y="307"/>
                  <a:pt x="240" y="309"/>
                  <a:pt x="243" y="309"/>
                </a:cubicBezTo>
                <a:cubicBezTo>
                  <a:pt x="246" y="309"/>
                  <a:pt x="248" y="307"/>
                  <a:pt x="248" y="305"/>
                </a:cubicBezTo>
                <a:close/>
                <a:moveTo>
                  <a:pt x="254" y="291"/>
                </a:moveTo>
                <a:cubicBezTo>
                  <a:pt x="254" y="289"/>
                  <a:pt x="252" y="287"/>
                  <a:pt x="250" y="287"/>
                </a:cubicBezTo>
                <a:cubicBezTo>
                  <a:pt x="247" y="287"/>
                  <a:pt x="245" y="289"/>
                  <a:pt x="245" y="291"/>
                </a:cubicBezTo>
                <a:cubicBezTo>
                  <a:pt x="245" y="294"/>
                  <a:pt x="247" y="296"/>
                  <a:pt x="250" y="296"/>
                </a:cubicBezTo>
                <a:cubicBezTo>
                  <a:pt x="252" y="296"/>
                  <a:pt x="254" y="294"/>
                  <a:pt x="254" y="291"/>
                </a:cubicBezTo>
                <a:close/>
                <a:moveTo>
                  <a:pt x="195" y="296"/>
                </a:moveTo>
                <a:cubicBezTo>
                  <a:pt x="198" y="296"/>
                  <a:pt x="200" y="294"/>
                  <a:pt x="200" y="291"/>
                </a:cubicBezTo>
                <a:cubicBezTo>
                  <a:pt x="200" y="289"/>
                  <a:pt x="198" y="287"/>
                  <a:pt x="195" y="287"/>
                </a:cubicBezTo>
                <a:cubicBezTo>
                  <a:pt x="193" y="287"/>
                  <a:pt x="191" y="289"/>
                  <a:pt x="191" y="291"/>
                </a:cubicBezTo>
                <a:cubicBezTo>
                  <a:pt x="191" y="294"/>
                  <a:pt x="193" y="296"/>
                  <a:pt x="195" y="296"/>
                </a:cubicBezTo>
                <a:close/>
                <a:moveTo>
                  <a:pt x="216" y="309"/>
                </a:moveTo>
                <a:cubicBezTo>
                  <a:pt x="218" y="309"/>
                  <a:pt x="220" y="307"/>
                  <a:pt x="220" y="305"/>
                </a:cubicBezTo>
                <a:cubicBezTo>
                  <a:pt x="220" y="302"/>
                  <a:pt x="218" y="300"/>
                  <a:pt x="216" y="300"/>
                </a:cubicBezTo>
                <a:cubicBezTo>
                  <a:pt x="213" y="300"/>
                  <a:pt x="211" y="302"/>
                  <a:pt x="211" y="305"/>
                </a:cubicBezTo>
                <a:cubicBezTo>
                  <a:pt x="211" y="307"/>
                  <a:pt x="213" y="309"/>
                  <a:pt x="216" y="309"/>
                </a:cubicBezTo>
                <a:close/>
                <a:moveTo>
                  <a:pt x="175" y="282"/>
                </a:moveTo>
                <a:cubicBezTo>
                  <a:pt x="177" y="282"/>
                  <a:pt x="179" y="280"/>
                  <a:pt x="179" y="278"/>
                </a:cubicBezTo>
                <a:cubicBezTo>
                  <a:pt x="179" y="275"/>
                  <a:pt x="177" y="273"/>
                  <a:pt x="175" y="273"/>
                </a:cubicBezTo>
                <a:cubicBezTo>
                  <a:pt x="172" y="273"/>
                  <a:pt x="170" y="275"/>
                  <a:pt x="170" y="278"/>
                </a:cubicBezTo>
                <a:cubicBezTo>
                  <a:pt x="170" y="280"/>
                  <a:pt x="172" y="282"/>
                  <a:pt x="175" y="282"/>
                </a:cubicBezTo>
                <a:close/>
                <a:moveTo>
                  <a:pt x="182" y="296"/>
                </a:moveTo>
                <a:cubicBezTo>
                  <a:pt x="184" y="296"/>
                  <a:pt x="186" y="294"/>
                  <a:pt x="186" y="291"/>
                </a:cubicBezTo>
                <a:cubicBezTo>
                  <a:pt x="186" y="289"/>
                  <a:pt x="184" y="287"/>
                  <a:pt x="182" y="287"/>
                </a:cubicBezTo>
                <a:cubicBezTo>
                  <a:pt x="179" y="287"/>
                  <a:pt x="177" y="289"/>
                  <a:pt x="177" y="291"/>
                </a:cubicBezTo>
                <a:cubicBezTo>
                  <a:pt x="177" y="294"/>
                  <a:pt x="179" y="296"/>
                  <a:pt x="182" y="296"/>
                </a:cubicBezTo>
                <a:close/>
                <a:moveTo>
                  <a:pt x="193" y="278"/>
                </a:moveTo>
                <a:cubicBezTo>
                  <a:pt x="193" y="275"/>
                  <a:pt x="191" y="273"/>
                  <a:pt x="189" y="273"/>
                </a:cubicBezTo>
                <a:cubicBezTo>
                  <a:pt x="186" y="273"/>
                  <a:pt x="184" y="275"/>
                  <a:pt x="184" y="278"/>
                </a:cubicBezTo>
                <a:cubicBezTo>
                  <a:pt x="184" y="280"/>
                  <a:pt x="186" y="282"/>
                  <a:pt x="189" y="282"/>
                </a:cubicBezTo>
                <a:cubicBezTo>
                  <a:pt x="191" y="282"/>
                  <a:pt x="193" y="280"/>
                  <a:pt x="193" y="278"/>
                </a:cubicBezTo>
                <a:close/>
                <a:moveTo>
                  <a:pt x="207" y="278"/>
                </a:moveTo>
                <a:cubicBezTo>
                  <a:pt x="207" y="275"/>
                  <a:pt x="205" y="273"/>
                  <a:pt x="202" y="273"/>
                </a:cubicBezTo>
                <a:cubicBezTo>
                  <a:pt x="200" y="273"/>
                  <a:pt x="198" y="275"/>
                  <a:pt x="198" y="278"/>
                </a:cubicBezTo>
                <a:cubicBezTo>
                  <a:pt x="198" y="280"/>
                  <a:pt x="200" y="282"/>
                  <a:pt x="202" y="282"/>
                </a:cubicBezTo>
                <a:cubicBezTo>
                  <a:pt x="205" y="282"/>
                  <a:pt x="207" y="280"/>
                  <a:pt x="207" y="278"/>
                </a:cubicBezTo>
                <a:close/>
                <a:moveTo>
                  <a:pt x="209" y="296"/>
                </a:moveTo>
                <a:cubicBezTo>
                  <a:pt x="211" y="296"/>
                  <a:pt x="214" y="294"/>
                  <a:pt x="214" y="291"/>
                </a:cubicBezTo>
                <a:cubicBezTo>
                  <a:pt x="214" y="289"/>
                  <a:pt x="211" y="287"/>
                  <a:pt x="209" y="287"/>
                </a:cubicBezTo>
                <a:cubicBezTo>
                  <a:pt x="206" y="287"/>
                  <a:pt x="204" y="289"/>
                  <a:pt x="204" y="291"/>
                </a:cubicBezTo>
                <a:cubicBezTo>
                  <a:pt x="204" y="294"/>
                  <a:pt x="206" y="296"/>
                  <a:pt x="209" y="296"/>
                </a:cubicBezTo>
                <a:close/>
                <a:moveTo>
                  <a:pt x="130" y="141"/>
                </a:moveTo>
                <a:cubicBezTo>
                  <a:pt x="130" y="144"/>
                  <a:pt x="132" y="146"/>
                  <a:pt x="134" y="146"/>
                </a:cubicBezTo>
                <a:cubicBezTo>
                  <a:pt x="137" y="146"/>
                  <a:pt x="139" y="144"/>
                  <a:pt x="139" y="141"/>
                </a:cubicBezTo>
                <a:cubicBezTo>
                  <a:pt x="139" y="139"/>
                  <a:pt x="137" y="137"/>
                  <a:pt x="134" y="137"/>
                </a:cubicBezTo>
                <a:cubicBezTo>
                  <a:pt x="132" y="137"/>
                  <a:pt x="130" y="139"/>
                  <a:pt x="130" y="141"/>
                </a:cubicBezTo>
                <a:close/>
                <a:moveTo>
                  <a:pt x="259" y="73"/>
                </a:moveTo>
                <a:cubicBezTo>
                  <a:pt x="259" y="75"/>
                  <a:pt x="261" y="77"/>
                  <a:pt x="263" y="77"/>
                </a:cubicBezTo>
                <a:cubicBezTo>
                  <a:pt x="266" y="77"/>
                  <a:pt x="268" y="75"/>
                  <a:pt x="268" y="73"/>
                </a:cubicBezTo>
                <a:cubicBezTo>
                  <a:pt x="268" y="70"/>
                  <a:pt x="266" y="68"/>
                  <a:pt x="263" y="68"/>
                </a:cubicBezTo>
                <a:cubicBezTo>
                  <a:pt x="261" y="68"/>
                  <a:pt x="259" y="70"/>
                  <a:pt x="259" y="73"/>
                </a:cubicBezTo>
                <a:close/>
                <a:moveTo>
                  <a:pt x="245" y="100"/>
                </a:moveTo>
                <a:cubicBezTo>
                  <a:pt x="245" y="103"/>
                  <a:pt x="247" y="105"/>
                  <a:pt x="250" y="105"/>
                </a:cubicBezTo>
                <a:cubicBezTo>
                  <a:pt x="252" y="105"/>
                  <a:pt x="254" y="103"/>
                  <a:pt x="254" y="100"/>
                </a:cubicBezTo>
                <a:cubicBezTo>
                  <a:pt x="254" y="98"/>
                  <a:pt x="252" y="96"/>
                  <a:pt x="250" y="96"/>
                </a:cubicBezTo>
                <a:cubicBezTo>
                  <a:pt x="247" y="96"/>
                  <a:pt x="245" y="98"/>
                  <a:pt x="245" y="100"/>
                </a:cubicBezTo>
                <a:close/>
                <a:moveTo>
                  <a:pt x="908" y="346"/>
                </a:moveTo>
                <a:cubicBezTo>
                  <a:pt x="908" y="343"/>
                  <a:pt x="906" y="341"/>
                  <a:pt x="904" y="341"/>
                </a:cubicBezTo>
                <a:cubicBezTo>
                  <a:pt x="901" y="341"/>
                  <a:pt x="899" y="343"/>
                  <a:pt x="899" y="346"/>
                </a:cubicBezTo>
                <a:cubicBezTo>
                  <a:pt x="899" y="348"/>
                  <a:pt x="901" y="350"/>
                  <a:pt x="904" y="350"/>
                </a:cubicBezTo>
                <a:cubicBezTo>
                  <a:pt x="906" y="350"/>
                  <a:pt x="908" y="348"/>
                  <a:pt x="908" y="346"/>
                </a:cubicBezTo>
                <a:close/>
                <a:moveTo>
                  <a:pt x="243" y="55"/>
                </a:moveTo>
                <a:cubicBezTo>
                  <a:pt x="240" y="55"/>
                  <a:pt x="238" y="57"/>
                  <a:pt x="238" y="59"/>
                </a:cubicBezTo>
                <a:cubicBezTo>
                  <a:pt x="238" y="62"/>
                  <a:pt x="240" y="64"/>
                  <a:pt x="243" y="64"/>
                </a:cubicBezTo>
                <a:cubicBezTo>
                  <a:pt x="246" y="64"/>
                  <a:pt x="248" y="62"/>
                  <a:pt x="248" y="59"/>
                </a:cubicBezTo>
                <a:cubicBezTo>
                  <a:pt x="248" y="57"/>
                  <a:pt x="246" y="55"/>
                  <a:pt x="243" y="55"/>
                </a:cubicBezTo>
                <a:close/>
                <a:moveTo>
                  <a:pt x="236" y="105"/>
                </a:moveTo>
                <a:cubicBezTo>
                  <a:pt x="239" y="105"/>
                  <a:pt x="241" y="103"/>
                  <a:pt x="241" y="100"/>
                </a:cubicBezTo>
                <a:cubicBezTo>
                  <a:pt x="241" y="98"/>
                  <a:pt x="239" y="96"/>
                  <a:pt x="236" y="96"/>
                </a:cubicBezTo>
                <a:cubicBezTo>
                  <a:pt x="234" y="96"/>
                  <a:pt x="232" y="98"/>
                  <a:pt x="232" y="100"/>
                </a:cubicBezTo>
                <a:cubicBezTo>
                  <a:pt x="232" y="103"/>
                  <a:pt x="234" y="105"/>
                  <a:pt x="236" y="105"/>
                </a:cubicBezTo>
                <a:close/>
                <a:moveTo>
                  <a:pt x="232" y="73"/>
                </a:moveTo>
                <a:cubicBezTo>
                  <a:pt x="232" y="75"/>
                  <a:pt x="234" y="77"/>
                  <a:pt x="236" y="77"/>
                </a:cubicBezTo>
                <a:cubicBezTo>
                  <a:pt x="239" y="77"/>
                  <a:pt x="241" y="75"/>
                  <a:pt x="241" y="73"/>
                </a:cubicBezTo>
                <a:cubicBezTo>
                  <a:pt x="241" y="70"/>
                  <a:pt x="239" y="68"/>
                  <a:pt x="236" y="68"/>
                </a:cubicBezTo>
                <a:cubicBezTo>
                  <a:pt x="234" y="68"/>
                  <a:pt x="232" y="70"/>
                  <a:pt x="232" y="73"/>
                </a:cubicBezTo>
                <a:close/>
                <a:moveTo>
                  <a:pt x="284" y="91"/>
                </a:moveTo>
                <a:cubicBezTo>
                  <a:pt x="286" y="91"/>
                  <a:pt x="288" y="89"/>
                  <a:pt x="288" y="87"/>
                </a:cubicBezTo>
                <a:cubicBezTo>
                  <a:pt x="288" y="84"/>
                  <a:pt x="286" y="82"/>
                  <a:pt x="284" y="82"/>
                </a:cubicBezTo>
                <a:cubicBezTo>
                  <a:pt x="281" y="82"/>
                  <a:pt x="279" y="84"/>
                  <a:pt x="279" y="87"/>
                </a:cubicBezTo>
                <a:cubicBezTo>
                  <a:pt x="279" y="89"/>
                  <a:pt x="281" y="91"/>
                  <a:pt x="284" y="91"/>
                </a:cubicBezTo>
                <a:close/>
                <a:moveTo>
                  <a:pt x="291" y="41"/>
                </a:moveTo>
                <a:cubicBezTo>
                  <a:pt x="288" y="41"/>
                  <a:pt x="286" y="43"/>
                  <a:pt x="286" y="46"/>
                </a:cubicBezTo>
                <a:cubicBezTo>
                  <a:pt x="286" y="48"/>
                  <a:pt x="288" y="50"/>
                  <a:pt x="291" y="50"/>
                </a:cubicBezTo>
                <a:cubicBezTo>
                  <a:pt x="293" y="50"/>
                  <a:pt x="295" y="48"/>
                  <a:pt x="295" y="46"/>
                </a:cubicBezTo>
                <a:cubicBezTo>
                  <a:pt x="295" y="43"/>
                  <a:pt x="293" y="41"/>
                  <a:pt x="291" y="41"/>
                </a:cubicBezTo>
                <a:close/>
                <a:moveTo>
                  <a:pt x="161" y="146"/>
                </a:moveTo>
                <a:cubicBezTo>
                  <a:pt x="164" y="146"/>
                  <a:pt x="166" y="144"/>
                  <a:pt x="166" y="141"/>
                </a:cubicBezTo>
                <a:cubicBezTo>
                  <a:pt x="166" y="139"/>
                  <a:pt x="164" y="137"/>
                  <a:pt x="161" y="137"/>
                </a:cubicBezTo>
                <a:cubicBezTo>
                  <a:pt x="159" y="137"/>
                  <a:pt x="157" y="139"/>
                  <a:pt x="157" y="141"/>
                </a:cubicBezTo>
                <a:cubicBezTo>
                  <a:pt x="157" y="144"/>
                  <a:pt x="159" y="146"/>
                  <a:pt x="161" y="146"/>
                </a:cubicBezTo>
                <a:close/>
                <a:moveTo>
                  <a:pt x="279" y="59"/>
                </a:moveTo>
                <a:cubicBezTo>
                  <a:pt x="279" y="62"/>
                  <a:pt x="281" y="64"/>
                  <a:pt x="284" y="64"/>
                </a:cubicBezTo>
                <a:cubicBezTo>
                  <a:pt x="286" y="64"/>
                  <a:pt x="288" y="62"/>
                  <a:pt x="288" y="59"/>
                </a:cubicBezTo>
                <a:cubicBezTo>
                  <a:pt x="288" y="57"/>
                  <a:pt x="286" y="55"/>
                  <a:pt x="284" y="55"/>
                </a:cubicBezTo>
                <a:cubicBezTo>
                  <a:pt x="281" y="55"/>
                  <a:pt x="279" y="57"/>
                  <a:pt x="279" y="59"/>
                </a:cubicBezTo>
                <a:close/>
                <a:moveTo>
                  <a:pt x="273" y="100"/>
                </a:moveTo>
                <a:cubicBezTo>
                  <a:pt x="273" y="103"/>
                  <a:pt x="275" y="105"/>
                  <a:pt x="277" y="105"/>
                </a:cubicBezTo>
                <a:cubicBezTo>
                  <a:pt x="280" y="105"/>
                  <a:pt x="282" y="103"/>
                  <a:pt x="282" y="100"/>
                </a:cubicBezTo>
                <a:cubicBezTo>
                  <a:pt x="282" y="98"/>
                  <a:pt x="280" y="96"/>
                  <a:pt x="277" y="96"/>
                </a:cubicBezTo>
                <a:cubicBezTo>
                  <a:pt x="275" y="96"/>
                  <a:pt x="273" y="98"/>
                  <a:pt x="273" y="100"/>
                </a:cubicBezTo>
                <a:close/>
                <a:moveTo>
                  <a:pt x="270" y="55"/>
                </a:moveTo>
                <a:cubicBezTo>
                  <a:pt x="268" y="55"/>
                  <a:pt x="266" y="57"/>
                  <a:pt x="266" y="59"/>
                </a:cubicBezTo>
                <a:cubicBezTo>
                  <a:pt x="266" y="62"/>
                  <a:pt x="268" y="64"/>
                  <a:pt x="270" y="64"/>
                </a:cubicBezTo>
                <a:cubicBezTo>
                  <a:pt x="273" y="64"/>
                  <a:pt x="275" y="62"/>
                  <a:pt x="275" y="59"/>
                </a:cubicBezTo>
                <a:cubicBezTo>
                  <a:pt x="275" y="57"/>
                  <a:pt x="273" y="55"/>
                  <a:pt x="270" y="55"/>
                </a:cubicBezTo>
                <a:close/>
                <a:moveTo>
                  <a:pt x="225" y="114"/>
                </a:moveTo>
                <a:cubicBezTo>
                  <a:pt x="225" y="116"/>
                  <a:pt x="227" y="118"/>
                  <a:pt x="229" y="118"/>
                </a:cubicBezTo>
                <a:cubicBezTo>
                  <a:pt x="232" y="118"/>
                  <a:pt x="234" y="116"/>
                  <a:pt x="234" y="114"/>
                </a:cubicBezTo>
                <a:cubicBezTo>
                  <a:pt x="234" y="111"/>
                  <a:pt x="232" y="109"/>
                  <a:pt x="229" y="109"/>
                </a:cubicBezTo>
                <a:cubicBezTo>
                  <a:pt x="227" y="109"/>
                  <a:pt x="225" y="111"/>
                  <a:pt x="225" y="114"/>
                </a:cubicBezTo>
                <a:close/>
                <a:moveTo>
                  <a:pt x="293" y="59"/>
                </a:moveTo>
                <a:cubicBezTo>
                  <a:pt x="293" y="62"/>
                  <a:pt x="295" y="64"/>
                  <a:pt x="297" y="64"/>
                </a:cubicBezTo>
                <a:cubicBezTo>
                  <a:pt x="300" y="64"/>
                  <a:pt x="302" y="62"/>
                  <a:pt x="302" y="59"/>
                </a:cubicBezTo>
                <a:cubicBezTo>
                  <a:pt x="302" y="57"/>
                  <a:pt x="300" y="55"/>
                  <a:pt x="297" y="55"/>
                </a:cubicBezTo>
                <a:cubicBezTo>
                  <a:pt x="295" y="55"/>
                  <a:pt x="293" y="57"/>
                  <a:pt x="293" y="59"/>
                </a:cubicBezTo>
                <a:close/>
                <a:moveTo>
                  <a:pt x="168" y="68"/>
                </a:moveTo>
                <a:cubicBezTo>
                  <a:pt x="166" y="68"/>
                  <a:pt x="164" y="70"/>
                  <a:pt x="164" y="73"/>
                </a:cubicBezTo>
                <a:cubicBezTo>
                  <a:pt x="164" y="75"/>
                  <a:pt x="166" y="77"/>
                  <a:pt x="168" y="77"/>
                </a:cubicBezTo>
                <a:cubicBezTo>
                  <a:pt x="171" y="77"/>
                  <a:pt x="173" y="75"/>
                  <a:pt x="173" y="73"/>
                </a:cubicBezTo>
                <a:cubicBezTo>
                  <a:pt x="173" y="70"/>
                  <a:pt x="171" y="68"/>
                  <a:pt x="168" y="68"/>
                </a:cubicBezTo>
                <a:close/>
                <a:moveTo>
                  <a:pt x="223" y="96"/>
                </a:moveTo>
                <a:cubicBezTo>
                  <a:pt x="220" y="96"/>
                  <a:pt x="218" y="98"/>
                  <a:pt x="218" y="100"/>
                </a:cubicBezTo>
                <a:cubicBezTo>
                  <a:pt x="218" y="103"/>
                  <a:pt x="220" y="105"/>
                  <a:pt x="223" y="105"/>
                </a:cubicBezTo>
                <a:cubicBezTo>
                  <a:pt x="225" y="105"/>
                  <a:pt x="227" y="103"/>
                  <a:pt x="227" y="100"/>
                </a:cubicBezTo>
                <a:cubicBezTo>
                  <a:pt x="227" y="98"/>
                  <a:pt x="225" y="96"/>
                  <a:pt x="223" y="96"/>
                </a:cubicBezTo>
                <a:close/>
                <a:moveTo>
                  <a:pt x="182" y="68"/>
                </a:moveTo>
                <a:cubicBezTo>
                  <a:pt x="179" y="68"/>
                  <a:pt x="177" y="70"/>
                  <a:pt x="177" y="73"/>
                </a:cubicBezTo>
                <a:cubicBezTo>
                  <a:pt x="177" y="75"/>
                  <a:pt x="179" y="77"/>
                  <a:pt x="182" y="77"/>
                </a:cubicBezTo>
                <a:cubicBezTo>
                  <a:pt x="184" y="77"/>
                  <a:pt x="186" y="75"/>
                  <a:pt x="186" y="73"/>
                </a:cubicBezTo>
                <a:cubicBezTo>
                  <a:pt x="186" y="70"/>
                  <a:pt x="184" y="68"/>
                  <a:pt x="182" y="68"/>
                </a:cubicBezTo>
                <a:close/>
                <a:moveTo>
                  <a:pt x="182" y="105"/>
                </a:moveTo>
                <a:cubicBezTo>
                  <a:pt x="184" y="105"/>
                  <a:pt x="186" y="103"/>
                  <a:pt x="186" y="100"/>
                </a:cubicBezTo>
                <a:cubicBezTo>
                  <a:pt x="186" y="98"/>
                  <a:pt x="184" y="96"/>
                  <a:pt x="182" y="96"/>
                </a:cubicBezTo>
                <a:cubicBezTo>
                  <a:pt x="179" y="96"/>
                  <a:pt x="177" y="98"/>
                  <a:pt x="177" y="100"/>
                </a:cubicBezTo>
                <a:cubicBezTo>
                  <a:pt x="177" y="103"/>
                  <a:pt x="179" y="105"/>
                  <a:pt x="182" y="105"/>
                </a:cubicBezTo>
                <a:close/>
                <a:moveTo>
                  <a:pt x="157" y="87"/>
                </a:moveTo>
                <a:cubicBezTo>
                  <a:pt x="157" y="89"/>
                  <a:pt x="159" y="91"/>
                  <a:pt x="161" y="91"/>
                </a:cubicBezTo>
                <a:cubicBezTo>
                  <a:pt x="164" y="91"/>
                  <a:pt x="166" y="89"/>
                  <a:pt x="166" y="87"/>
                </a:cubicBezTo>
                <a:cubicBezTo>
                  <a:pt x="166" y="84"/>
                  <a:pt x="164" y="82"/>
                  <a:pt x="161" y="82"/>
                </a:cubicBezTo>
                <a:cubicBezTo>
                  <a:pt x="159" y="82"/>
                  <a:pt x="157" y="84"/>
                  <a:pt x="157" y="87"/>
                </a:cubicBezTo>
                <a:close/>
                <a:moveTo>
                  <a:pt x="157" y="114"/>
                </a:moveTo>
                <a:cubicBezTo>
                  <a:pt x="157" y="116"/>
                  <a:pt x="159" y="118"/>
                  <a:pt x="161" y="118"/>
                </a:cubicBezTo>
                <a:cubicBezTo>
                  <a:pt x="164" y="118"/>
                  <a:pt x="166" y="116"/>
                  <a:pt x="166" y="114"/>
                </a:cubicBezTo>
                <a:cubicBezTo>
                  <a:pt x="166" y="111"/>
                  <a:pt x="164" y="109"/>
                  <a:pt x="161" y="109"/>
                </a:cubicBezTo>
                <a:cubicBezTo>
                  <a:pt x="159" y="109"/>
                  <a:pt x="157" y="111"/>
                  <a:pt x="157" y="114"/>
                </a:cubicBezTo>
                <a:close/>
                <a:moveTo>
                  <a:pt x="170" y="114"/>
                </a:moveTo>
                <a:cubicBezTo>
                  <a:pt x="170" y="116"/>
                  <a:pt x="172" y="118"/>
                  <a:pt x="175" y="118"/>
                </a:cubicBezTo>
                <a:cubicBezTo>
                  <a:pt x="177" y="118"/>
                  <a:pt x="179" y="116"/>
                  <a:pt x="179" y="114"/>
                </a:cubicBezTo>
                <a:cubicBezTo>
                  <a:pt x="179" y="111"/>
                  <a:pt x="177" y="109"/>
                  <a:pt x="175" y="109"/>
                </a:cubicBezTo>
                <a:cubicBezTo>
                  <a:pt x="172" y="109"/>
                  <a:pt x="170" y="111"/>
                  <a:pt x="170" y="114"/>
                </a:cubicBezTo>
                <a:close/>
                <a:moveTo>
                  <a:pt x="204" y="127"/>
                </a:moveTo>
                <a:cubicBezTo>
                  <a:pt x="204" y="130"/>
                  <a:pt x="206" y="132"/>
                  <a:pt x="209" y="132"/>
                </a:cubicBezTo>
                <a:cubicBezTo>
                  <a:pt x="211" y="132"/>
                  <a:pt x="214" y="130"/>
                  <a:pt x="214" y="127"/>
                </a:cubicBezTo>
                <a:cubicBezTo>
                  <a:pt x="214" y="125"/>
                  <a:pt x="211" y="123"/>
                  <a:pt x="209" y="123"/>
                </a:cubicBezTo>
                <a:cubicBezTo>
                  <a:pt x="206" y="123"/>
                  <a:pt x="204" y="125"/>
                  <a:pt x="204" y="127"/>
                </a:cubicBezTo>
                <a:close/>
                <a:moveTo>
                  <a:pt x="211" y="114"/>
                </a:moveTo>
                <a:cubicBezTo>
                  <a:pt x="211" y="116"/>
                  <a:pt x="213" y="118"/>
                  <a:pt x="216" y="118"/>
                </a:cubicBezTo>
                <a:cubicBezTo>
                  <a:pt x="218" y="118"/>
                  <a:pt x="220" y="116"/>
                  <a:pt x="220" y="114"/>
                </a:cubicBezTo>
                <a:cubicBezTo>
                  <a:pt x="220" y="111"/>
                  <a:pt x="218" y="109"/>
                  <a:pt x="216" y="109"/>
                </a:cubicBezTo>
                <a:cubicBezTo>
                  <a:pt x="213" y="109"/>
                  <a:pt x="211" y="111"/>
                  <a:pt x="211" y="114"/>
                </a:cubicBezTo>
                <a:close/>
                <a:moveTo>
                  <a:pt x="202" y="109"/>
                </a:moveTo>
                <a:cubicBezTo>
                  <a:pt x="200" y="109"/>
                  <a:pt x="198" y="111"/>
                  <a:pt x="198" y="114"/>
                </a:cubicBezTo>
                <a:cubicBezTo>
                  <a:pt x="198" y="116"/>
                  <a:pt x="200" y="118"/>
                  <a:pt x="202" y="118"/>
                </a:cubicBezTo>
                <a:cubicBezTo>
                  <a:pt x="205" y="118"/>
                  <a:pt x="207" y="116"/>
                  <a:pt x="207" y="114"/>
                </a:cubicBezTo>
                <a:cubicBezTo>
                  <a:pt x="207" y="111"/>
                  <a:pt x="205" y="109"/>
                  <a:pt x="202" y="109"/>
                </a:cubicBezTo>
                <a:close/>
                <a:moveTo>
                  <a:pt x="189" y="82"/>
                </a:moveTo>
                <a:cubicBezTo>
                  <a:pt x="186" y="82"/>
                  <a:pt x="184" y="84"/>
                  <a:pt x="184" y="87"/>
                </a:cubicBezTo>
                <a:cubicBezTo>
                  <a:pt x="184" y="89"/>
                  <a:pt x="186" y="91"/>
                  <a:pt x="189" y="91"/>
                </a:cubicBezTo>
                <a:cubicBezTo>
                  <a:pt x="191" y="91"/>
                  <a:pt x="193" y="89"/>
                  <a:pt x="193" y="87"/>
                </a:cubicBezTo>
                <a:cubicBezTo>
                  <a:pt x="193" y="84"/>
                  <a:pt x="191" y="82"/>
                  <a:pt x="189" y="82"/>
                </a:cubicBezTo>
                <a:close/>
                <a:moveTo>
                  <a:pt x="191" y="100"/>
                </a:moveTo>
                <a:cubicBezTo>
                  <a:pt x="191" y="103"/>
                  <a:pt x="193" y="105"/>
                  <a:pt x="195" y="105"/>
                </a:cubicBezTo>
                <a:cubicBezTo>
                  <a:pt x="198" y="105"/>
                  <a:pt x="200" y="103"/>
                  <a:pt x="200" y="100"/>
                </a:cubicBezTo>
                <a:cubicBezTo>
                  <a:pt x="200" y="98"/>
                  <a:pt x="198" y="96"/>
                  <a:pt x="195" y="96"/>
                </a:cubicBezTo>
                <a:cubicBezTo>
                  <a:pt x="193" y="96"/>
                  <a:pt x="191" y="98"/>
                  <a:pt x="191" y="100"/>
                </a:cubicBezTo>
                <a:close/>
                <a:moveTo>
                  <a:pt x="207" y="87"/>
                </a:moveTo>
                <a:cubicBezTo>
                  <a:pt x="207" y="84"/>
                  <a:pt x="205" y="82"/>
                  <a:pt x="202" y="82"/>
                </a:cubicBezTo>
                <a:cubicBezTo>
                  <a:pt x="200" y="82"/>
                  <a:pt x="198" y="84"/>
                  <a:pt x="198" y="87"/>
                </a:cubicBezTo>
                <a:cubicBezTo>
                  <a:pt x="198" y="89"/>
                  <a:pt x="200" y="91"/>
                  <a:pt x="202" y="91"/>
                </a:cubicBezTo>
                <a:cubicBezTo>
                  <a:pt x="205" y="91"/>
                  <a:pt x="207" y="89"/>
                  <a:pt x="207" y="87"/>
                </a:cubicBezTo>
                <a:close/>
                <a:moveTo>
                  <a:pt x="338" y="609"/>
                </a:moveTo>
                <a:cubicBezTo>
                  <a:pt x="341" y="609"/>
                  <a:pt x="343" y="607"/>
                  <a:pt x="343" y="605"/>
                </a:cubicBezTo>
                <a:cubicBezTo>
                  <a:pt x="343" y="602"/>
                  <a:pt x="341" y="600"/>
                  <a:pt x="338" y="600"/>
                </a:cubicBezTo>
                <a:cubicBezTo>
                  <a:pt x="336" y="600"/>
                  <a:pt x="334" y="602"/>
                  <a:pt x="334" y="605"/>
                </a:cubicBezTo>
                <a:cubicBezTo>
                  <a:pt x="334" y="607"/>
                  <a:pt x="336" y="609"/>
                  <a:pt x="338" y="609"/>
                </a:cubicBezTo>
                <a:close/>
                <a:moveTo>
                  <a:pt x="813" y="346"/>
                </a:moveTo>
                <a:cubicBezTo>
                  <a:pt x="813" y="343"/>
                  <a:pt x="811" y="341"/>
                  <a:pt x="808" y="341"/>
                </a:cubicBezTo>
                <a:cubicBezTo>
                  <a:pt x="806" y="341"/>
                  <a:pt x="804" y="343"/>
                  <a:pt x="804" y="346"/>
                </a:cubicBezTo>
                <a:cubicBezTo>
                  <a:pt x="804" y="348"/>
                  <a:pt x="806" y="350"/>
                  <a:pt x="808" y="350"/>
                </a:cubicBezTo>
                <a:cubicBezTo>
                  <a:pt x="811" y="350"/>
                  <a:pt x="813" y="348"/>
                  <a:pt x="813" y="346"/>
                </a:cubicBezTo>
                <a:close/>
                <a:moveTo>
                  <a:pt x="801" y="355"/>
                </a:moveTo>
                <a:cubicBezTo>
                  <a:pt x="799" y="355"/>
                  <a:pt x="797" y="357"/>
                  <a:pt x="797" y="359"/>
                </a:cubicBezTo>
                <a:cubicBezTo>
                  <a:pt x="797" y="362"/>
                  <a:pt x="799" y="364"/>
                  <a:pt x="801" y="364"/>
                </a:cubicBezTo>
                <a:cubicBezTo>
                  <a:pt x="804" y="364"/>
                  <a:pt x="806" y="362"/>
                  <a:pt x="806" y="359"/>
                </a:cubicBezTo>
                <a:cubicBezTo>
                  <a:pt x="806" y="357"/>
                  <a:pt x="804" y="355"/>
                  <a:pt x="801" y="355"/>
                </a:cubicBezTo>
                <a:close/>
                <a:moveTo>
                  <a:pt x="795" y="368"/>
                </a:moveTo>
                <a:cubicBezTo>
                  <a:pt x="792" y="368"/>
                  <a:pt x="790" y="370"/>
                  <a:pt x="790" y="373"/>
                </a:cubicBezTo>
                <a:cubicBezTo>
                  <a:pt x="790" y="375"/>
                  <a:pt x="792" y="378"/>
                  <a:pt x="795" y="378"/>
                </a:cubicBezTo>
                <a:cubicBezTo>
                  <a:pt x="797" y="378"/>
                  <a:pt x="799" y="375"/>
                  <a:pt x="799" y="373"/>
                </a:cubicBezTo>
                <a:cubicBezTo>
                  <a:pt x="799" y="370"/>
                  <a:pt x="797" y="368"/>
                  <a:pt x="795" y="368"/>
                </a:cubicBezTo>
                <a:close/>
                <a:moveTo>
                  <a:pt x="840" y="318"/>
                </a:moveTo>
                <a:cubicBezTo>
                  <a:pt x="840" y="316"/>
                  <a:pt x="838" y="314"/>
                  <a:pt x="835" y="314"/>
                </a:cubicBezTo>
                <a:cubicBezTo>
                  <a:pt x="833" y="314"/>
                  <a:pt x="831" y="316"/>
                  <a:pt x="831" y="318"/>
                </a:cubicBezTo>
                <a:cubicBezTo>
                  <a:pt x="831" y="321"/>
                  <a:pt x="833" y="323"/>
                  <a:pt x="835" y="323"/>
                </a:cubicBezTo>
                <a:cubicBezTo>
                  <a:pt x="838" y="323"/>
                  <a:pt x="840" y="321"/>
                  <a:pt x="840" y="318"/>
                </a:cubicBezTo>
                <a:close/>
                <a:moveTo>
                  <a:pt x="815" y="328"/>
                </a:moveTo>
                <a:cubicBezTo>
                  <a:pt x="813" y="328"/>
                  <a:pt x="810" y="330"/>
                  <a:pt x="810" y="332"/>
                </a:cubicBezTo>
                <a:cubicBezTo>
                  <a:pt x="810" y="335"/>
                  <a:pt x="813" y="337"/>
                  <a:pt x="815" y="337"/>
                </a:cubicBezTo>
                <a:cubicBezTo>
                  <a:pt x="818" y="337"/>
                  <a:pt x="820" y="335"/>
                  <a:pt x="820" y="332"/>
                </a:cubicBezTo>
                <a:cubicBezTo>
                  <a:pt x="820" y="330"/>
                  <a:pt x="818" y="328"/>
                  <a:pt x="815" y="328"/>
                </a:cubicBezTo>
                <a:close/>
                <a:moveTo>
                  <a:pt x="829" y="328"/>
                </a:moveTo>
                <a:cubicBezTo>
                  <a:pt x="826" y="328"/>
                  <a:pt x="824" y="330"/>
                  <a:pt x="824" y="332"/>
                </a:cubicBezTo>
                <a:cubicBezTo>
                  <a:pt x="824" y="335"/>
                  <a:pt x="826" y="337"/>
                  <a:pt x="829" y="337"/>
                </a:cubicBezTo>
                <a:cubicBezTo>
                  <a:pt x="831" y="337"/>
                  <a:pt x="833" y="335"/>
                  <a:pt x="833" y="332"/>
                </a:cubicBezTo>
                <a:cubicBezTo>
                  <a:pt x="833" y="330"/>
                  <a:pt x="831" y="328"/>
                  <a:pt x="829" y="328"/>
                </a:cubicBezTo>
                <a:close/>
                <a:moveTo>
                  <a:pt x="826" y="318"/>
                </a:moveTo>
                <a:cubicBezTo>
                  <a:pt x="826" y="316"/>
                  <a:pt x="824" y="314"/>
                  <a:pt x="822" y="314"/>
                </a:cubicBezTo>
                <a:cubicBezTo>
                  <a:pt x="819" y="314"/>
                  <a:pt x="817" y="316"/>
                  <a:pt x="817" y="318"/>
                </a:cubicBezTo>
                <a:cubicBezTo>
                  <a:pt x="817" y="321"/>
                  <a:pt x="819" y="323"/>
                  <a:pt x="822" y="323"/>
                </a:cubicBezTo>
                <a:cubicBezTo>
                  <a:pt x="824" y="323"/>
                  <a:pt x="826" y="321"/>
                  <a:pt x="826" y="318"/>
                </a:cubicBezTo>
                <a:close/>
                <a:moveTo>
                  <a:pt x="815" y="355"/>
                </a:moveTo>
                <a:cubicBezTo>
                  <a:pt x="813" y="355"/>
                  <a:pt x="810" y="357"/>
                  <a:pt x="810" y="359"/>
                </a:cubicBezTo>
                <a:cubicBezTo>
                  <a:pt x="810" y="362"/>
                  <a:pt x="813" y="364"/>
                  <a:pt x="815" y="364"/>
                </a:cubicBezTo>
                <a:cubicBezTo>
                  <a:pt x="818" y="364"/>
                  <a:pt x="820" y="362"/>
                  <a:pt x="820" y="359"/>
                </a:cubicBezTo>
                <a:cubicBezTo>
                  <a:pt x="820" y="357"/>
                  <a:pt x="818" y="355"/>
                  <a:pt x="815" y="355"/>
                </a:cubicBezTo>
                <a:close/>
                <a:moveTo>
                  <a:pt x="767" y="559"/>
                </a:moveTo>
                <a:cubicBezTo>
                  <a:pt x="765" y="559"/>
                  <a:pt x="763" y="561"/>
                  <a:pt x="763" y="564"/>
                </a:cubicBezTo>
                <a:cubicBezTo>
                  <a:pt x="763" y="566"/>
                  <a:pt x="765" y="568"/>
                  <a:pt x="767" y="568"/>
                </a:cubicBezTo>
                <a:cubicBezTo>
                  <a:pt x="770" y="568"/>
                  <a:pt x="772" y="566"/>
                  <a:pt x="772" y="564"/>
                </a:cubicBezTo>
                <a:cubicBezTo>
                  <a:pt x="772" y="561"/>
                  <a:pt x="770" y="559"/>
                  <a:pt x="767" y="559"/>
                </a:cubicBezTo>
                <a:close/>
                <a:moveTo>
                  <a:pt x="765" y="550"/>
                </a:moveTo>
                <a:cubicBezTo>
                  <a:pt x="765" y="548"/>
                  <a:pt x="763" y="546"/>
                  <a:pt x="761" y="546"/>
                </a:cubicBezTo>
                <a:cubicBezTo>
                  <a:pt x="758" y="546"/>
                  <a:pt x="756" y="548"/>
                  <a:pt x="756" y="550"/>
                </a:cubicBezTo>
                <a:cubicBezTo>
                  <a:pt x="756" y="553"/>
                  <a:pt x="758" y="555"/>
                  <a:pt x="761" y="555"/>
                </a:cubicBezTo>
                <a:cubicBezTo>
                  <a:pt x="763" y="555"/>
                  <a:pt x="765" y="553"/>
                  <a:pt x="765" y="550"/>
                </a:cubicBezTo>
                <a:close/>
                <a:moveTo>
                  <a:pt x="774" y="546"/>
                </a:moveTo>
                <a:cubicBezTo>
                  <a:pt x="772" y="546"/>
                  <a:pt x="770" y="548"/>
                  <a:pt x="770" y="550"/>
                </a:cubicBezTo>
                <a:cubicBezTo>
                  <a:pt x="770" y="553"/>
                  <a:pt x="772" y="555"/>
                  <a:pt x="774" y="555"/>
                </a:cubicBezTo>
                <a:cubicBezTo>
                  <a:pt x="777" y="555"/>
                  <a:pt x="779" y="553"/>
                  <a:pt x="779" y="550"/>
                </a:cubicBezTo>
                <a:cubicBezTo>
                  <a:pt x="779" y="548"/>
                  <a:pt x="777" y="546"/>
                  <a:pt x="774" y="546"/>
                </a:cubicBezTo>
                <a:close/>
                <a:moveTo>
                  <a:pt x="788" y="519"/>
                </a:moveTo>
                <a:cubicBezTo>
                  <a:pt x="785" y="519"/>
                  <a:pt x="783" y="521"/>
                  <a:pt x="783" y="523"/>
                </a:cubicBezTo>
                <a:cubicBezTo>
                  <a:pt x="783" y="526"/>
                  <a:pt x="785" y="528"/>
                  <a:pt x="788" y="528"/>
                </a:cubicBezTo>
                <a:cubicBezTo>
                  <a:pt x="790" y="528"/>
                  <a:pt x="792" y="526"/>
                  <a:pt x="792" y="523"/>
                </a:cubicBezTo>
                <a:cubicBezTo>
                  <a:pt x="792" y="521"/>
                  <a:pt x="790" y="519"/>
                  <a:pt x="788" y="519"/>
                </a:cubicBezTo>
                <a:close/>
                <a:moveTo>
                  <a:pt x="788" y="409"/>
                </a:moveTo>
                <a:cubicBezTo>
                  <a:pt x="785" y="409"/>
                  <a:pt x="783" y="411"/>
                  <a:pt x="783" y="414"/>
                </a:cubicBezTo>
                <a:cubicBezTo>
                  <a:pt x="783" y="416"/>
                  <a:pt x="785" y="418"/>
                  <a:pt x="788" y="418"/>
                </a:cubicBezTo>
                <a:cubicBezTo>
                  <a:pt x="790" y="418"/>
                  <a:pt x="792" y="416"/>
                  <a:pt x="792" y="414"/>
                </a:cubicBezTo>
                <a:cubicBezTo>
                  <a:pt x="792" y="411"/>
                  <a:pt x="790" y="409"/>
                  <a:pt x="788" y="409"/>
                </a:cubicBezTo>
                <a:close/>
                <a:moveTo>
                  <a:pt x="758" y="509"/>
                </a:moveTo>
                <a:cubicBezTo>
                  <a:pt x="758" y="507"/>
                  <a:pt x="756" y="505"/>
                  <a:pt x="754" y="505"/>
                </a:cubicBezTo>
                <a:cubicBezTo>
                  <a:pt x="751" y="505"/>
                  <a:pt x="749" y="507"/>
                  <a:pt x="749" y="509"/>
                </a:cubicBezTo>
                <a:cubicBezTo>
                  <a:pt x="749" y="512"/>
                  <a:pt x="751" y="514"/>
                  <a:pt x="754" y="514"/>
                </a:cubicBezTo>
                <a:cubicBezTo>
                  <a:pt x="756" y="514"/>
                  <a:pt x="758" y="512"/>
                  <a:pt x="758" y="509"/>
                </a:cubicBezTo>
                <a:close/>
                <a:moveTo>
                  <a:pt x="781" y="532"/>
                </a:moveTo>
                <a:cubicBezTo>
                  <a:pt x="778" y="532"/>
                  <a:pt x="776" y="534"/>
                  <a:pt x="776" y="537"/>
                </a:cubicBezTo>
                <a:cubicBezTo>
                  <a:pt x="776" y="539"/>
                  <a:pt x="778" y="541"/>
                  <a:pt x="781" y="541"/>
                </a:cubicBezTo>
                <a:cubicBezTo>
                  <a:pt x="784" y="541"/>
                  <a:pt x="786" y="539"/>
                  <a:pt x="786" y="537"/>
                </a:cubicBezTo>
                <a:cubicBezTo>
                  <a:pt x="786" y="534"/>
                  <a:pt x="784" y="532"/>
                  <a:pt x="781" y="532"/>
                </a:cubicBezTo>
                <a:close/>
                <a:moveTo>
                  <a:pt x="894" y="400"/>
                </a:moveTo>
                <a:cubicBezTo>
                  <a:pt x="894" y="398"/>
                  <a:pt x="892" y="396"/>
                  <a:pt x="890" y="396"/>
                </a:cubicBezTo>
                <a:cubicBezTo>
                  <a:pt x="887" y="396"/>
                  <a:pt x="885" y="398"/>
                  <a:pt x="885" y="400"/>
                </a:cubicBezTo>
                <a:cubicBezTo>
                  <a:pt x="885" y="403"/>
                  <a:pt x="887" y="405"/>
                  <a:pt x="890" y="405"/>
                </a:cubicBezTo>
                <a:cubicBezTo>
                  <a:pt x="892" y="405"/>
                  <a:pt x="894" y="403"/>
                  <a:pt x="894" y="400"/>
                </a:cubicBezTo>
                <a:close/>
                <a:moveTo>
                  <a:pt x="904" y="368"/>
                </a:moveTo>
                <a:cubicBezTo>
                  <a:pt x="901" y="368"/>
                  <a:pt x="899" y="370"/>
                  <a:pt x="899" y="373"/>
                </a:cubicBezTo>
                <a:cubicBezTo>
                  <a:pt x="899" y="375"/>
                  <a:pt x="901" y="378"/>
                  <a:pt x="904" y="378"/>
                </a:cubicBezTo>
                <a:cubicBezTo>
                  <a:pt x="906" y="378"/>
                  <a:pt x="908" y="375"/>
                  <a:pt x="908" y="373"/>
                </a:cubicBezTo>
                <a:cubicBezTo>
                  <a:pt x="908" y="370"/>
                  <a:pt x="906" y="368"/>
                  <a:pt x="904" y="368"/>
                </a:cubicBezTo>
                <a:close/>
                <a:moveTo>
                  <a:pt x="897" y="409"/>
                </a:moveTo>
                <a:cubicBezTo>
                  <a:pt x="894" y="409"/>
                  <a:pt x="892" y="411"/>
                  <a:pt x="892" y="414"/>
                </a:cubicBezTo>
                <a:cubicBezTo>
                  <a:pt x="892" y="416"/>
                  <a:pt x="894" y="418"/>
                  <a:pt x="897" y="418"/>
                </a:cubicBezTo>
                <a:cubicBezTo>
                  <a:pt x="899" y="418"/>
                  <a:pt x="901" y="416"/>
                  <a:pt x="901" y="414"/>
                </a:cubicBezTo>
                <a:cubicBezTo>
                  <a:pt x="901" y="411"/>
                  <a:pt x="899" y="409"/>
                  <a:pt x="897" y="409"/>
                </a:cubicBezTo>
                <a:close/>
                <a:moveTo>
                  <a:pt x="897" y="382"/>
                </a:moveTo>
                <a:cubicBezTo>
                  <a:pt x="894" y="382"/>
                  <a:pt x="892" y="384"/>
                  <a:pt x="892" y="387"/>
                </a:cubicBezTo>
                <a:cubicBezTo>
                  <a:pt x="892" y="389"/>
                  <a:pt x="894" y="391"/>
                  <a:pt x="897" y="391"/>
                </a:cubicBezTo>
                <a:cubicBezTo>
                  <a:pt x="899" y="391"/>
                  <a:pt x="901" y="389"/>
                  <a:pt x="901" y="387"/>
                </a:cubicBezTo>
                <a:cubicBezTo>
                  <a:pt x="901" y="384"/>
                  <a:pt x="899" y="382"/>
                  <a:pt x="897" y="382"/>
                </a:cubicBezTo>
                <a:close/>
                <a:moveTo>
                  <a:pt x="929" y="332"/>
                </a:moveTo>
                <a:cubicBezTo>
                  <a:pt x="929" y="330"/>
                  <a:pt x="926" y="328"/>
                  <a:pt x="924" y="328"/>
                </a:cubicBezTo>
                <a:cubicBezTo>
                  <a:pt x="921" y="328"/>
                  <a:pt x="919" y="330"/>
                  <a:pt x="919" y="332"/>
                </a:cubicBezTo>
                <a:cubicBezTo>
                  <a:pt x="919" y="335"/>
                  <a:pt x="921" y="337"/>
                  <a:pt x="924" y="337"/>
                </a:cubicBezTo>
                <a:cubicBezTo>
                  <a:pt x="926" y="337"/>
                  <a:pt x="929" y="335"/>
                  <a:pt x="929" y="332"/>
                </a:cubicBezTo>
                <a:close/>
                <a:moveTo>
                  <a:pt x="917" y="341"/>
                </a:moveTo>
                <a:cubicBezTo>
                  <a:pt x="915" y="341"/>
                  <a:pt x="913" y="343"/>
                  <a:pt x="913" y="346"/>
                </a:cubicBezTo>
                <a:cubicBezTo>
                  <a:pt x="913" y="348"/>
                  <a:pt x="915" y="350"/>
                  <a:pt x="917" y="350"/>
                </a:cubicBezTo>
                <a:cubicBezTo>
                  <a:pt x="920" y="350"/>
                  <a:pt x="922" y="348"/>
                  <a:pt x="922" y="346"/>
                </a:cubicBezTo>
                <a:cubicBezTo>
                  <a:pt x="922" y="343"/>
                  <a:pt x="920" y="341"/>
                  <a:pt x="917" y="341"/>
                </a:cubicBezTo>
                <a:close/>
                <a:moveTo>
                  <a:pt x="881" y="373"/>
                </a:moveTo>
                <a:cubicBezTo>
                  <a:pt x="881" y="370"/>
                  <a:pt x="879" y="368"/>
                  <a:pt x="876" y="368"/>
                </a:cubicBezTo>
                <a:cubicBezTo>
                  <a:pt x="874" y="368"/>
                  <a:pt x="872" y="370"/>
                  <a:pt x="872" y="373"/>
                </a:cubicBezTo>
                <a:cubicBezTo>
                  <a:pt x="872" y="375"/>
                  <a:pt x="874" y="378"/>
                  <a:pt x="876" y="378"/>
                </a:cubicBezTo>
                <a:cubicBezTo>
                  <a:pt x="879" y="378"/>
                  <a:pt x="881" y="375"/>
                  <a:pt x="881" y="373"/>
                </a:cubicBezTo>
                <a:close/>
                <a:moveTo>
                  <a:pt x="856" y="355"/>
                </a:moveTo>
                <a:cubicBezTo>
                  <a:pt x="853" y="355"/>
                  <a:pt x="851" y="357"/>
                  <a:pt x="851" y="359"/>
                </a:cubicBezTo>
                <a:cubicBezTo>
                  <a:pt x="851" y="362"/>
                  <a:pt x="853" y="364"/>
                  <a:pt x="856" y="364"/>
                </a:cubicBezTo>
                <a:cubicBezTo>
                  <a:pt x="858" y="364"/>
                  <a:pt x="860" y="362"/>
                  <a:pt x="860" y="359"/>
                </a:cubicBezTo>
                <a:cubicBezTo>
                  <a:pt x="860" y="357"/>
                  <a:pt x="858" y="355"/>
                  <a:pt x="856" y="355"/>
                </a:cubicBezTo>
                <a:close/>
                <a:moveTo>
                  <a:pt x="854" y="346"/>
                </a:moveTo>
                <a:cubicBezTo>
                  <a:pt x="854" y="343"/>
                  <a:pt x="852" y="341"/>
                  <a:pt x="849" y="341"/>
                </a:cubicBezTo>
                <a:cubicBezTo>
                  <a:pt x="847" y="341"/>
                  <a:pt x="845" y="343"/>
                  <a:pt x="845" y="346"/>
                </a:cubicBezTo>
                <a:cubicBezTo>
                  <a:pt x="845" y="348"/>
                  <a:pt x="847" y="350"/>
                  <a:pt x="849" y="350"/>
                </a:cubicBezTo>
                <a:cubicBezTo>
                  <a:pt x="852" y="350"/>
                  <a:pt x="854" y="348"/>
                  <a:pt x="854" y="346"/>
                </a:cubicBezTo>
                <a:close/>
                <a:moveTo>
                  <a:pt x="867" y="346"/>
                </a:moveTo>
                <a:cubicBezTo>
                  <a:pt x="867" y="343"/>
                  <a:pt x="865" y="341"/>
                  <a:pt x="863" y="341"/>
                </a:cubicBezTo>
                <a:cubicBezTo>
                  <a:pt x="860" y="341"/>
                  <a:pt x="858" y="343"/>
                  <a:pt x="858" y="346"/>
                </a:cubicBezTo>
                <a:cubicBezTo>
                  <a:pt x="858" y="348"/>
                  <a:pt x="860" y="350"/>
                  <a:pt x="863" y="350"/>
                </a:cubicBezTo>
                <a:cubicBezTo>
                  <a:pt x="865" y="350"/>
                  <a:pt x="867" y="348"/>
                  <a:pt x="867" y="346"/>
                </a:cubicBezTo>
                <a:close/>
                <a:moveTo>
                  <a:pt x="874" y="359"/>
                </a:moveTo>
                <a:cubicBezTo>
                  <a:pt x="874" y="357"/>
                  <a:pt x="872" y="355"/>
                  <a:pt x="869" y="355"/>
                </a:cubicBezTo>
                <a:cubicBezTo>
                  <a:pt x="867" y="355"/>
                  <a:pt x="865" y="357"/>
                  <a:pt x="865" y="359"/>
                </a:cubicBezTo>
                <a:cubicBezTo>
                  <a:pt x="865" y="362"/>
                  <a:pt x="867" y="364"/>
                  <a:pt x="869" y="364"/>
                </a:cubicBezTo>
                <a:cubicBezTo>
                  <a:pt x="872" y="364"/>
                  <a:pt x="874" y="362"/>
                  <a:pt x="874" y="359"/>
                </a:cubicBezTo>
                <a:close/>
                <a:moveTo>
                  <a:pt x="883" y="409"/>
                </a:moveTo>
                <a:cubicBezTo>
                  <a:pt x="881" y="409"/>
                  <a:pt x="879" y="411"/>
                  <a:pt x="879" y="414"/>
                </a:cubicBezTo>
                <a:cubicBezTo>
                  <a:pt x="879" y="416"/>
                  <a:pt x="881" y="418"/>
                  <a:pt x="883" y="418"/>
                </a:cubicBezTo>
                <a:cubicBezTo>
                  <a:pt x="886" y="418"/>
                  <a:pt x="888" y="416"/>
                  <a:pt x="888" y="414"/>
                </a:cubicBezTo>
                <a:cubicBezTo>
                  <a:pt x="888" y="411"/>
                  <a:pt x="886" y="409"/>
                  <a:pt x="883" y="409"/>
                </a:cubicBezTo>
                <a:close/>
                <a:moveTo>
                  <a:pt x="847" y="332"/>
                </a:moveTo>
                <a:cubicBezTo>
                  <a:pt x="847" y="330"/>
                  <a:pt x="845" y="328"/>
                  <a:pt x="842" y="328"/>
                </a:cubicBezTo>
                <a:cubicBezTo>
                  <a:pt x="840" y="328"/>
                  <a:pt x="838" y="330"/>
                  <a:pt x="838" y="332"/>
                </a:cubicBezTo>
                <a:cubicBezTo>
                  <a:pt x="838" y="335"/>
                  <a:pt x="840" y="337"/>
                  <a:pt x="842" y="337"/>
                </a:cubicBezTo>
                <a:cubicBezTo>
                  <a:pt x="845" y="337"/>
                  <a:pt x="847" y="335"/>
                  <a:pt x="847" y="332"/>
                </a:cubicBezTo>
                <a:close/>
                <a:moveTo>
                  <a:pt x="910" y="355"/>
                </a:moveTo>
                <a:cubicBezTo>
                  <a:pt x="908" y="355"/>
                  <a:pt x="906" y="357"/>
                  <a:pt x="906" y="359"/>
                </a:cubicBezTo>
                <a:cubicBezTo>
                  <a:pt x="906" y="362"/>
                  <a:pt x="908" y="364"/>
                  <a:pt x="910" y="364"/>
                </a:cubicBezTo>
                <a:cubicBezTo>
                  <a:pt x="913" y="364"/>
                  <a:pt x="915" y="362"/>
                  <a:pt x="915" y="359"/>
                </a:cubicBezTo>
                <a:cubicBezTo>
                  <a:pt x="915" y="357"/>
                  <a:pt x="913" y="355"/>
                  <a:pt x="910" y="355"/>
                </a:cubicBezTo>
                <a:close/>
                <a:moveTo>
                  <a:pt x="636" y="428"/>
                </a:moveTo>
                <a:cubicBezTo>
                  <a:pt x="636" y="425"/>
                  <a:pt x="634" y="423"/>
                  <a:pt x="631" y="423"/>
                </a:cubicBezTo>
                <a:cubicBezTo>
                  <a:pt x="629" y="423"/>
                  <a:pt x="627" y="425"/>
                  <a:pt x="627" y="428"/>
                </a:cubicBezTo>
                <a:cubicBezTo>
                  <a:pt x="627" y="430"/>
                  <a:pt x="629" y="432"/>
                  <a:pt x="631" y="432"/>
                </a:cubicBezTo>
                <a:cubicBezTo>
                  <a:pt x="634" y="432"/>
                  <a:pt x="636" y="430"/>
                  <a:pt x="636" y="428"/>
                </a:cubicBezTo>
                <a:close/>
                <a:moveTo>
                  <a:pt x="629" y="414"/>
                </a:moveTo>
                <a:cubicBezTo>
                  <a:pt x="629" y="411"/>
                  <a:pt x="627" y="409"/>
                  <a:pt x="624" y="409"/>
                </a:cubicBezTo>
                <a:cubicBezTo>
                  <a:pt x="622" y="409"/>
                  <a:pt x="620" y="411"/>
                  <a:pt x="620" y="414"/>
                </a:cubicBezTo>
                <a:cubicBezTo>
                  <a:pt x="620" y="416"/>
                  <a:pt x="622" y="418"/>
                  <a:pt x="624" y="418"/>
                </a:cubicBezTo>
                <a:cubicBezTo>
                  <a:pt x="627" y="418"/>
                  <a:pt x="629" y="416"/>
                  <a:pt x="629" y="414"/>
                </a:cubicBezTo>
                <a:close/>
                <a:moveTo>
                  <a:pt x="747" y="519"/>
                </a:moveTo>
                <a:cubicBezTo>
                  <a:pt x="744" y="519"/>
                  <a:pt x="742" y="521"/>
                  <a:pt x="742" y="523"/>
                </a:cubicBezTo>
                <a:cubicBezTo>
                  <a:pt x="742" y="526"/>
                  <a:pt x="744" y="528"/>
                  <a:pt x="747" y="528"/>
                </a:cubicBezTo>
                <a:cubicBezTo>
                  <a:pt x="749" y="528"/>
                  <a:pt x="751" y="526"/>
                  <a:pt x="751" y="523"/>
                </a:cubicBezTo>
                <a:cubicBezTo>
                  <a:pt x="751" y="521"/>
                  <a:pt x="749" y="519"/>
                  <a:pt x="747" y="519"/>
                </a:cubicBezTo>
                <a:close/>
                <a:moveTo>
                  <a:pt x="656" y="550"/>
                </a:moveTo>
                <a:cubicBezTo>
                  <a:pt x="656" y="548"/>
                  <a:pt x="654" y="546"/>
                  <a:pt x="652" y="546"/>
                </a:cubicBezTo>
                <a:cubicBezTo>
                  <a:pt x="649" y="546"/>
                  <a:pt x="647" y="548"/>
                  <a:pt x="647" y="550"/>
                </a:cubicBezTo>
                <a:cubicBezTo>
                  <a:pt x="647" y="553"/>
                  <a:pt x="649" y="555"/>
                  <a:pt x="652" y="555"/>
                </a:cubicBezTo>
                <a:cubicBezTo>
                  <a:pt x="654" y="555"/>
                  <a:pt x="656" y="553"/>
                  <a:pt x="656" y="550"/>
                </a:cubicBezTo>
                <a:close/>
                <a:moveTo>
                  <a:pt x="643" y="468"/>
                </a:moveTo>
                <a:cubicBezTo>
                  <a:pt x="643" y="466"/>
                  <a:pt x="640" y="464"/>
                  <a:pt x="638" y="464"/>
                </a:cubicBezTo>
                <a:cubicBezTo>
                  <a:pt x="635" y="464"/>
                  <a:pt x="633" y="466"/>
                  <a:pt x="633" y="468"/>
                </a:cubicBezTo>
                <a:cubicBezTo>
                  <a:pt x="633" y="471"/>
                  <a:pt x="635" y="473"/>
                  <a:pt x="638" y="473"/>
                </a:cubicBezTo>
                <a:cubicBezTo>
                  <a:pt x="640" y="473"/>
                  <a:pt x="643" y="471"/>
                  <a:pt x="643" y="468"/>
                </a:cubicBezTo>
                <a:close/>
                <a:moveTo>
                  <a:pt x="649" y="482"/>
                </a:moveTo>
                <a:cubicBezTo>
                  <a:pt x="649" y="480"/>
                  <a:pt x="647" y="478"/>
                  <a:pt x="645" y="478"/>
                </a:cubicBezTo>
                <a:cubicBezTo>
                  <a:pt x="642" y="478"/>
                  <a:pt x="640" y="480"/>
                  <a:pt x="640" y="482"/>
                </a:cubicBezTo>
                <a:cubicBezTo>
                  <a:pt x="640" y="485"/>
                  <a:pt x="642" y="487"/>
                  <a:pt x="645" y="487"/>
                </a:cubicBezTo>
                <a:cubicBezTo>
                  <a:pt x="647" y="487"/>
                  <a:pt x="649" y="485"/>
                  <a:pt x="649" y="482"/>
                </a:cubicBezTo>
                <a:close/>
                <a:moveTo>
                  <a:pt x="618" y="423"/>
                </a:moveTo>
                <a:cubicBezTo>
                  <a:pt x="615" y="423"/>
                  <a:pt x="613" y="425"/>
                  <a:pt x="613" y="428"/>
                </a:cubicBezTo>
                <a:cubicBezTo>
                  <a:pt x="613" y="430"/>
                  <a:pt x="615" y="432"/>
                  <a:pt x="618" y="432"/>
                </a:cubicBezTo>
                <a:cubicBezTo>
                  <a:pt x="620" y="432"/>
                  <a:pt x="622" y="430"/>
                  <a:pt x="622" y="428"/>
                </a:cubicBezTo>
                <a:cubicBezTo>
                  <a:pt x="622" y="425"/>
                  <a:pt x="620" y="423"/>
                  <a:pt x="618" y="423"/>
                </a:cubicBezTo>
                <a:close/>
                <a:moveTo>
                  <a:pt x="604" y="423"/>
                </a:moveTo>
                <a:cubicBezTo>
                  <a:pt x="601" y="423"/>
                  <a:pt x="599" y="425"/>
                  <a:pt x="599" y="428"/>
                </a:cubicBezTo>
                <a:cubicBezTo>
                  <a:pt x="599" y="430"/>
                  <a:pt x="601" y="432"/>
                  <a:pt x="604" y="432"/>
                </a:cubicBezTo>
                <a:cubicBezTo>
                  <a:pt x="606" y="432"/>
                  <a:pt x="608" y="430"/>
                  <a:pt x="608" y="428"/>
                </a:cubicBezTo>
                <a:cubicBezTo>
                  <a:pt x="608" y="425"/>
                  <a:pt x="606" y="423"/>
                  <a:pt x="604" y="423"/>
                </a:cubicBezTo>
                <a:close/>
                <a:moveTo>
                  <a:pt x="577" y="423"/>
                </a:moveTo>
                <a:cubicBezTo>
                  <a:pt x="574" y="423"/>
                  <a:pt x="572" y="425"/>
                  <a:pt x="572" y="428"/>
                </a:cubicBezTo>
                <a:cubicBezTo>
                  <a:pt x="572" y="430"/>
                  <a:pt x="574" y="432"/>
                  <a:pt x="577" y="432"/>
                </a:cubicBezTo>
                <a:cubicBezTo>
                  <a:pt x="579" y="432"/>
                  <a:pt x="581" y="430"/>
                  <a:pt x="581" y="428"/>
                </a:cubicBezTo>
                <a:cubicBezTo>
                  <a:pt x="581" y="425"/>
                  <a:pt x="579" y="423"/>
                  <a:pt x="577" y="423"/>
                </a:cubicBezTo>
                <a:close/>
                <a:moveTo>
                  <a:pt x="574" y="414"/>
                </a:moveTo>
                <a:cubicBezTo>
                  <a:pt x="574" y="411"/>
                  <a:pt x="572" y="409"/>
                  <a:pt x="570" y="409"/>
                </a:cubicBezTo>
                <a:cubicBezTo>
                  <a:pt x="567" y="409"/>
                  <a:pt x="565" y="411"/>
                  <a:pt x="565" y="414"/>
                </a:cubicBezTo>
                <a:cubicBezTo>
                  <a:pt x="565" y="416"/>
                  <a:pt x="567" y="418"/>
                  <a:pt x="570" y="418"/>
                </a:cubicBezTo>
                <a:cubicBezTo>
                  <a:pt x="572" y="418"/>
                  <a:pt x="574" y="416"/>
                  <a:pt x="574" y="414"/>
                </a:cubicBezTo>
                <a:close/>
                <a:moveTo>
                  <a:pt x="588" y="414"/>
                </a:moveTo>
                <a:cubicBezTo>
                  <a:pt x="588" y="411"/>
                  <a:pt x="586" y="409"/>
                  <a:pt x="583" y="409"/>
                </a:cubicBezTo>
                <a:cubicBezTo>
                  <a:pt x="581" y="409"/>
                  <a:pt x="579" y="411"/>
                  <a:pt x="579" y="414"/>
                </a:cubicBezTo>
                <a:cubicBezTo>
                  <a:pt x="579" y="416"/>
                  <a:pt x="581" y="418"/>
                  <a:pt x="583" y="418"/>
                </a:cubicBezTo>
                <a:cubicBezTo>
                  <a:pt x="586" y="418"/>
                  <a:pt x="588" y="416"/>
                  <a:pt x="588" y="414"/>
                </a:cubicBezTo>
                <a:close/>
                <a:moveTo>
                  <a:pt x="602" y="414"/>
                </a:moveTo>
                <a:cubicBezTo>
                  <a:pt x="602" y="411"/>
                  <a:pt x="600" y="409"/>
                  <a:pt x="597" y="409"/>
                </a:cubicBezTo>
                <a:cubicBezTo>
                  <a:pt x="595" y="409"/>
                  <a:pt x="593" y="411"/>
                  <a:pt x="593" y="414"/>
                </a:cubicBezTo>
                <a:cubicBezTo>
                  <a:pt x="593" y="416"/>
                  <a:pt x="595" y="418"/>
                  <a:pt x="597" y="418"/>
                </a:cubicBezTo>
                <a:cubicBezTo>
                  <a:pt x="600" y="418"/>
                  <a:pt x="602" y="416"/>
                  <a:pt x="602" y="414"/>
                </a:cubicBezTo>
                <a:close/>
                <a:moveTo>
                  <a:pt x="563" y="423"/>
                </a:moveTo>
                <a:cubicBezTo>
                  <a:pt x="561" y="423"/>
                  <a:pt x="559" y="425"/>
                  <a:pt x="559" y="428"/>
                </a:cubicBezTo>
                <a:cubicBezTo>
                  <a:pt x="559" y="430"/>
                  <a:pt x="561" y="432"/>
                  <a:pt x="563" y="432"/>
                </a:cubicBezTo>
                <a:cubicBezTo>
                  <a:pt x="566" y="432"/>
                  <a:pt x="568" y="430"/>
                  <a:pt x="568" y="428"/>
                </a:cubicBezTo>
                <a:cubicBezTo>
                  <a:pt x="568" y="425"/>
                  <a:pt x="566" y="423"/>
                  <a:pt x="563" y="423"/>
                </a:cubicBezTo>
                <a:close/>
                <a:moveTo>
                  <a:pt x="615" y="414"/>
                </a:moveTo>
                <a:cubicBezTo>
                  <a:pt x="615" y="411"/>
                  <a:pt x="613" y="409"/>
                  <a:pt x="611" y="409"/>
                </a:cubicBezTo>
                <a:cubicBezTo>
                  <a:pt x="608" y="409"/>
                  <a:pt x="606" y="411"/>
                  <a:pt x="606" y="414"/>
                </a:cubicBezTo>
                <a:cubicBezTo>
                  <a:pt x="606" y="416"/>
                  <a:pt x="608" y="418"/>
                  <a:pt x="611" y="418"/>
                </a:cubicBezTo>
                <a:cubicBezTo>
                  <a:pt x="613" y="418"/>
                  <a:pt x="615" y="416"/>
                  <a:pt x="615" y="414"/>
                </a:cubicBezTo>
                <a:close/>
                <a:moveTo>
                  <a:pt x="720" y="573"/>
                </a:moveTo>
                <a:cubicBezTo>
                  <a:pt x="717" y="573"/>
                  <a:pt x="715" y="575"/>
                  <a:pt x="715" y="578"/>
                </a:cubicBezTo>
                <a:cubicBezTo>
                  <a:pt x="715" y="580"/>
                  <a:pt x="717" y="582"/>
                  <a:pt x="720" y="582"/>
                </a:cubicBezTo>
                <a:cubicBezTo>
                  <a:pt x="722" y="582"/>
                  <a:pt x="724" y="580"/>
                  <a:pt x="724" y="578"/>
                </a:cubicBezTo>
                <a:cubicBezTo>
                  <a:pt x="724" y="575"/>
                  <a:pt x="722" y="573"/>
                  <a:pt x="720" y="573"/>
                </a:cubicBezTo>
                <a:close/>
                <a:moveTo>
                  <a:pt x="713" y="587"/>
                </a:moveTo>
                <a:cubicBezTo>
                  <a:pt x="710" y="587"/>
                  <a:pt x="708" y="589"/>
                  <a:pt x="708" y="591"/>
                </a:cubicBezTo>
                <a:cubicBezTo>
                  <a:pt x="708" y="594"/>
                  <a:pt x="710" y="596"/>
                  <a:pt x="713" y="596"/>
                </a:cubicBezTo>
                <a:cubicBezTo>
                  <a:pt x="715" y="596"/>
                  <a:pt x="717" y="594"/>
                  <a:pt x="717" y="591"/>
                </a:cubicBezTo>
                <a:cubicBezTo>
                  <a:pt x="717" y="589"/>
                  <a:pt x="715" y="587"/>
                  <a:pt x="713" y="587"/>
                </a:cubicBezTo>
                <a:close/>
                <a:moveTo>
                  <a:pt x="727" y="559"/>
                </a:moveTo>
                <a:cubicBezTo>
                  <a:pt x="724" y="559"/>
                  <a:pt x="722" y="561"/>
                  <a:pt x="722" y="564"/>
                </a:cubicBezTo>
                <a:cubicBezTo>
                  <a:pt x="722" y="566"/>
                  <a:pt x="724" y="568"/>
                  <a:pt x="727" y="568"/>
                </a:cubicBezTo>
                <a:cubicBezTo>
                  <a:pt x="729" y="568"/>
                  <a:pt x="731" y="566"/>
                  <a:pt x="731" y="564"/>
                </a:cubicBezTo>
                <a:cubicBezTo>
                  <a:pt x="731" y="561"/>
                  <a:pt x="729" y="559"/>
                  <a:pt x="727" y="559"/>
                </a:cubicBezTo>
                <a:close/>
                <a:moveTo>
                  <a:pt x="711" y="578"/>
                </a:moveTo>
                <a:cubicBezTo>
                  <a:pt x="711" y="575"/>
                  <a:pt x="709" y="573"/>
                  <a:pt x="706" y="573"/>
                </a:cubicBezTo>
                <a:cubicBezTo>
                  <a:pt x="704" y="573"/>
                  <a:pt x="702" y="575"/>
                  <a:pt x="702" y="578"/>
                </a:cubicBezTo>
                <a:cubicBezTo>
                  <a:pt x="702" y="580"/>
                  <a:pt x="704" y="582"/>
                  <a:pt x="706" y="582"/>
                </a:cubicBezTo>
                <a:cubicBezTo>
                  <a:pt x="709" y="582"/>
                  <a:pt x="711" y="580"/>
                  <a:pt x="711" y="578"/>
                </a:cubicBezTo>
                <a:close/>
                <a:moveTo>
                  <a:pt x="740" y="532"/>
                </a:moveTo>
                <a:cubicBezTo>
                  <a:pt x="738" y="532"/>
                  <a:pt x="736" y="534"/>
                  <a:pt x="736" y="537"/>
                </a:cubicBezTo>
                <a:cubicBezTo>
                  <a:pt x="736" y="539"/>
                  <a:pt x="738" y="541"/>
                  <a:pt x="740" y="541"/>
                </a:cubicBezTo>
                <a:cubicBezTo>
                  <a:pt x="743" y="541"/>
                  <a:pt x="745" y="539"/>
                  <a:pt x="745" y="537"/>
                </a:cubicBezTo>
                <a:cubicBezTo>
                  <a:pt x="745" y="534"/>
                  <a:pt x="743" y="532"/>
                  <a:pt x="740" y="532"/>
                </a:cubicBezTo>
                <a:close/>
                <a:moveTo>
                  <a:pt x="733" y="546"/>
                </a:moveTo>
                <a:cubicBezTo>
                  <a:pt x="731" y="546"/>
                  <a:pt x="729" y="548"/>
                  <a:pt x="729" y="550"/>
                </a:cubicBezTo>
                <a:cubicBezTo>
                  <a:pt x="729" y="553"/>
                  <a:pt x="731" y="555"/>
                  <a:pt x="733" y="555"/>
                </a:cubicBezTo>
                <a:cubicBezTo>
                  <a:pt x="736" y="555"/>
                  <a:pt x="738" y="553"/>
                  <a:pt x="738" y="550"/>
                </a:cubicBezTo>
                <a:cubicBezTo>
                  <a:pt x="738" y="548"/>
                  <a:pt x="736" y="546"/>
                  <a:pt x="733" y="546"/>
                </a:cubicBezTo>
                <a:close/>
                <a:moveTo>
                  <a:pt x="692" y="600"/>
                </a:moveTo>
                <a:cubicBezTo>
                  <a:pt x="690" y="600"/>
                  <a:pt x="688" y="602"/>
                  <a:pt x="688" y="605"/>
                </a:cubicBezTo>
                <a:cubicBezTo>
                  <a:pt x="688" y="607"/>
                  <a:pt x="690" y="609"/>
                  <a:pt x="692" y="609"/>
                </a:cubicBezTo>
                <a:cubicBezTo>
                  <a:pt x="695" y="609"/>
                  <a:pt x="697" y="607"/>
                  <a:pt x="697" y="605"/>
                </a:cubicBezTo>
                <a:cubicBezTo>
                  <a:pt x="697" y="602"/>
                  <a:pt x="695" y="600"/>
                  <a:pt x="692" y="600"/>
                </a:cubicBezTo>
                <a:close/>
                <a:moveTo>
                  <a:pt x="679" y="600"/>
                </a:moveTo>
                <a:cubicBezTo>
                  <a:pt x="676" y="600"/>
                  <a:pt x="674" y="602"/>
                  <a:pt x="674" y="605"/>
                </a:cubicBezTo>
                <a:cubicBezTo>
                  <a:pt x="674" y="607"/>
                  <a:pt x="676" y="609"/>
                  <a:pt x="679" y="609"/>
                </a:cubicBezTo>
                <a:cubicBezTo>
                  <a:pt x="681" y="609"/>
                  <a:pt x="683" y="607"/>
                  <a:pt x="683" y="605"/>
                </a:cubicBezTo>
                <a:cubicBezTo>
                  <a:pt x="683" y="602"/>
                  <a:pt x="681" y="600"/>
                  <a:pt x="679" y="600"/>
                </a:cubicBezTo>
                <a:close/>
                <a:moveTo>
                  <a:pt x="677" y="591"/>
                </a:moveTo>
                <a:cubicBezTo>
                  <a:pt x="677" y="589"/>
                  <a:pt x="675" y="587"/>
                  <a:pt x="672" y="587"/>
                </a:cubicBezTo>
                <a:cubicBezTo>
                  <a:pt x="670" y="587"/>
                  <a:pt x="667" y="589"/>
                  <a:pt x="667" y="591"/>
                </a:cubicBezTo>
                <a:cubicBezTo>
                  <a:pt x="667" y="594"/>
                  <a:pt x="670" y="596"/>
                  <a:pt x="672" y="596"/>
                </a:cubicBezTo>
                <a:cubicBezTo>
                  <a:pt x="675" y="596"/>
                  <a:pt x="677" y="594"/>
                  <a:pt x="677" y="591"/>
                </a:cubicBezTo>
                <a:close/>
                <a:moveTo>
                  <a:pt x="670" y="578"/>
                </a:moveTo>
                <a:cubicBezTo>
                  <a:pt x="670" y="575"/>
                  <a:pt x="668" y="573"/>
                  <a:pt x="665" y="573"/>
                </a:cubicBezTo>
                <a:cubicBezTo>
                  <a:pt x="663" y="573"/>
                  <a:pt x="661" y="575"/>
                  <a:pt x="661" y="578"/>
                </a:cubicBezTo>
                <a:cubicBezTo>
                  <a:pt x="661" y="580"/>
                  <a:pt x="663" y="582"/>
                  <a:pt x="665" y="582"/>
                </a:cubicBezTo>
                <a:cubicBezTo>
                  <a:pt x="668" y="582"/>
                  <a:pt x="670" y="580"/>
                  <a:pt x="670" y="578"/>
                </a:cubicBezTo>
                <a:close/>
                <a:moveTo>
                  <a:pt x="663" y="564"/>
                </a:moveTo>
                <a:cubicBezTo>
                  <a:pt x="663" y="561"/>
                  <a:pt x="661" y="559"/>
                  <a:pt x="658" y="559"/>
                </a:cubicBezTo>
                <a:cubicBezTo>
                  <a:pt x="656" y="559"/>
                  <a:pt x="654" y="561"/>
                  <a:pt x="654" y="564"/>
                </a:cubicBezTo>
                <a:cubicBezTo>
                  <a:pt x="654" y="566"/>
                  <a:pt x="656" y="568"/>
                  <a:pt x="658" y="568"/>
                </a:cubicBezTo>
                <a:cubicBezTo>
                  <a:pt x="661" y="568"/>
                  <a:pt x="663" y="566"/>
                  <a:pt x="663" y="564"/>
                </a:cubicBezTo>
                <a:close/>
                <a:moveTo>
                  <a:pt x="690" y="591"/>
                </a:moveTo>
                <a:cubicBezTo>
                  <a:pt x="690" y="589"/>
                  <a:pt x="688" y="587"/>
                  <a:pt x="686" y="587"/>
                </a:cubicBezTo>
                <a:cubicBezTo>
                  <a:pt x="683" y="587"/>
                  <a:pt x="681" y="589"/>
                  <a:pt x="681" y="591"/>
                </a:cubicBezTo>
                <a:cubicBezTo>
                  <a:pt x="681" y="594"/>
                  <a:pt x="683" y="596"/>
                  <a:pt x="686" y="596"/>
                </a:cubicBezTo>
                <a:cubicBezTo>
                  <a:pt x="688" y="596"/>
                  <a:pt x="690" y="594"/>
                  <a:pt x="690" y="591"/>
                </a:cubicBezTo>
                <a:close/>
                <a:moveTo>
                  <a:pt x="699" y="587"/>
                </a:moveTo>
                <a:cubicBezTo>
                  <a:pt x="697" y="587"/>
                  <a:pt x="695" y="589"/>
                  <a:pt x="695" y="591"/>
                </a:cubicBezTo>
                <a:cubicBezTo>
                  <a:pt x="695" y="594"/>
                  <a:pt x="697" y="596"/>
                  <a:pt x="699" y="596"/>
                </a:cubicBezTo>
                <a:cubicBezTo>
                  <a:pt x="702" y="596"/>
                  <a:pt x="704" y="594"/>
                  <a:pt x="704" y="591"/>
                </a:cubicBezTo>
                <a:cubicBezTo>
                  <a:pt x="704" y="589"/>
                  <a:pt x="702" y="587"/>
                  <a:pt x="699" y="587"/>
                </a:cubicBezTo>
                <a:close/>
                <a:moveTo>
                  <a:pt x="590" y="423"/>
                </a:moveTo>
                <a:cubicBezTo>
                  <a:pt x="588" y="423"/>
                  <a:pt x="586" y="425"/>
                  <a:pt x="586" y="428"/>
                </a:cubicBezTo>
                <a:cubicBezTo>
                  <a:pt x="586" y="430"/>
                  <a:pt x="588" y="432"/>
                  <a:pt x="590" y="432"/>
                </a:cubicBezTo>
                <a:cubicBezTo>
                  <a:pt x="593" y="432"/>
                  <a:pt x="595" y="430"/>
                  <a:pt x="595" y="428"/>
                </a:cubicBezTo>
                <a:cubicBezTo>
                  <a:pt x="595" y="425"/>
                  <a:pt x="593" y="423"/>
                  <a:pt x="590" y="423"/>
                </a:cubicBezTo>
                <a:close/>
                <a:moveTo>
                  <a:pt x="1162" y="478"/>
                </a:moveTo>
                <a:cubicBezTo>
                  <a:pt x="1160" y="478"/>
                  <a:pt x="1158" y="480"/>
                  <a:pt x="1158" y="482"/>
                </a:cubicBezTo>
                <a:cubicBezTo>
                  <a:pt x="1158" y="485"/>
                  <a:pt x="1160" y="487"/>
                  <a:pt x="1162" y="487"/>
                </a:cubicBezTo>
                <a:cubicBezTo>
                  <a:pt x="1165" y="487"/>
                  <a:pt x="1167" y="485"/>
                  <a:pt x="1167" y="482"/>
                </a:cubicBezTo>
                <a:cubicBezTo>
                  <a:pt x="1167" y="480"/>
                  <a:pt x="1165" y="478"/>
                  <a:pt x="1162" y="478"/>
                </a:cubicBezTo>
                <a:close/>
                <a:moveTo>
                  <a:pt x="1174" y="196"/>
                </a:moveTo>
                <a:cubicBezTo>
                  <a:pt x="1174" y="193"/>
                  <a:pt x="1172" y="191"/>
                  <a:pt x="1169" y="191"/>
                </a:cubicBezTo>
                <a:cubicBezTo>
                  <a:pt x="1167" y="191"/>
                  <a:pt x="1165" y="193"/>
                  <a:pt x="1165" y="196"/>
                </a:cubicBezTo>
                <a:cubicBezTo>
                  <a:pt x="1165" y="198"/>
                  <a:pt x="1167" y="200"/>
                  <a:pt x="1169" y="200"/>
                </a:cubicBezTo>
                <a:cubicBezTo>
                  <a:pt x="1172" y="200"/>
                  <a:pt x="1174" y="198"/>
                  <a:pt x="1174" y="196"/>
                </a:cubicBezTo>
                <a:close/>
                <a:moveTo>
                  <a:pt x="1183" y="491"/>
                </a:moveTo>
                <a:cubicBezTo>
                  <a:pt x="1180" y="491"/>
                  <a:pt x="1178" y="493"/>
                  <a:pt x="1178" y="496"/>
                </a:cubicBezTo>
                <a:cubicBezTo>
                  <a:pt x="1178" y="498"/>
                  <a:pt x="1180" y="500"/>
                  <a:pt x="1183" y="500"/>
                </a:cubicBezTo>
                <a:cubicBezTo>
                  <a:pt x="1185" y="500"/>
                  <a:pt x="1187" y="498"/>
                  <a:pt x="1187" y="496"/>
                </a:cubicBezTo>
                <a:cubicBezTo>
                  <a:pt x="1187" y="493"/>
                  <a:pt x="1185" y="491"/>
                  <a:pt x="1183" y="491"/>
                </a:cubicBezTo>
                <a:close/>
                <a:moveTo>
                  <a:pt x="1180" y="482"/>
                </a:moveTo>
                <a:cubicBezTo>
                  <a:pt x="1180" y="480"/>
                  <a:pt x="1178" y="478"/>
                  <a:pt x="1176" y="478"/>
                </a:cubicBezTo>
                <a:cubicBezTo>
                  <a:pt x="1173" y="478"/>
                  <a:pt x="1171" y="480"/>
                  <a:pt x="1171" y="482"/>
                </a:cubicBezTo>
                <a:cubicBezTo>
                  <a:pt x="1171" y="485"/>
                  <a:pt x="1173" y="487"/>
                  <a:pt x="1176" y="487"/>
                </a:cubicBezTo>
                <a:cubicBezTo>
                  <a:pt x="1178" y="487"/>
                  <a:pt x="1180" y="485"/>
                  <a:pt x="1180" y="482"/>
                </a:cubicBezTo>
                <a:close/>
                <a:moveTo>
                  <a:pt x="1190" y="177"/>
                </a:moveTo>
                <a:cubicBezTo>
                  <a:pt x="1187" y="177"/>
                  <a:pt x="1185" y="179"/>
                  <a:pt x="1185" y="182"/>
                </a:cubicBezTo>
                <a:cubicBezTo>
                  <a:pt x="1185" y="185"/>
                  <a:pt x="1187" y="187"/>
                  <a:pt x="1190" y="187"/>
                </a:cubicBezTo>
                <a:cubicBezTo>
                  <a:pt x="1192" y="187"/>
                  <a:pt x="1194" y="185"/>
                  <a:pt x="1194" y="182"/>
                </a:cubicBezTo>
                <a:cubicBezTo>
                  <a:pt x="1194" y="179"/>
                  <a:pt x="1192" y="177"/>
                  <a:pt x="1190" y="177"/>
                </a:cubicBezTo>
                <a:close/>
                <a:moveTo>
                  <a:pt x="1190" y="150"/>
                </a:moveTo>
                <a:cubicBezTo>
                  <a:pt x="1187" y="150"/>
                  <a:pt x="1185" y="152"/>
                  <a:pt x="1185" y="155"/>
                </a:cubicBezTo>
                <a:cubicBezTo>
                  <a:pt x="1185" y="157"/>
                  <a:pt x="1187" y="159"/>
                  <a:pt x="1190" y="159"/>
                </a:cubicBezTo>
                <a:cubicBezTo>
                  <a:pt x="1192" y="159"/>
                  <a:pt x="1194" y="157"/>
                  <a:pt x="1194" y="155"/>
                </a:cubicBezTo>
                <a:cubicBezTo>
                  <a:pt x="1194" y="152"/>
                  <a:pt x="1192" y="150"/>
                  <a:pt x="1190" y="150"/>
                </a:cubicBezTo>
                <a:close/>
                <a:moveTo>
                  <a:pt x="1149" y="587"/>
                </a:moveTo>
                <a:cubicBezTo>
                  <a:pt x="1146" y="587"/>
                  <a:pt x="1144" y="589"/>
                  <a:pt x="1144" y="591"/>
                </a:cubicBezTo>
                <a:cubicBezTo>
                  <a:pt x="1144" y="594"/>
                  <a:pt x="1146" y="596"/>
                  <a:pt x="1149" y="596"/>
                </a:cubicBezTo>
                <a:cubicBezTo>
                  <a:pt x="1151" y="596"/>
                  <a:pt x="1153" y="594"/>
                  <a:pt x="1153" y="591"/>
                </a:cubicBezTo>
                <a:cubicBezTo>
                  <a:pt x="1153" y="589"/>
                  <a:pt x="1151" y="587"/>
                  <a:pt x="1149" y="587"/>
                </a:cubicBezTo>
                <a:close/>
                <a:moveTo>
                  <a:pt x="1135" y="641"/>
                </a:moveTo>
                <a:cubicBezTo>
                  <a:pt x="1133" y="641"/>
                  <a:pt x="1131" y="643"/>
                  <a:pt x="1131" y="646"/>
                </a:cubicBezTo>
                <a:cubicBezTo>
                  <a:pt x="1131" y="648"/>
                  <a:pt x="1133" y="650"/>
                  <a:pt x="1135" y="650"/>
                </a:cubicBezTo>
                <a:cubicBezTo>
                  <a:pt x="1138" y="650"/>
                  <a:pt x="1140" y="648"/>
                  <a:pt x="1140" y="646"/>
                </a:cubicBezTo>
                <a:cubicBezTo>
                  <a:pt x="1140" y="643"/>
                  <a:pt x="1138" y="641"/>
                  <a:pt x="1135" y="641"/>
                </a:cubicBezTo>
                <a:close/>
                <a:moveTo>
                  <a:pt x="1135" y="614"/>
                </a:moveTo>
                <a:cubicBezTo>
                  <a:pt x="1133" y="614"/>
                  <a:pt x="1131" y="616"/>
                  <a:pt x="1131" y="619"/>
                </a:cubicBezTo>
                <a:cubicBezTo>
                  <a:pt x="1131" y="621"/>
                  <a:pt x="1133" y="623"/>
                  <a:pt x="1135" y="623"/>
                </a:cubicBezTo>
                <a:cubicBezTo>
                  <a:pt x="1138" y="623"/>
                  <a:pt x="1140" y="621"/>
                  <a:pt x="1140" y="619"/>
                </a:cubicBezTo>
                <a:cubicBezTo>
                  <a:pt x="1140" y="616"/>
                  <a:pt x="1138" y="614"/>
                  <a:pt x="1135" y="614"/>
                </a:cubicBezTo>
                <a:close/>
                <a:moveTo>
                  <a:pt x="1133" y="632"/>
                </a:moveTo>
                <a:cubicBezTo>
                  <a:pt x="1133" y="630"/>
                  <a:pt x="1131" y="628"/>
                  <a:pt x="1128" y="628"/>
                </a:cubicBezTo>
                <a:cubicBezTo>
                  <a:pt x="1126" y="628"/>
                  <a:pt x="1124" y="630"/>
                  <a:pt x="1124" y="632"/>
                </a:cubicBezTo>
                <a:cubicBezTo>
                  <a:pt x="1124" y="635"/>
                  <a:pt x="1126" y="637"/>
                  <a:pt x="1128" y="637"/>
                </a:cubicBezTo>
                <a:cubicBezTo>
                  <a:pt x="1131" y="637"/>
                  <a:pt x="1133" y="635"/>
                  <a:pt x="1133" y="632"/>
                </a:cubicBezTo>
                <a:close/>
                <a:moveTo>
                  <a:pt x="1201" y="141"/>
                </a:moveTo>
                <a:cubicBezTo>
                  <a:pt x="1201" y="139"/>
                  <a:pt x="1199" y="137"/>
                  <a:pt x="1196" y="137"/>
                </a:cubicBezTo>
                <a:cubicBezTo>
                  <a:pt x="1194" y="137"/>
                  <a:pt x="1192" y="139"/>
                  <a:pt x="1192" y="141"/>
                </a:cubicBezTo>
                <a:cubicBezTo>
                  <a:pt x="1192" y="144"/>
                  <a:pt x="1194" y="146"/>
                  <a:pt x="1196" y="146"/>
                </a:cubicBezTo>
                <a:cubicBezTo>
                  <a:pt x="1199" y="146"/>
                  <a:pt x="1201" y="144"/>
                  <a:pt x="1201" y="141"/>
                </a:cubicBezTo>
                <a:close/>
                <a:moveTo>
                  <a:pt x="1142" y="600"/>
                </a:moveTo>
                <a:cubicBezTo>
                  <a:pt x="1139" y="600"/>
                  <a:pt x="1137" y="602"/>
                  <a:pt x="1137" y="605"/>
                </a:cubicBezTo>
                <a:cubicBezTo>
                  <a:pt x="1137" y="607"/>
                  <a:pt x="1139" y="609"/>
                  <a:pt x="1142" y="609"/>
                </a:cubicBezTo>
                <a:cubicBezTo>
                  <a:pt x="1144" y="609"/>
                  <a:pt x="1146" y="607"/>
                  <a:pt x="1146" y="605"/>
                </a:cubicBezTo>
                <a:cubicBezTo>
                  <a:pt x="1146" y="602"/>
                  <a:pt x="1144" y="600"/>
                  <a:pt x="1142" y="600"/>
                </a:cubicBezTo>
                <a:close/>
                <a:moveTo>
                  <a:pt x="1126" y="619"/>
                </a:moveTo>
                <a:cubicBezTo>
                  <a:pt x="1126" y="616"/>
                  <a:pt x="1124" y="614"/>
                  <a:pt x="1121" y="614"/>
                </a:cubicBezTo>
                <a:cubicBezTo>
                  <a:pt x="1119" y="614"/>
                  <a:pt x="1117" y="616"/>
                  <a:pt x="1117" y="619"/>
                </a:cubicBezTo>
                <a:cubicBezTo>
                  <a:pt x="1117" y="621"/>
                  <a:pt x="1119" y="623"/>
                  <a:pt x="1121" y="623"/>
                </a:cubicBezTo>
                <a:cubicBezTo>
                  <a:pt x="1124" y="623"/>
                  <a:pt x="1126" y="621"/>
                  <a:pt x="1126" y="619"/>
                </a:cubicBezTo>
                <a:close/>
                <a:moveTo>
                  <a:pt x="1155" y="573"/>
                </a:moveTo>
                <a:cubicBezTo>
                  <a:pt x="1153" y="573"/>
                  <a:pt x="1151" y="575"/>
                  <a:pt x="1151" y="578"/>
                </a:cubicBezTo>
                <a:cubicBezTo>
                  <a:pt x="1151" y="580"/>
                  <a:pt x="1153" y="582"/>
                  <a:pt x="1155" y="582"/>
                </a:cubicBezTo>
                <a:cubicBezTo>
                  <a:pt x="1158" y="582"/>
                  <a:pt x="1160" y="580"/>
                  <a:pt x="1160" y="578"/>
                </a:cubicBezTo>
                <a:cubicBezTo>
                  <a:pt x="1160" y="575"/>
                  <a:pt x="1158" y="573"/>
                  <a:pt x="1155" y="573"/>
                </a:cubicBezTo>
                <a:close/>
                <a:moveTo>
                  <a:pt x="1251" y="628"/>
                </a:moveTo>
                <a:cubicBezTo>
                  <a:pt x="1248" y="628"/>
                  <a:pt x="1246" y="630"/>
                  <a:pt x="1246" y="632"/>
                </a:cubicBezTo>
                <a:cubicBezTo>
                  <a:pt x="1246" y="635"/>
                  <a:pt x="1248" y="637"/>
                  <a:pt x="1251" y="637"/>
                </a:cubicBezTo>
                <a:cubicBezTo>
                  <a:pt x="1253" y="637"/>
                  <a:pt x="1255" y="635"/>
                  <a:pt x="1255" y="632"/>
                </a:cubicBezTo>
                <a:cubicBezTo>
                  <a:pt x="1255" y="630"/>
                  <a:pt x="1253" y="628"/>
                  <a:pt x="1251" y="628"/>
                </a:cubicBezTo>
                <a:close/>
                <a:moveTo>
                  <a:pt x="1251" y="109"/>
                </a:moveTo>
                <a:cubicBezTo>
                  <a:pt x="1248" y="109"/>
                  <a:pt x="1246" y="111"/>
                  <a:pt x="1246" y="114"/>
                </a:cubicBezTo>
                <a:cubicBezTo>
                  <a:pt x="1246" y="116"/>
                  <a:pt x="1248" y="118"/>
                  <a:pt x="1251" y="118"/>
                </a:cubicBezTo>
                <a:cubicBezTo>
                  <a:pt x="1253" y="118"/>
                  <a:pt x="1255" y="116"/>
                  <a:pt x="1255" y="114"/>
                </a:cubicBezTo>
                <a:cubicBezTo>
                  <a:pt x="1255" y="111"/>
                  <a:pt x="1253" y="109"/>
                  <a:pt x="1251" y="109"/>
                </a:cubicBezTo>
                <a:close/>
                <a:moveTo>
                  <a:pt x="1251" y="519"/>
                </a:moveTo>
                <a:cubicBezTo>
                  <a:pt x="1248" y="519"/>
                  <a:pt x="1246" y="521"/>
                  <a:pt x="1246" y="523"/>
                </a:cubicBezTo>
                <a:cubicBezTo>
                  <a:pt x="1246" y="526"/>
                  <a:pt x="1248" y="528"/>
                  <a:pt x="1251" y="528"/>
                </a:cubicBezTo>
                <a:cubicBezTo>
                  <a:pt x="1253" y="528"/>
                  <a:pt x="1255" y="526"/>
                  <a:pt x="1255" y="523"/>
                </a:cubicBezTo>
                <a:cubicBezTo>
                  <a:pt x="1255" y="521"/>
                  <a:pt x="1253" y="519"/>
                  <a:pt x="1251" y="519"/>
                </a:cubicBezTo>
                <a:close/>
                <a:moveTo>
                  <a:pt x="935" y="346"/>
                </a:moveTo>
                <a:cubicBezTo>
                  <a:pt x="935" y="343"/>
                  <a:pt x="933" y="341"/>
                  <a:pt x="931" y="341"/>
                </a:cubicBezTo>
                <a:cubicBezTo>
                  <a:pt x="928" y="341"/>
                  <a:pt x="926" y="343"/>
                  <a:pt x="926" y="346"/>
                </a:cubicBezTo>
                <a:cubicBezTo>
                  <a:pt x="926" y="348"/>
                  <a:pt x="928" y="350"/>
                  <a:pt x="931" y="350"/>
                </a:cubicBezTo>
                <a:cubicBezTo>
                  <a:pt x="933" y="350"/>
                  <a:pt x="935" y="348"/>
                  <a:pt x="935" y="346"/>
                </a:cubicBezTo>
                <a:close/>
                <a:moveTo>
                  <a:pt x="1264" y="82"/>
                </a:moveTo>
                <a:cubicBezTo>
                  <a:pt x="1262" y="82"/>
                  <a:pt x="1260" y="84"/>
                  <a:pt x="1260" y="87"/>
                </a:cubicBezTo>
                <a:cubicBezTo>
                  <a:pt x="1260" y="89"/>
                  <a:pt x="1262" y="91"/>
                  <a:pt x="1264" y="91"/>
                </a:cubicBezTo>
                <a:cubicBezTo>
                  <a:pt x="1267" y="91"/>
                  <a:pt x="1269" y="89"/>
                  <a:pt x="1269" y="87"/>
                </a:cubicBezTo>
                <a:cubicBezTo>
                  <a:pt x="1269" y="84"/>
                  <a:pt x="1267" y="82"/>
                  <a:pt x="1264" y="82"/>
                </a:cubicBezTo>
                <a:close/>
                <a:moveTo>
                  <a:pt x="1278" y="109"/>
                </a:moveTo>
                <a:cubicBezTo>
                  <a:pt x="1276" y="109"/>
                  <a:pt x="1274" y="111"/>
                  <a:pt x="1274" y="114"/>
                </a:cubicBezTo>
                <a:cubicBezTo>
                  <a:pt x="1274" y="116"/>
                  <a:pt x="1276" y="118"/>
                  <a:pt x="1278" y="118"/>
                </a:cubicBezTo>
                <a:cubicBezTo>
                  <a:pt x="1281" y="118"/>
                  <a:pt x="1283" y="116"/>
                  <a:pt x="1283" y="114"/>
                </a:cubicBezTo>
                <a:cubicBezTo>
                  <a:pt x="1283" y="111"/>
                  <a:pt x="1281" y="109"/>
                  <a:pt x="1278" y="109"/>
                </a:cubicBezTo>
                <a:close/>
                <a:moveTo>
                  <a:pt x="1228" y="141"/>
                </a:moveTo>
                <a:cubicBezTo>
                  <a:pt x="1228" y="139"/>
                  <a:pt x="1226" y="137"/>
                  <a:pt x="1224" y="137"/>
                </a:cubicBezTo>
                <a:cubicBezTo>
                  <a:pt x="1221" y="137"/>
                  <a:pt x="1219" y="139"/>
                  <a:pt x="1219" y="141"/>
                </a:cubicBezTo>
                <a:cubicBezTo>
                  <a:pt x="1219" y="144"/>
                  <a:pt x="1221" y="146"/>
                  <a:pt x="1224" y="146"/>
                </a:cubicBezTo>
                <a:cubicBezTo>
                  <a:pt x="1226" y="146"/>
                  <a:pt x="1228" y="144"/>
                  <a:pt x="1228" y="141"/>
                </a:cubicBezTo>
                <a:close/>
                <a:moveTo>
                  <a:pt x="1217" y="641"/>
                </a:moveTo>
                <a:cubicBezTo>
                  <a:pt x="1214" y="641"/>
                  <a:pt x="1212" y="643"/>
                  <a:pt x="1212" y="646"/>
                </a:cubicBezTo>
                <a:cubicBezTo>
                  <a:pt x="1212" y="648"/>
                  <a:pt x="1214" y="650"/>
                  <a:pt x="1217" y="650"/>
                </a:cubicBezTo>
                <a:cubicBezTo>
                  <a:pt x="1219" y="650"/>
                  <a:pt x="1221" y="648"/>
                  <a:pt x="1221" y="646"/>
                </a:cubicBezTo>
                <a:cubicBezTo>
                  <a:pt x="1221" y="643"/>
                  <a:pt x="1219" y="641"/>
                  <a:pt x="1217" y="641"/>
                </a:cubicBezTo>
                <a:close/>
                <a:moveTo>
                  <a:pt x="1208" y="537"/>
                </a:moveTo>
                <a:cubicBezTo>
                  <a:pt x="1208" y="534"/>
                  <a:pt x="1206" y="532"/>
                  <a:pt x="1203" y="532"/>
                </a:cubicBezTo>
                <a:cubicBezTo>
                  <a:pt x="1201" y="532"/>
                  <a:pt x="1199" y="534"/>
                  <a:pt x="1199" y="537"/>
                </a:cubicBezTo>
                <a:cubicBezTo>
                  <a:pt x="1199" y="539"/>
                  <a:pt x="1201" y="541"/>
                  <a:pt x="1203" y="541"/>
                </a:cubicBezTo>
                <a:cubicBezTo>
                  <a:pt x="1206" y="541"/>
                  <a:pt x="1208" y="539"/>
                  <a:pt x="1208" y="537"/>
                </a:cubicBezTo>
                <a:close/>
                <a:moveTo>
                  <a:pt x="1249" y="619"/>
                </a:moveTo>
                <a:cubicBezTo>
                  <a:pt x="1249" y="616"/>
                  <a:pt x="1247" y="614"/>
                  <a:pt x="1244" y="614"/>
                </a:cubicBezTo>
                <a:cubicBezTo>
                  <a:pt x="1242" y="614"/>
                  <a:pt x="1240" y="616"/>
                  <a:pt x="1240" y="619"/>
                </a:cubicBezTo>
                <a:cubicBezTo>
                  <a:pt x="1240" y="621"/>
                  <a:pt x="1242" y="623"/>
                  <a:pt x="1244" y="623"/>
                </a:cubicBezTo>
                <a:cubicBezTo>
                  <a:pt x="1247" y="623"/>
                  <a:pt x="1249" y="621"/>
                  <a:pt x="1249" y="619"/>
                </a:cubicBezTo>
                <a:close/>
                <a:moveTo>
                  <a:pt x="1210" y="655"/>
                </a:moveTo>
                <a:cubicBezTo>
                  <a:pt x="1207" y="655"/>
                  <a:pt x="1205" y="657"/>
                  <a:pt x="1205" y="659"/>
                </a:cubicBezTo>
                <a:cubicBezTo>
                  <a:pt x="1205" y="662"/>
                  <a:pt x="1207" y="664"/>
                  <a:pt x="1210" y="664"/>
                </a:cubicBezTo>
                <a:cubicBezTo>
                  <a:pt x="1212" y="664"/>
                  <a:pt x="1215" y="662"/>
                  <a:pt x="1215" y="659"/>
                </a:cubicBezTo>
                <a:cubicBezTo>
                  <a:pt x="1215" y="657"/>
                  <a:pt x="1212" y="655"/>
                  <a:pt x="1210" y="655"/>
                </a:cubicBezTo>
                <a:close/>
                <a:moveTo>
                  <a:pt x="1230" y="641"/>
                </a:moveTo>
                <a:cubicBezTo>
                  <a:pt x="1228" y="641"/>
                  <a:pt x="1226" y="643"/>
                  <a:pt x="1226" y="646"/>
                </a:cubicBezTo>
                <a:cubicBezTo>
                  <a:pt x="1226" y="648"/>
                  <a:pt x="1228" y="650"/>
                  <a:pt x="1230" y="650"/>
                </a:cubicBezTo>
                <a:cubicBezTo>
                  <a:pt x="1233" y="650"/>
                  <a:pt x="1235" y="648"/>
                  <a:pt x="1235" y="646"/>
                </a:cubicBezTo>
                <a:cubicBezTo>
                  <a:pt x="1235" y="643"/>
                  <a:pt x="1233" y="641"/>
                  <a:pt x="1230" y="641"/>
                </a:cubicBezTo>
                <a:close/>
                <a:moveTo>
                  <a:pt x="1237" y="628"/>
                </a:moveTo>
                <a:cubicBezTo>
                  <a:pt x="1235" y="628"/>
                  <a:pt x="1233" y="630"/>
                  <a:pt x="1233" y="632"/>
                </a:cubicBezTo>
                <a:cubicBezTo>
                  <a:pt x="1233" y="635"/>
                  <a:pt x="1235" y="637"/>
                  <a:pt x="1237" y="637"/>
                </a:cubicBezTo>
                <a:cubicBezTo>
                  <a:pt x="1240" y="637"/>
                  <a:pt x="1242" y="635"/>
                  <a:pt x="1242" y="632"/>
                </a:cubicBezTo>
                <a:cubicBezTo>
                  <a:pt x="1242" y="630"/>
                  <a:pt x="1240" y="628"/>
                  <a:pt x="1237" y="628"/>
                </a:cubicBezTo>
                <a:close/>
                <a:moveTo>
                  <a:pt x="1264" y="109"/>
                </a:moveTo>
                <a:cubicBezTo>
                  <a:pt x="1262" y="109"/>
                  <a:pt x="1260" y="111"/>
                  <a:pt x="1260" y="114"/>
                </a:cubicBezTo>
                <a:cubicBezTo>
                  <a:pt x="1260" y="116"/>
                  <a:pt x="1262" y="118"/>
                  <a:pt x="1264" y="118"/>
                </a:cubicBezTo>
                <a:cubicBezTo>
                  <a:pt x="1267" y="118"/>
                  <a:pt x="1269" y="116"/>
                  <a:pt x="1269" y="114"/>
                </a:cubicBezTo>
                <a:cubicBezTo>
                  <a:pt x="1269" y="111"/>
                  <a:pt x="1267" y="109"/>
                  <a:pt x="1264" y="109"/>
                </a:cubicBezTo>
                <a:close/>
                <a:moveTo>
                  <a:pt x="1119" y="605"/>
                </a:moveTo>
                <a:cubicBezTo>
                  <a:pt x="1119" y="602"/>
                  <a:pt x="1117" y="600"/>
                  <a:pt x="1115" y="600"/>
                </a:cubicBezTo>
                <a:cubicBezTo>
                  <a:pt x="1112" y="600"/>
                  <a:pt x="1110" y="602"/>
                  <a:pt x="1110" y="605"/>
                </a:cubicBezTo>
                <a:cubicBezTo>
                  <a:pt x="1110" y="607"/>
                  <a:pt x="1112" y="609"/>
                  <a:pt x="1115" y="609"/>
                </a:cubicBezTo>
                <a:cubicBezTo>
                  <a:pt x="1117" y="609"/>
                  <a:pt x="1119" y="607"/>
                  <a:pt x="1119" y="605"/>
                </a:cubicBezTo>
                <a:close/>
                <a:moveTo>
                  <a:pt x="997" y="441"/>
                </a:moveTo>
                <a:cubicBezTo>
                  <a:pt x="997" y="439"/>
                  <a:pt x="995" y="437"/>
                  <a:pt x="992" y="437"/>
                </a:cubicBezTo>
                <a:cubicBezTo>
                  <a:pt x="990" y="437"/>
                  <a:pt x="988" y="439"/>
                  <a:pt x="988" y="441"/>
                </a:cubicBezTo>
                <a:cubicBezTo>
                  <a:pt x="988" y="444"/>
                  <a:pt x="990" y="446"/>
                  <a:pt x="992" y="446"/>
                </a:cubicBezTo>
                <a:cubicBezTo>
                  <a:pt x="995" y="446"/>
                  <a:pt x="997" y="444"/>
                  <a:pt x="997" y="441"/>
                </a:cubicBezTo>
                <a:close/>
                <a:moveTo>
                  <a:pt x="985" y="478"/>
                </a:moveTo>
                <a:cubicBezTo>
                  <a:pt x="983" y="478"/>
                  <a:pt x="981" y="480"/>
                  <a:pt x="981" y="482"/>
                </a:cubicBezTo>
                <a:cubicBezTo>
                  <a:pt x="981" y="485"/>
                  <a:pt x="983" y="487"/>
                  <a:pt x="985" y="487"/>
                </a:cubicBezTo>
                <a:cubicBezTo>
                  <a:pt x="988" y="487"/>
                  <a:pt x="990" y="485"/>
                  <a:pt x="990" y="482"/>
                </a:cubicBezTo>
                <a:cubicBezTo>
                  <a:pt x="990" y="480"/>
                  <a:pt x="988" y="478"/>
                  <a:pt x="985" y="478"/>
                </a:cubicBezTo>
                <a:close/>
                <a:moveTo>
                  <a:pt x="983" y="468"/>
                </a:moveTo>
                <a:cubicBezTo>
                  <a:pt x="983" y="466"/>
                  <a:pt x="981" y="464"/>
                  <a:pt x="978" y="464"/>
                </a:cubicBezTo>
                <a:cubicBezTo>
                  <a:pt x="976" y="464"/>
                  <a:pt x="974" y="466"/>
                  <a:pt x="974" y="468"/>
                </a:cubicBezTo>
                <a:cubicBezTo>
                  <a:pt x="974" y="471"/>
                  <a:pt x="976" y="473"/>
                  <a:pt x="978" y="473"/>
                </a:cubicBezTo>
                <a:cubicBezTo>
                  <a:pt x="981" y="473"/>
                  <a:pt x="983" y="471"/>
                  <a:pt x="983" y="468"/>
                </a:cubicBezTo>
                <a:close/>
                <a:moveTo>
                  <a:pt x="1024" y="578"/>
                </a:moveTo>
                <a:cubicBezTo>
                  <a:pt x="1024" y="575"/>
                  <a:pt x="1022" y="573"/>
                  <a:pt x="1019" y="573"/>
                </a:cubicBezTo>
                <a:cubicBezTo>
                  <a:pt x="1017" y="573"/>
                  <a:pt x="1015" y="575"/>
                  <a:pt x="1015" y="578"/>
                </a:cubicBezTo>
                <a:cubicBezTo>
                  <a:pt x="1015" y="580"/>
                  <a:pt x="1017" y="582"/>
                  <a:pt x="1019" y="582"/>
                </a:cubicBezTo>
                <a:cubicBezTo>
                  <a:pt x="1022" y="582"/>
                  <a:pt x="1024" y="580"/>
                  <a:pt x="1024" y="578"/>
                </a:cubicBezTo>
                <a:close/>
                <a:moveTo>
                  <a:pt x="1010" y="468"/>
                </a:moveTo>
                <a:cubicBezTo>
                  <a:pt x="1010" y="466"/>
                  <a:pt x="1008" y="464"/>
                  <a:pt x="1006" y="464"/>
                </a:cubicBezTo>
                <a:cubicBezTo>
                  <a:pt x="1003" y="464"/>
                  <a:pt x="1001" y="466"/>
                  <a:pt x="1001" y="468"/>
                </a:cubicBezTo>
                <a:cubicBezTo>
                  <a:pt x="1001" y="471"/>
                  <a:pt x="1003" y="473"/>
                  <a:pt x="1006" y="473"/>
                </a:cubicBezTo>
                <a:cubicBezTo>
                  <a:pt x="1008" y="473"/>
                  <a:pt x="1010" y="471"/>
                  <a:pt x="1010" y="468"/>
                </a:cubicBezTo>
                <a:close/>
                <a:moveTo>
                  <a:pt x="1017" y="564"/>
                </a:moveTo>
                <a:cubicBezTo>
                  <a:pt x="1017" y="561"/>
                  <a:pt x="1015" y="559"/>
                  <a:pt x="1013" y="559"/>
                </a:cubicBezTo>
                <a:cubicBezTo>
                  <a:pt x="1010" y="559"/>
                  <a:pt x="1008" y="561"/>
                  <a:pt x="1008" y="564"/>
                </a:cubicBezTo>
                <a:cubicBezTo>
                  <a:pt x="1008" y="566"/>
                  <a:pt x="1010" y="568"/>
                  <a:pt x="1013" y="568"/>
                </a:cubicBezTo>
                <a:cubicBezTo>
                  <a:pt x="1015" y="568"/>
                  <a:pt x="1017" y="566"/>
                  <a:pt x="1017" y="564"/>
                </a:cubicBezTo>
                <a:close/>
                <a:moveTo>
                  <a:pt x="944" y="423"/>
                </a:moveTo>
                <a:cubicBezTo>
                  <a:pt x="942" y="423"/>
                  <a:pt x="940" y="425"/>
                  <a:pt x="940" y="428"/>
                </a:cubicBezTo>
                <a:cubicBezTo>
                  <a:pt x="940" y="430"/>
                  <a:pt x="942" y="432"/>
                  <a:pt x="944" y="432"/>
                </a:cubicBezTo>
                <a:cubicBezTo>
                  <a:pt x="947" y="432"/>
                  <a:pt x="949" y="430"/>
                  <a:pt x="949" y="428"/>
                </a:cubicBezTo>
                <a:cubicBezTo>
                  <a:pt x="949" y="425"/>
                  <a:pt x="947" y="423"/>
                  <a:pt x="944" y="423"/>
                </a:cubicBezTo>
                <a:close/>
                <a:moveTo>
                  <a:pt x="942" y="359"/>
                </a:moveTo>
                <a:cubicBezTo>
                  <a:pt x="942" y="357"/>
                  <a:pt x="940" y="355"/>
                  <a:pt x="938" y="355"/>
                </a:cubicBezTo>
                <a:cubicBezTo>
                  <a:pt x="935" y="355"/>
                  <a:pt x="933" y="357"/>
                  <a:pt x="933" y="359"/>
                </a:cubicBezTo>
                <a:cubicBezTo>
                  <a:pt x="933" y="362"/>
                  <a:pt x="935" y="364"/>
                  <a:pt x="938" y="364"/>
                </a:cubicBezTo>
                <a:cubicBezTo>
                  <a:pt x="940" y="364"/>
                  <a:pt x="942" y="362"/>
                  <a:pt x="942" y="359"/>
                </a:cubicBezTo>
                <a:close/>
                <a:moveTo>
                  <a:pt x="956" y="387"/>
                </a:moveTo>
                <a:cubicBezTo>
                  <a:pt x="956" y="384"/>
                  <a:pt x="954" y="382"/>
                  <a:pt x="951" y="382"/>
                </a:cubicBezTo>
                <a:cubicBezTo>
                  <a:pt x="949" y="382"/>
                  <a:pt x="947" y="384"/>
                  <a:pt x="947" y="387"/>
                </a:cubicBezTo>
                <a:cubicBezTo>
                  <a:pt x="947" y="389"/>
                  <a:pt x="949" y="391"/>
                  <a:pt x="951" y="391"/>
                </a:cubicBezTo>
                <a:cubicBezTo>
                  <a:pt x="954" y="391"/>
                  <a:pt x="956" y="389"/>
                  <a:pt x="956" y="387"/>
                </a:cubicBezTo>
                <a:close/>
                <a:moveTo>
                  <a:pt x="976" y="455"/>
                </a:moveTo>
                <a:cubicBezTo>
                  <a:pt x="976" y="452"/>
                  <a:pt x="974" y="450"/>
                  <a:pt x="972" y="450"/>
                </a:cubicBezTo>
                <a:cubicBezTo>
                  <a:pt x="969" y="450"/>
                  <a:pt x="967" y="452"/>
                  <a:pt x="967" y="455"/>
                </a:cubicBezTo>
                <a:cubicBezTo>
                  <a:pt x="967" y="457"/>
                  <a:pt x="969" y="459"/>
                  <a:pt x="972" y="459"/>
                </a:cubicBezTo>
                <a:cubicBezTo>
                  <a:pt x="974" y="459"/>
                  <a:pt x="976" y="457"/>
                  <a:pt x="976" y="455"/>
                </a:cubicBezTo>
                <a:close/>
                <a:moveTo>
                  <a:pt x="969" y="441"/>
                </a:moveTo>
                <a:cubicBezTo>
                  <a:pt x="969" y="439"/>
                  <a:pt x="967" y="437"/>
                  <a:pt x="965" y="437"/>
                </a:cubicBezTo>
                <a:cubicBezTo>
                  <a:pt x="962" y="437"/>
                  <a:pt x="960" y="439"/>
                  <a:pt x="960" y="441"/>
                </a:cubicBezTo>
                <a:cubicBezTo>
                  <a:pt x="960" y="444"/>
                  <a:pt x="962" y="446"/>
                  <a:pt x="965" y="446"/>
                </a:cubicBezTo>
                <a:cubicBezTo>
                  <a:pt x="967" y="446"/>
                  <a:pt x="969" y="444"/>
                  <a:pt x="969" y="441"/>
                </a:cubicBezTo>
                <a:close/>
                <a:moveTo>
                  <a:pt x="963" y="400"/>
                </a:moveTo>
                <a:cubicBezTo>
                  <a:pt x="963" y="398"/>
                  <a:pt x="961" y="396"/>
                  <a:pt x="958" y="396"/>
                </a:cubicBezTo>
                <a:cubicBezTo>
                  <a:pt x="956" y="396"/>
                  <a:pt x="954" y="398"/>
                  <a:pt x="954" y="400"/>
                </a:cubicBezTo>
                <a:cubicBezTo>
                  <a:pt x="954" y="403"/>
                  <a:pt x="956" y="405"/>
                  <a:pt x="958" y="405"/>
                </a:cubicBezTo>
                <a:cubicBezTo>
                  <a:pt x="961" y="405"/>
                  <a:pt x="963" y="403"/>
                  <a:pt x="963" y="400"/>
                </a:cubicBezTo>
                <a:close/>
                <a:moveTo>
                  <a:pt x="999" y="478"/>
                </a:moveTo>
                <a:cubicBezTo>
                  <a:pt x="996" y="478"/>
                  <a:pt x="994" y="480"/>
                  <a:pt x="994" y="482"/>
                </a:cubicBezTo>
                <a:cubicBezTo>
                  <a:pt x="994" y="485"/>
                  <a:pt x="996" y="487"/>
                  <a:pt x="999" y="487"/>
                </a:cubicBezTo>
                <a:cubicBezTo>
                  <a:pt x="1001" y="487"/>
                  <a:pt x="1003" y="485"/>
                  <a:pt x="1003" y="482"/>
                </a:cubicBezTo>
                <a:cubicBezTo>
                  <a:pt x="1003" y="480"/>
                  <a:pt x="1001" y="478"/>
                  <a:pt x="999" y="478"/>
                </a:cubicBezTo>
                <a:close/>
                <a:moveTo>
                  <a:pt x="1092" y="578"/>
                </a:moveTo>
                <a:cubicBezTo>
                  <a:pt x="1092" y="575"/>
                  <a:pt x="1090" y="573"/>
                  <a:pt x="1087" y="573"/>
                </a:cubicBezTo>
                <a:cubicBezTo>
                  <a:pt x="1085" y="573"/>
                  <a:pt x="1083" y="575"/>
                  <a:pt x="1083" y="578"/>
                </a:cubicBezTo>
                <a:cubicBezTo>
                  <a:pt x="1083" y="580"/>
                  <a:pt x="1085" y="582"/>
                  <a:pt x="1087" y="582"/>
                </a:cubicBezTo>
                <a:cubicBezTo>
                  <a:pt x="1090" y="582"/>
                  <a:pt x="1092" y="580"/>
                  <a:pt x="1092" y="578"/>
                </a:cubicBezTo>
                <a:close/>
                <a:moveTo>
                  <a:pt x="1081" y="587"/>
                </a:moveTo>
                <a:cubicBezTo>
                  <a:pt x="1078" y="587"/>
                  <a:pt x="1076" y="589"/>
                  <a:pt x="1076" y="591"/>
                </a:cubicBezTo>
                <a:cubicBezTo>
                  <a:pt x="1076" y="594"/>
                  <a:pt x="1078" y="596"/>
                  <a:pt x="1081" y="596"/>
                </a:cubicBezTo>
                <a:cubicBezTo>
                  <a:pt x="1083" y="596"/>
                  <a:pt x="1085" y="594"/>
                  <a:pt x="1085" y="591"/>
                </a:cubicBezTo>
                <a:cubicBezTo>
                  <a:pt x="1085" y="589"/>
                  <a:pt x="1083" y="587"/>
                  <a:pt x="1081" y="587"/>
                </a:cubicBezTo>
                <a:close/>
                <a:moveTo>
                  <a:pt x="1099" y="591"/>
                </a:moveTo>
                <a:cubicBezTo>
                  <a:pt x="1099" y="589"/>
                  <a:pt x="1097" y="587"/>
                  <a:pt x="1094" y="587"/>
                </a:cubicBezTo>
                <a:cubicBezTo>
                  <a:pt x="1092" y="587"/>
                  <a:pt x="1090" y="589"/>
                  <a:pt x="1090" y="591"/>
                </a:cubicBezTo>
                <a:cubicBezTo>
                  <a:pt x="1090" y="594"/>
                  <a:pt x="1092" y="596"/>
                  <a:pt x="1094" y="596"/>
                </a:cubicBezTo>
                <a:cubicBezTo>
                  <a:pt x="1097" y="596"/>
                  <a:pt x="1099" y="594"/>
                  <a:pt x="1099" y="591"/>
                </a:cubicBezTo>
                <a:close/>
                <a:moveTo>
                  <a:pt x="1078" y="578"/>
                </a:moveTo>
                <a:cubicBezTo>
                  <a:pt x="1078" y="575"/>
                  <a:pt x="1076" y="573"/>
                  <a:pt x="1074" y="573"/>
                </a:cubicBezTo>
                <a:cubicBezTo>
                  <a:pt x="1071" y="573"/>
                  <a:pt x="1069" y="575"/>
                  <a:pt x="1069" y="578"/>
                </a:cubicBezTo>
                <a:cubicBezTo>
                  <a:pt x="1069" y="580"/>
                  <a:pt x="1071" y="582"/>
                  <a:pt x="1074" y="582"/>
                </a:cubicBezTo>
                <a:cubicBezTo>
                  <a:pt x="1076" y="582"/>
                  <a:pt x="1078" y="580"/>
                  <a:pt x="1078" y="578"/>
                </a:cubicBezTo>
                <a:close/>
                <a:moveTo>
                  <a:pt x="1106" y="605"/>
                </a:moveTo>
                <a:cubicBezTo>
                  <a:pt x="1106" y="602"/>
                  <a:pt x="1104" y="600"/>
                  <a:pt x="1101" y="600"/>
                </a:cubicBezTo>
                <a:cubicBezTo>
                  <a:pt x="1099" y="600"/>
                  <a:pt x="1096" y="602"/>
                  <a:pt x="1096" y="605"/>
                </a:cubicBezTo>
                <a:cubicBezTo>
                  <a:pt x="1096" y="607"/>
                  <a:pt x="1099" y="609"/>
                  <a:pt x="1101" y="609"/>
                </a:cubicBezTo>
                <a:cubicBezTo>
                  <a:pt x="1104" y="609"/>
                  <a:pt x="1106" y="607"/>
                  <a:pt x="1106" y="605"/>
                </a:cubicBezTo>
                <a:close/>
                <a:moveTo>
                  <a:pt x="1108" y="614"/>
                </a:moveTo>
                <a:cubicBezTo>
                  <a:pt x="1105" y="614"/>
                  <a:pt x="1103" y="616"/>
                  <a:pt x="1103" y="619"/>
                </a:cubicBezTo>
                <a:cubicBezTo>
                  <a:pt x="1103" y="621"/>
                  <a:pt x="1105" y="623"/>
                  <a:pt x="1108" y="623"/>
                </a:cubicBezTo>
                <a:cubicBezTo>
                  <a:pt x="1110" y="623"/>
                  <a:pt x="1112" y="621"/>
                  <a:pt x="1112" y="619"/>
                </a:cubicBezTo>
                <a:cubicBezTo>
                  <a:pt x="1112" y="616"/>
                  <a:pt x="1110" y="614"/>
                  <a:pt x="1108" y="614"/>
                </a:cubicBezTo>
                <a:close/>
                <a:moveTo>
                  <a:pt x="1033" y="600"/>
                </a:moveTo>
                <a:cubicBezTo>
                  <a:pt x="1030" y="600"/>
                  <a:pt x="1028" y="602"/>
                  <a:pt x="1028" y="605"/>
                </a:cubicBezTo>
                <a:cubicBezTo>
                  <a:pt x="1028" y="607"/>
                  <a:pt x="1030" y="609"/>
                  <a:pt x="1033" y="609"/>
                </a:cubicBezTo>
                <a:cubicBezTo>
                  <a:pt x="1035" y="609"/>
                  <a:pt x="1037" y="607"/>
                  <a:pt x="1037" y="605"/>
                </a:cubicBezTo>
                <a:cubicBezTo>
                  <a:pt x="1037" y="602"/>
                  <a:pt x="1035" y="600"/>
                  <a:pt x="1033" y="600"/>
                </a:cubicBezTo>
                <a:close/>
                <a:moveTo>
                  <a:pt x="1040" y="587"/>
                </a:moveTo>
                <a:cubicBezTo>
                  <a:pt x="1037" y="587"/>
                  <a:pt x="1035" y="589"/>
                  <a:pt x="1035" y="591"/>
                </a:cubicBezTo>
                <a:cubicBezTo>
                  <a:pt x="1035" y="594"/>
                  <a:pt x="1037" y="596"/>
                  <a:pt x="1040" y="596"/>
                </a:cubicBezTo>
                <a:cubicBezTo>
                  <a:pt x="1042" y="596"/>
                  <a:pt x="1044" y="594"/>
                  <a:pt x="1044" y="591"/>
                </a:cubicBezTo>
                <a:cubicBezTo>
                  <a:pt x="1044" y="589"/>
                  <a:pt x="1042" y="587"/>
                  <a:pt x="1040" y="587"/>
                </a:cubicBezTo>
                <a:close/>
                <a:moveTo>
                  <a:pt x="1051" y="578"/>
                </a:moveTo>
                <a:cubicBezTo>
                  <a:pt x="1051" y="575"/>
                  <a:pt x="1049" y="573"/>
                  <a:pt x="1047" y="573"/>
                </a:cubicBezTo>
                <a:cubicBezTo>
                  <a:pt x="1044" y="573"/>
                  <a:pt x="1042" y="575"/>
                  <a:pt x="1042" y="578"/>
                </a:cubicBezTo>
                <a:cubicBezTo>
                  <a:pt x="1042" y="580"/>
                  <a:pt x="1044" y="582"/>
                  <a:pt x="1047" y="582"/>
                </a:cubicBezTo>
                <a:cubicBezTo>
                  <a:pt x="1049" y="582"/>
                  <a:pt x="1051" y="580"/>
                  <a:pt x="1051" y="578"/>
                </a:cubicBezTo>
                <a:close/>
                <a:moveTo>
                  <a:pt x="1031" y="591"/>
                </a:moveTo>
                <a:cubicBezTo>
                  <a:pt x="1031" y="589"/>
                  <a:pt x="1029" y="587"/>
                  <a:pt x="1026" y="587"/>
                </a:cubicBezTo>
                <a:cubicBezTo>
                  <a:pt x="1024" y="587"/>
                  <a:pt x="1022" y="589"/>
                  <a:pt x="1022" y="591"/>
                </a:cubicBezTo>
                <a:cubicBezTo>
                  <a:pt x="1022" y="594"/>
                  <a:pt x="1024" y="596"/>
                  <a:pt x="1026" y="596"/>
                </a:cubicBezTo>
                <a:cubicBezTo>
                  <a:pt x="1029" y="596"/>
                  <a:pt x="1031" y="594"/>
                  <a:pt x="1031" y="591"/>
                </a:cubicBezTo>
                <a:close/>
                <a:moveTo>
                  <a:pt x="1053" y="587"/>
                </a:moveTo>
                <a:cubicBezTo>
                  <a:pt x="1051" y="587"/>
                  <a:pt x="1049" y="589"/>
                  <a:pt x="1049" y="591"/>
                </a:cubicBezTo>
                <a:cubicBezTo>
                  <a:pt x="1049" y="594"/>
                  <a:pt x="1051" y="596"/>
                  <a:pt x="1053" y="596"/>
                </a:cubicBezTo>
                <a:cubicBezTo>
                  <a:pt x="1056" y="596"/>
                  <a:pt x="1058" y="594"/>
                  <a:pt x="1058" y="591"/>
                </a:cubicBezTo>
                <a:cubicBezTo>
                  <a:pt x="1058" y="589"/>
                  <a:pt x="1056" y="587"/>
                  <a:pt x="1053" y="587"/>
                </a:cubicBezTo>
                <a:close/>
                <a:moveTo>
                  <a:pt x="1067" y="587"/>
                </a:moveTo>
                <a:cubicBezTo>
                  <a:pt x="1064" y="587"/>
                  <a:pt x="1062" y="589"/>
                  <a:pt x="1062" y="591"/>
                </a:cubicBezTo>
                <a:cubicBezTo>
                  <a:pt x="1062" y="594"/>
                  <a:pt x="1064" y="596"/>
                  <a:pt x="1067" y="596"/>
                </a:cubicBezTo>
                <a:cubicBezTo>
                  <a:pt x="1070" y="596"/>
                  <a:pt x="1072" y="594"/>
                  <a:pt x="1072" y="591"/>
                </a:cubicBezTo>
                <a:cubicBezTo>
                  <a:pt x="1072" y="589"/>
                  <a:pt x="1070" y="587"/>
                  <a:pt x="1067" y="587"/>
                </a:cubicBezTo>
                <a:close/>
                <a:moveTo>
                  <a:pt x="1065" y="578"/>
                </a:moveTo>
                <a:cubicBezTo>
                  <a:pt x="1065" y="575"/>
                  <a:pt x="1063" y="573"/>
                  <a:pt x="1060" y="573"/>
                </a:cubicBezTo>
                <a:cubicBezTo>
                  <a:pt x="1058" y="573"/>
                  <a:pt x="1056" y="575"/>
                  <a:pt x="1056" y="578"/>
                </a:cubicBezTo>
                <a:cubicBezTo>
                  <a:pt x="1056" y="580"/>
                  <a:pt x="1058" y="582"/>
                  <a:pt x="1060" y="582"/>
                </a:cubicBezTo>
                <a:cubicBezTo>
                  <a:pt x="1063" y="582"/>
                  <a:pt x="1065" y="580"/>
                  <a:pt x="1065" y="578"/>
                </a:cubicBezTo>
                <a:close/>
                <a:moveTo>
                  <a:pt x="207" y="305"/>
                </a:moveTo>
                <a:cubicBezTo>
                  <a:pt x="207" y="302"/>
                  <a:pt x="205" y="300"/>
                  <a:pt x="202" y="300"/>
                </a:cubicBezTo>
                <a:cubicBezTo>
                  <a:pt x="200" y="300"/>
                  <a:pt x="198" y="302"/>
                  <a:pt x="198" y="305"/>
                </a:cubicBezTo>
                <a:cubicBezTo>
                  <a:pt x="198" y="307"/>
                  <a:pt x="200" y="309"/>
                  <a:pt x="202" y="309"/>
                </a:cubicBezTo>
                <a:cubicBezTo>
                  <a:pt x="205" y="309"/>
                  <a:pt x="207" y="307"/>
                  <a:pt x="207" y="305"/>
                </a:cubicBezTo>
                <a:close/>
                <a:moveTo>
                  <a:pt x="105" y="155"/>
                </a:moveTo>
                <a:cubicBezTo>
                  <a:pt x="105" y="152"/>
                  <a:pt x="103" y="150"/>
                  <a:pt x="100" y="150"/>
                </a:cubicBezTo>
                <a:cubicBezTo>
                  <a:pt x="98" y="150"/>
                  <a:pt x="95" y="152"/>
                  <a:pt x="95" y="155"/>
                </a:cubicBezTo>
                <a:cubicBezTo>
                  <a:pt x="95" y="157"/>
                  <a:pt x="98" y="159"/>
                  <a:pt x="100" y="159"/>
                </a:cubicBezTo>
                <a:cubicBezTo>
                  <a:pt x="103" y="159"/>
                  <a:pt x="105" y="157"/>
                  <a:pt x="105" y="155"/>
                </a:cubicBezTo>
                <a:close/>
                <a:moveTo>
                  <a:pt x="86" y="150"/>
                </a:moveTo>
                <a:cubicBezTo>
                  <a:pt x="84" y="150"/>
                  <a:pt x="82" y="152"/>
                  <a:pt x="82" y="155"/>
                </a:cubicBezTo>
                <a:cubicBezTo>
                  <a:pt x="82" y="157"/>
                  <a:pt x="84" y="159"/>
                  <a:pt x="86" y="159"/>
                </a:cubicBezTo>
                <a:cubicBezTo>
                  <a:pt x="89" y="159"/>
                  <a:pt x="91" y="157"/>
                  <a:pt x="91" y="155"/>
                </a:cubicBezTo>
                <a:cubicBezTo>
                  <a:pt x="91" y="152"/>
                  <a:pt x="89" y="150"/>
                  <a:pt x="86" y="150"/>
                </a:cubicBezTo>
                <a:close/>
                <a:moveTo>
                  <a:pt x="111" y="168"/>
                </a:moveTo>
                <a:cubicBezTo>
                  <a:pt x="111" y="166"/>
                  <a:pt x="109" y="164"/>
                  <a:pt x="107" y="164"/>
                </a:cubicBezTo>
                <a:cubicBezTo>
                  <a:pt x="104" y="164"/>
                  <a:pt x="102" y="166"/>
                  <a:pt x="102" y="168"/>
                </a:cubicBezTo>
                <a:cubicBezTo>
                  <a:pt x="102" y="171"/>
                  <a:pt x="104" y="173"/>
                  <a:pt x="107" y="173"/>
                </a:cubicBezTo>
                <a:cubicBezTo>
                  <a:pt x="109" y="173"/>
                  <a:pt x="111" y="171"/>
                  <a:pt x="111" y="168"/>
                </a:cubicBezTo>
                <a:close/>
                <a:moveTo>
                  <a:pt x="98" y="141"/>
                </a:moveTo>
                <a:cubicBezTo>
                  <a:pt x="98" y="139"/>
                  <a:pt x="96" y="137"/>
                  <a:pt x="93" y="137"/>
                </a:cubicBezTo>
                <a:cubicBezTo>
                  <a:pt x="91" y="137"/>
                  <a:pt x="89" y="139"/>
                  <a:pt x="89" y="141"/>
                </a:cubicBezTo>
                <a:cubicBezTo>
                  <a:pt x="89" y="144"/>
                  <a:pt x="91" y="146"/>
                  <a:pt x="93" y="146"/>
                </a:cubicBezTo>
                <a:cubicBezTo>
                  <a:pt x="96" y="146"/>
                  <a:pt x="98" y="144"/>
                  <a:pt x="98" y="141"/>
                </a:cubicBezTo>
                <a:close/>
                <a:moveTo>
                  <a:pt x="125" y="168"/>
                </a:moveTo>
                <a:cubicBezTo>
                  <a:pt x="125" y="166"/>
                  <a:pt x="123" y="164"/>
                  <a:pt x="120" y="164"/>
                </a:cubicBezTo>
                <a:cubicBezTo>
                  <a:pt x="118" y="164"/>
                  <a:pt x="116" y="166"/>
                  <a:pt x="116" y="168"/>
                </a:cubicBezTo>
                <a:cubicBezTo>
                  <a:pt x="116" y="171"/>
                  <a:pt x="118" y="173"/>
                  <a:pt x="120" y="173"/>
                </a:cubicBezTo>
                <a:cubicBezTo>
                  <a:pt x="123" y="173"/>
                  <a:pt x="125" y="171"/>
                  <a:pt x="125" y="168"/>
                </a:cubicBezTo>
                <a:close/>
                <a:moveTo>
                  <a:pt x="114" y="177"/>
                </a:moveTo>
                <a:cubicBezTo>
                  <a:pt x="111" y="177"/>
                  <a:pt x="109" y="179"/>
                  <a:pt x="109" y="182"/>
                </a:cubicBezTo>
                <a:cubicBezTo>
                  <a:pt x="109" y="185"/>
                  <a:pt x="111" y="187"/>
                  <a:pt x="114" y="187"/>
                </a:cubicBezTo>
                <a:cubicBezTo>
                  <a:pt x="116" y="187"/>
                  <a:pt x="118" y="185"/>
                  <a:pt x="118" y="182"/>
                </a:cubicBezTo>
                <a:cubicBezTo>
                  <a:pt x="118" y="179"/>
                  <a:pt x="116" y="177"/>
                  <a:pt x="114" y="177"/>
                </a:cubicBezTo>
                <a:close/>
                <a:moveTo>
                  <a:pt x="73" y="150"/>
                </a:moveTo>
                <a:cubicBezTo>
                  <a:pt x="70" y="150"/>
                  <a:pt x="68" y="152"/>
                  <a:pt x="68" y="155"/>
                </a:cubicBezTo>
                <a:cubicBezTo>
                  <a:pt x="68" y="157"/>
                  <a:pt x="70" y="159"/>
                  <a:pt x="73" y="159"/>
                </a:cubicBezTo>
                <a:cubicBezTo>
                  <a:pt x="75" y="159"/>
                  <a:pt x="77" y="157"/>
                  <a:pt x="77" y="155"/>
                </a:cubicBezTo>
                <a:cubicBezTo>
                  <a:pt x="77" y="152"/>
                  <a:pt x="75" y="150"/>
                  <a:pt x="73" y="150"/>
                </a:cubicBezTo>
                <a:close/>
                <a:moveTo>
                  <a:pt x="59" y="150"/>
                </a:moveTo>
                <a:cubicBezTo>
                  <a:pt x="57" y="150"/>
                  <a:pt x="55" y="152"/>
                  <a:pt x="55" y="155"/>
                </a:cubicBezTo>
                <a:cubicBezTo>
                  <a:pt x="55" y="157"/>
                  <a:pt x="57" y="159"/>
                  <a:pt x="59" y="159"/>
                </a:cubicBezTo>
                <a:cubicBezTo>
                  <a:pt x="62" y="159"/>
                  <a:pt x="64" y="157"/>
                  <a:pt x="64" y="155"/>
                </a:cubicBezTo>
                <a:cubicBezTo>
                  <a:pt x="64" y="152"/>
                  <a:pt x="62" y="150"/>
                  <a:pt x="59" y="150"/>
                </a:cubicBezTo>
                <a:close/>
                <a:moveTo>
                  <a:pt x="57" y="141"/>
                </a:moveTo>
                <a:cubicBezTo>
                  <a:pt x="57" y="139"/>
                  <a:pt x="55" y="137"/>
                  <a:pt x="52" y="137"/>
                </a:cubicBezTo>
                <a:cubicBezTo>
                  <a:pt x="50" y="137"/>
                  <a:pt x="48" y="139"/>
                  <a:pt x="48" y="141"/>
                </a:cubicBezTo>
                <a:cubicBezTo>
                  <a:pt x="48" y="144"/>
                  <a:pt x="50" y="146"/>
                  <a:pt x="52" y="146"/>
                </a:cubicBezTo>
                <a:cubicBezTo>
                  <a:pt x="55" y="146"/>
                  <a:pt x="57" y="144"/>
                  <a:pt x="57" y="141"/>
                </a:cubicBezTo>
                <a:close/>
                <a:moveTo>
                  <a:pt x="84" y="141"/>
                </a:moveTo>
                <a:cubicBezTo>
                  <a:pt x="84" y="139"/>
                  <a:pt x="82" y="137"/>
                  <a:pt x="80" y="137"/>
                </a:cubicBezTo>
                <a:cubicBezTo>
                  <a:pt x="77" y="137"/>
                  <a:pt x="75" y="139"/>
                  <a:pt x="75" y="141"/>
                </a:cubicBezTo>
                <a:cubicBezTo>
                  <a:pt x="75" y="144"/>
                  <a:pt x="77" y="146"/>
                  <a:pt x="80" y="146"/>
                </a:cubicBezTo>
                <a:cubicBezTo>
                  <a:pt x="82" y="146"/>
                  <a:pt x="84" y="144"/>
                  <a:pt x="84" y="141"/>
                </a:cubicBezTo>
                <a:close/>
                <a:moveTo>
                  <a:pt x="46" y="150"/>
                </a:moveTo>
                <a:cubicBezTo>
                  <a:pt x="43" y="150"/>
                  <a:pt x="41" y="152"/>
                  <a:pt x="41" y="155"/>
                </a:cubicBezTo>
                <a:cubicBezTo>
                  <a:pt x="41" y="157"/>
                  <a:pt x="43" y="159"/>
                  <a:pt x="46" y="159"/>
                </a:cubicBezTo>
                <a:cubicBezTo>
                  <a:pt x="48" y="159"/>
                  <a:pt x="50" y="157"/>
                  <a:pt x="50" y="155"/>
                </a:cubicBezTo>
                <a:cubicBezTo>
                  <a:pt x="50" y="152"/>
                  <a:pt x="48" y="150"/>
                  <a:pt x="46" y="150"/>
                </a:cubicBezTo>
                <a:close/>
                <a:moveTo>
                  <a:pt x="70" y="141"/>
                </a:moveTo>
                <a:cubicBezTo>
                  <a:pt x="70" y="139"/>
                  <a:pt x="68" y="137"/>
                  <a:pt x="66" y="137"/>
                </a:cubicBezTo>
                <a:cubicBezTo>
                  <a:pt x="63" y="137"/>
                  <a:pt x="61" y="139"/>
                  <a:pt x="61" y="141"/>
                </a:cubicBezTo>
                <a:cubicBezTo>
                  <a:pt x="61" y="144"/>
                  <a:pt x="63" y="146"/>
                  <a:pt x="66" y="146"/>
                </a:cubicBezTo>
                <a:cubicBezTo>
                  <a:pt x="68" y="146"/>
                  <a:pt x="70" y="144"/>
                  <a:pt x="70" y="141"/>
                </a:cubicBezTo>
                <a:close/>
                <a:moveTo>
                  <a:pt x="132" y="182"/>
                </a:moveTo>
                <a:cubicBezTo>
                  <a:pt x="132" y="179"/>
                  <a:pt x="130" y="177"/>
                  <a:pt x="127" y="177"/>
                </a:cubicBezTo>
                <a:cubicBezTo>
                  <a:pt x="125" y="177"/>
                  <a:pt x="123" y="179"/>
                  <a:pt x="123" y="182"/>
                </a:cubicBezTo>
                <a:cubicBezTo>
                  <a:pt x="123" y="185"/>
                  <a:pt x="125" y="187"/>
                  <a:pt x="127" y="187"/>
                </a:cubicBezTo>
                <a:cubicBezTo>
                  <a:pt x="130" y="187"/>
                  <a:pt x="132" y="185"/>
                  <a:pt x="132" y="182"/>
                </a:cubicBezTo>
                <a:close/>
                <a:moveTo>
                  <a:pt x="195" y="341"/>
                </a:moveTo>
                <a:cubicBezTo>
                  <a:pt x="193" y="341"/>
                  <a:pt x="191" y="343"/>
                  <a:pt x="191" y="346"/>
                </a:cubicBezTo>
                <a:cubicBezTo>
                  <a:pt x="191" y="348"/>
                  <a:pt x="193" y="350"/>
                  <a:pt x="195" y="350"/>
                </a:cubicBezTo>
                <a:cubicBezTo>
                  <a:pt x="198" y="350"/>
                  <a:pt x="200" y="348"/>
                  <a:pt x="200" y="346"/>
                </a:cubicBezTo>
                <a:cubicBezTo>
                  <a:pt x="200" y="343"/>
                  <a:pt x="198" y="341"/>
                  <a:pt x="195" y="341"/>
                </a:cubicBezTo>
                <a:close/>
                <a:moveTo>
                  <a:pt x="39" y="164"/>
                </a:moveTo>
                <a:cubicBezTo>
                  <a:pt x="36" y="164"/>
                  <a:pt x="34" y="166"/>
                  <a:pt x="34" y="168"/>
                </a:cubicBezTo>
                <a:cubicBezTo>
                  <a:pt x="34" y="171"/>
                  <a:pt x="36" y="173"/>
                  <a:pt x="39" y="173"/>
                </a:cubicBezTo>
                <a:cubicBezTo>
                  <a:pt x="41" y="173"/>
                  <a:pt x="43" y="171"/>
                  <a:pt x="43" y="168"/>
                </a:cubicBezTo>
                <a:cubicBezTo>
                  <a:pt x="43" y="166"/>
                  <a:pt x="41" y="164"/>
                  <a:pt x="39" y="164"/>
                </a:cubicBezTo>
                <a:close/>
                <a:moveTo>
                  <a:pt x="186" y="318"/>
                </a:moveTo>
                <a:cubicBezTo>
                  <a:pt x="186" y="316"/>
                  <a:pt x="184" y="314"/>
                  <a:pt x="182" y="314"/>
                </a:cubicBezTo>
                <a:cubicBezTo>
                  <a:pt x="179" y="314"/>
                  <a:pt x="177" y="316"/>
                  <a:pt x="177" y="318"/>
                </a:cubicBezTo>
                <a:cubicBezTo>
                  <a:pt x="177" y="321"/>
                  <a:pt x="179" y="323"/>
                  <a:pt x="182" y="323"/>
                </a:cubicBezTo>
                <a:cubicBezTo>
                  <a:pt x="184" y="323"/>
                  <a:pt x="186" y="321"/>
                  <a:pt x="186" y="318"/>
                </a:cubicBezTo>
                <a:close/>
                <a:moveTo>
                  <a:pt x="193" y="332"/>
                </a:moveTo>
                <a:cubicBezTo>
                  <a:pt x="193" y="330"/>
                  <a:pt x="191" y="328"/>
                  <a:pt x="189" y="328"/>
                </a:cubicBezTo>
                <a:cubicBezTo>
                  <a:pt x="186" y="328"/>
                  <a:pt x="184" y="330"/>
                  <a:pt x="184" y="332"/>
                </a:cubicBezTo>
                <a:cubicBezTo>
                  <a:pt x="184" y="335"/>
                  <a:pt x="186" y="337"/>
                  <a:pt x="189" y="337"/>
                </a:cubicBezTo>
                <a:cubicBezTo>
                  <a:pt x="191" y="337"/>
                  <a:pt x="193" y="335"/>
                  <a:pt x="193" y="332"/>
                </a:cubicBezTo>
                <a:close/>
                <a:moveTo>
                  <a:pt x="89" y="114"/>
                </a:moveTo>
                <a:cubicBezTo>
                  <a:pt x="89" y="116"/>
                  <a:pt x="91" y="118"/>
                  <a:pt x="93" y="118"/>
                </a:cubicBezTo>
                <a:cubicBezTo>
                  <a:pt x="96" y="118"/>
                  <a:pt x="98" y="116"/>
                  <a:pt x="98" y="114"/>
                </a:cubicBezTo>
                <a:cubicBezTo>
                  <a:pt x="98" y="111"/>
                  <a:pt x="96" y="109"/>
                  <a:pt x="93" y="109"/>
                </a:cubicBezTo>
                <a:cubicBezTo>
                  <a:pt x="91" y="109"/>
                  <a:pt x="89" y="111"/>
                  <a:pt x="89" y="114"/>
                </a:cubicBezTo>
                <a:close/>
                <a:moveTo>
                  <a:pt x="134" y="191"/>
                </a:moveTo>
                <a:cubicBezTo>
                  <a:pt x="132" y="191"/>
                  <a:pt x="130" y="193"/>
                  <a:pt x="130" y="196"/>
                </a:cubicBezTo>
                <a:cubicBezTo>
                  <a:pt x="130" y="198"/>
                  <a:pt x="132" y="200"/>
                  <a:pt x="134" y="200"/>
                </a:cubicBezTo>
                <a:cubicBezTo>
                  <a:pt x="137" y="200"/>
                  <a:pt x="139" y="198"/>
                  <a:pt x="139" y="196"/>
                </a:cubicBezTo>
                <a:cubicBezTo>
                  <a:pt x="139" y="193"/>
                  <a:pt x="137" y="191"/>
                  <a:pt x="134" y="191"/>
                </a:cubicBezTo>
                <a:close/>
                <a:moveTo>
                  <a:pt x="220" y="332"/>
                </a:moveTo>
                <a:cubicBezTo>
                  <a:pt x="220" y="330"/>
                  <a:pt x="218" y="328"/>
                  <a:pt x="216" y="328"/>
                </a:cubicBezTo>
                <a:cubicBezTo>
                  <a:pt x="213" y="328"/>
                  <a:pt x="211" y="330"/>
                  <a:pt x="211" y="332"/>
                </a:cubicBezTo>
                <a:cubicBezTo>
                  <a:pt x="211" y="335"/>
                  <a:pt x="213" y="337"/>
                  <a:pt x="216" y="337"/>
                </a:cubicBezTo>
                <a:cubicBezTo>
                  <a:pt x="218" y="337"/>
                  <a:pt x="220" y="335"/>
                  <a:pt x="220" y="332"/>
                </a:cubicBezTo>
                <a:close/>
                <a:moveTo>
                  <a:pt x="214" y="318"/>
                </a:moveTo>
                <a:cubicBezTo>
                  <a:pt x="214" y="316"/>
                  <a:pt x="211" y="314"/>
                  <a:pt x="209" y="314"/>
                </a:cubicBezTo>
                <a:cubicBezTo>
                  <a:pt x="206" y="314"/>
                  <a:pt x="204" y="316"/>
                  <a:pt x="204" y="318"/>
                </a:cubicBezTo>
                <a:cubicBezTo>
                  <a:pt x="204" y="321"/>
                  <a:pt x="206" y="323"/>
                  <a:pt x="209" y="323"/>
                </a:cubicBezTo>
                <a:cubicBezTo>
                  <a:pt x="211" y="323"/>
                  <a:pt x="214" y="321"/>
                  <a:pt x="214" y="318"/>
                </a:cubicBezTo>
                <a:close/>
                <a:moveTo>
                  <a:pt x="152" y="223"/>
                </a:moveTo>
                <a:cubicBezTo>
                  <a:pt x="152" y="220"/>
                  <a:pt x="150" y="218"/>
                  <a:pt x="148" y="218"/>
                </a:cubicBezTo>
                <a:cubicBezTo>
                  <a:pt x="145" y="218"/>
                  <a:pt x="143" y="220"/>
                  <a:pt x="143" y="223"/>
                </a:cubicBezTo>
                <a:cubicBezTo>
                  <a:pt x="143" y="225"/>
                  <a:pt x="145" y="227"/>
                  <a:pt x="148" y="227"/>
                </a:cubicBezTo>
                <a:cubicBezTo>
                  <a:pt x="150" y="227"/>
                  <a:pt x="152" y="225"/>
                  <a:pt x="152" y="223"/>
                </a:cubicBezTo>
                <a:close/>
                <a:moveTo>
                  <a:pt x="159" y="264"/>
                </a:moveTo>
                <a:cubicBezTo>
                  <a:pt x="159" y="261"/>
                  <a:pt x="157" y="259"/>
                  <a:pt x="154" y="259"/>
                </a:cubicBezTo>
                <a:cubicBezTo>
                  <a:pt x="152" y="259"/>
                  <a:pt x="150" y="261"/>
                  <a:pt x="150" y="264"/>
                </a:cubicBezTo>
                <a:cubicBezTo>
                  <a:pt x="150" y="266"/>
                  <a:pt x="152" y="268"/>
                  <a:pt x="154" y="268"/>
                </a:cubicBezTo>
                <a:cubicBezTo>
                  <a:pt x="157" y="268"/>
                  <a:pt x="159" y="266"/>
                  <a:pt x="159" y="264"/>
                </a:cubicBezTo>
                <a:close/>
                <a:moveTo>
                  <a:pt x="145" y="182"/>
                </a:moveTo>
                <a:cubicBezTo>
                  <a:pt x="145" y="179"/>
                  <a:pt x="143" y="177"/>
                  <a:pt x="141" y="177"/>
                </a:cubicBezTo>
                <a:cubicBezTo>
                  <a:pt x="138" y="177"/>
                  <a:pt x="136" y="179"/>
                  <a:pt x="136" y="182"/>
                </a:cubicBezTo>
                <a:cubicBezTo>
                  <a:pt x="136" y="185"/>
                  <a:pt x="138" y="187"/>
                  <a:pt x="141" y="187"/>
                </a:cubicBezTo>
                <a:cubicBezTo>
                  <a:pt x="143" y="187"/>
                  <a:pt x="145" y="185"/>
                  <a:pt x="145" y="182"/>
                </a:cubicBezTo>
                <a:close/>
                <a:moveTo>
                  <a:pt x="166" y="278"/>
                </a:moveTo>
                <a:cubicBezTo>
                  <a:pt x="166" y="275"/>
                  <a:pt x="164" y="273"/>
                  <a:pt x="161" y="273"/>
                </a:cubicBezTo>
                <a:cubicBezTo>
                  <a:pt x="159" y="273"/>
                  <a:pt x="157" y="275"/>
                  <a:pt x="157" y="278"/>
                </a:cubicBezTo>
                <a:cubicBezTo>
                  <a:pt x="157" y="280"/>
                  <a:pt x="159" y="282"/>
                  <a:pt x="161" y="282"/>
                </a:cubicBezTo>
                <a:cubicBezTo>
                  <a:pt x="164" y="282"/>
                  <a:pt x="166" y="280"/>
                  <a:pt x="166" y="278"/>
                </a:cubicBezTo>
                <a:close/>
                <a:moveTo>
                  <a:pt x="173" y="291"/>
                </a:moveTo>
                <a:cubicBezTo>
                  <a:pt x="173" y="289"/>
                  <a:pt x="171" y="287"/>
                  <a:pt x="168" y="287"/>
                </a:cubicBezTo>
                <a:cubicBezTo>
                  <a:pt x="166" y="287"/>
                  <a:pt x="164" y="289"/>
                  <a:pt x="164" y="291"/>
                </a:cubicBezTo>
                <a:cubicBezTo>
                  <a:pt x="164" y="294"/>
                  <a:pt x="166" y="296"/>
                  <a:pt x="168" y="296"/>
                </a:cubicBezTo>
                <a:cubicBezTo>
                  <a:pt x="171" y="296"/>
                  <a:pt x="173" y="294"/>
                  <a:pt x="173" y="291"/>
                </a:cubicBezTo>
                <a:close/>
                <a:moveTo>
                  <a:pt x="179" y="305"/>
                </a:moveTo>
                <a:cubicBezTo>
                  <a:pt x="179" y="302"/>
                  <a:pt x="177" y="300"/>
                  <a:pt x="175" y="300"/>
                </a:cubicBezTo>
                <a:cubicBezTo>
                  <a:pt x="172" y="300"/>
                  <a:pt x="170" y="302"/>
                  <a:pt x="170" y="305"/>
                </a:cubicBezTo>
                <a:cubicBezTo>
                  <a:pt x="170" y="307"/>
                  <a:pt x="172" y="309"/>
                  <a:pt x="175" y="309"/>
                </a:cubicBezTo>
                <a:cubicBezTo>
                  <a:pt x="177" y="309"/>
                  <a:pt x="179" y="307"/>
                  <a:pt x="179" y="305"/>
                </a:cubicBezTo>
                <a:close/>
                <a:moveTo>
                  <a:pt x="32" y="105"/>
                </a:moveTo>
                <a:cubicBezTo>
                  <a:pt x="34" y="105"/>
                  <a:pt x="36" y="103"/>
                  <a:pt x="36" y="100"/>
                </a:cubicBezTo>
                <a:cubicBezTo>
                  <a:pt x="36" y="98"/>
                  <a:pt x="34" y="96"/>
                  <a:pt x="32" y="96"/>
                </a:cubicBezTo>
                <a:cubicBezTo>
                  <a:pt x="29" y="96"/>
                  <a:pt x="27" y="98"/>
                  <a:pt x="27" y="100"/>
                </a:cubicBezTo>
                <a:cubicBezTo>
                  <a:pt x="27" y="103"/>
                  <a:pt x="29" y="105"/>
                  <a:pt x="32" y="105"/>
                </a:cubicBezTo>
                <a:close/>
                <a:moveTo>
                  <a:pt x="48" y="114"/>
                </a:moveTo>
                <a:cubicBezTo>
                  <a:pt x="48" y="116"/>
                  <a:pt x="50" y="118"/>
                  <a:pt x="52" y="118"/>
                </a:cubicBezTo>
                <a:cubicBezTo>
                  <a:pt x="55" y="118"/>
                  <a:pt x="57" y="116"/>
                  <a:pt x="57" y="114"/>
                </a:cubicBezTo>
                <a:cubicBezTo>
                  <a:pt x="57" y="111"/>
                  <a:pt x="55" y="109"/>
                  <a:pt x="52" y="109"/>
                </a:cubicBezTo>
                <a:cubicBezTo>
                  <a:pt x="50" y="109"/>
                  <a:pt x="48" y="111"/>
                  <a:pt x="48" y="114"/>
                </a:cubicBezTo>
                <a:close/>
                <a:moveTo>
                  <a:pt x="59" y="105"/>
                </a:moveTo>
                <a:cubicBezTo>
                  <a:pt x="62" y="105"/>
                  <a:pt x="64" y="103"/>
                  <a:pt x="64" y="100"/>
                </a:cubicBezTo>
                <a:cubicBezTo>
                  <a:pt x="64" y="98"/>
                  <a:pt x="62" y="96"/>
                  <a:pt x="59" y="96"/>
                </a:cubicBezTo>
                <a:cubicBezTo>
                  <a:pt x="57" y="96"/>
                  <a:pt x="55" y="98"/>
                  <a:pt x="55" y="100"/>
                </a:cubicBezTo>
                <a:cubicBezTo>
                  <a:pt x="55" y="103"/>
                  <a:pt x="57" y="105"/>
                  <a:pt x="59" y="105"/>
                </a:cubicBezTo>
                <a:close/>
                <a:moveTo>
                  <a:pt x="59" y="123"/>
                </a:moveTo>
                <a:cubicBezTo>
                  <a:pt x="57" y="123"/>
                  <a:pt x="55" y="125"/>
                  <a:pt x="55" y="127"/>
                </a:cubicBezTo>
                <a:cubicBezTo>
                  <a:pt x="55" y="130"/>
                  <a:pt x="57" y="132"/>
                  <a:pt x="59" y="132"/>
                </a:cubicBezTo>
                <a:cubicBezTo>
                  <a:pt x="62" y="132"/>
                  <a:pt x="64" y="130"/>
                  <a:pt x="64" y="127"/>
                </a:cubicBezTo>
                <a:cubicBezTo>
                  <a:pt x="64" y="125"/>
                  <a:pt x="62" y="123"/>
                  <a:pt x="59" y="123"/>
                </a:cubicBezTo>
                <a:close/>
                <a:moveTo>
                  <a:pt x="14" y="155"/>
                </a:moveTo>
                <a:cubicBezTo>
                  <a:pt x="14" y="157"/>
                  <a:pt x="16" y="159"/>
                  <a:pt x="18" y="159"/>
                </a:cubicBezTo>
                <a:cubicBezTo>
                  <a:pt x="21" y="159"/>
                  <a:pt x="23" y="157"/>
                  <a:pt x="23" y="155"/>
                </a:cubicBezTo>
                <a:cubicBezTo>
                  <a:pt x="23" y="152"/>
                  <a:pt x="21" y="150"/>
                  <a:pt x="18" y="150"/>
                </a:cubicBezTo>
                <a:cubicBezTo>
                  <a:pt x="16" y="150"/>
                  <a:pt x="14" y="152"/>
                  <a:pt x="14" y="155"/>
                </a:cubicBezTo>
                <a:close/>
                <a:moveTo>
                  <a:pt x="30" y="141"/>
                </a:moveTo>
                <a:cubicBezTo>
                  <a:pt x="30" y="139"/>
                  <a:pt x="28" y="137"/>
                  <a:pt x="25" y="137"/>
                </a:cubicBezTo>
                <a:cubicBezTo>
                  <a:pt x="23" y="137"/>
                  <a:pt x="21" y="139"/>
                  <a:pt x="21" y="141"/>
                </a:cubicBezTo>
                <a:cubicBezTo>
                  <a:pt x="21" y="144"/>
                  <a:pt x="23" y="146"/>
                  <a:pt x="25" y="146"/>
                </a:cubicBezTo>
                <a:cubicBezTo>
                  <a:pt x="28" y="146"/>
                  <a:pt x="30" y="144"/>
                  <a:pt x="30" y="141"/>
                </a:cubicBezTo>
                <a:close/>
                <a:moveTo>
                  <a:pt x="36" y="127"/>
                </a:moveTo>
                <a:cubicBezTo>
                  <a:pt x="36" y="125"/>
                  <a:pt x="34" y="123"/>
                  <a:pt x="32" y="123"/>
                </a:cubicBezTo>
                <a:cubicBezTo>
                  <a:pt x="29" y="123"/>
                  <a:pt x="27" y="125"/>
                  <a:pt x="27" y="127"/>
                </a:cubicBezTo>
                <a:cubicBezTo>
                  <a:pt x="27" y="130"/>
                  <a:pt x="29" y="132"/>
                  <a:pt x="32" y="132"/>
                </a:cubicBezTo>
                <a:cubicBezTo>
                  <a:pt x="34" y="132"/>
                  <a:pt x="36" y="130"/>
                  <a:pt x="36" y="127"/>
                </a:cubicBezTo>
                <a:close/>
                <a:moveTo>
                  <a:pt x="23" y="127"/>
                </a:moveTo>
                <a:cubicBezTo>
                  <a:pt x="23" y="125"/>
                  <a:pt x="21" y="123"/>
                  <a:pt x="18" y="123"/>
                </a:cubicBezTo>
                <a:cubicBezTo>
                  <a:pt x="16" y="123"/>
                  <a:pt x="14" y="125"/>
                  <a:pt x="14" y="127"/>
                </a:cubicBezTo>
                <a:cubicBezTo>
                  <a:pt x="14" y="130"/>
                  <a:pt x="16" y="132"/>
                  <a:pt x="18" y="132"/>
                </a:cubicBezTo>
                <a:cubicBezTo>
                  <a:pt x="21" y="132"/>
                  <a:pt x="23" y="130"/>
                  <a:pt x="23" y="127"/>
                </a:cubicBezTo>
                <a:close/>
                <a:moveTo>
                  <a:pt x="86" y="105"/>
                </a:moveTo>
                <a:cubicBezTo>
                  <a:pt x="89" y="105"/>
                  <a:pt x="91" y="103"/>
                  <a:pt x="91" y="100"/>
                </a:cubicBezTo>
                <a:cubicBezTo>
                  <a:pt x="91" y="98"/>
                  <a:pt x="89" y="96"/>
                  <a:pt x="86" y="96"/>
                </a:cubicBezTo>
                <a:cubicBezTo>
                  <a:pt x="84" y="96"/>
                  <a:pt x="82" y="98"/>
                  <a:pt x="82" y="100"/>
                </a:cubicBezTo>
                <a:cubicBezTo>
                  <a:pt x="82" y="103"/>
                  <a:pt x="84" y="105"/>
                  <a:pt x="86" y="105"/>
                </a:cubicBezTo>
                <a:close/>
                <a:moveTo>
                  <a:pt x="86" y="123"/>
                </a:moveTo>
                <a:cubicBezTo>
                  <a:pt x="84" y="123"/>
                  <a:pt x="82" y="125"/>
                  <a:pt x="82" y="127"/>
                </a:cubicBezTo>
                <a:cubicBezTo>
                  <a:pt x="82" y="130"/>
                  <a:pt x="84" y="132"/>
                  <a:pt x="86" y="132"/>
                </a:cubicBezTo>
                <a:cubicBezTo>
                  <a:pt x="89" y="132"/>
                  <a:pt x="91" y="130"/>
                  <a:pt x="91" y="127"/>
                </a:cubicBezTo>
                <a:cubicBezTo>
                  <a:pt x="91" y="125"/>
                  <a:pt x="89" y="123"/>
                  <a:pt x="86" y="123"/>
                </a:cubicBezTo>
                <a:close/>
                <a:moveTo>
                  <a:pt x="36" y="155"/>
                </a:moveTo>
                <a:cubicBezTo>
                  <a:pt x="36" y="152"/>
                  <a:pt x="34" y="150"/>
                  <a:pt x="32" y="150"/>
                </a:cubicBezTo>
                <a:cubicBezTo>
                  <a:pt x="29" y="150"/>
                  <a:pt x="27" y="152"/>
                  <a:pt x="27" y="155"/>
                </a:cubicBezTo>
                <a:cubicBezTo>
                  <a:pt x="27" y="157"/>
                  <a:pt x="29" y="159"/>
                  <a:pt x="32" y="159"/>
                </a:cubicBezTo>
                <a:cubicBezTo>
                  <a:pt x="34" y="159"/>
                  <a:pt x="36" y="157"/>
                  <a:pt x="36" y="155"/>
                </a:cubicBezTo>
                <a:close/>
                <a:moveTo>
                  <a:pt x="61" y="114"/>
                </a:moveTo>
                <a:cubicBezTo>
                  <a:pt x="61" y="116"/>
                  <a:pt x="63" y="118"/>
                  <a:pt x="66" y="118"/>
                </a:cubicBezTo>
                <a:cubicBezTo>
                  <a:pt x="68" y="118"/>
                  <a:pt x="70" y="116"/>
                  <a:pt x="70" y="114"/>
                </a:cubicBezTo>
                <a:cubicBezTo>
                  <a:pt x="70" y="111"/>
                  <a:pt x="68" y="109"/>
                  <a:pt x="66" y="109"/>
                </a:cubicBezTo>
                <a:cubicBezTo>
                  <a:pt x="63" y="109"/>
                  <a:pt x="61" y="111"/>
                  <a:pt x="61" y="114"/>
                </a:cubicBezTo>
                <a:close/>
                <a:moveTo>
                  <a:pt x="73" y="105"/>
                </a:moveTo>
                <a:cubicBezTo>
                  <a:pt x="75" y="105"/>
                  <a:pt x="77" y="103"/>
                  <a:pt x="77" y="100"/>
                </a:cubicBezTo>
                <a:cubicBezTo>
                  <a:pt x="77" y="98"/>
                  <a:pt x="75" y="96"/>
                  <a:pt x="73" y="96"/>
                </a:cubicBezTo>
                <a:cubicBezTo>
                  <a:pt x="70" y="96"/>
                  <a:pt x="68" y="98"/>
                  <a:pt x="68" y="100"/>
                </a:cubicBezTo>
                <a:cubicBezTo>
                  <a:pt x="68" y="103"/>
                  <a:pt x="70" y="105"/>
                  <a:pt x="73" y="105"/>
                </a:cubicBezTo>
                <a:close/>
                <a:moveTo>
                  <a:pt x="73" y="123"/>
                </a:moveTo>
                <a:cubicBezTo>
                  <a:pt x="70" y="123"/>
                  <a:pt x="68" y="125"/>
                  <a:pt x="68" y="127"/>
                </a:cubicBezTo>
                <a:cubicBezTo>
                  <a:pt x="68" y="130"/>
                  <a:pt x="70" y="132"/>
                  <a:pt x="73" y="132"/>
                </a:cubicBezTo>
                <a:cubicBezTo>
                  <a:pt x="75" y="132"/>
                  <a:pt x="77" y="130"/>
                  <a:pt x="77" y="127"/>
                </a:cubicBezTo>
                <a:cubicBezTo>
                  <a:pt x="77" y="125"/>
                  <a:pt x="75" y="123"/>
                  <a:pt x="73" y="123"/>
                </a:cubicBezTo>
                <a:close/>
                <a:moveTo>
                  <a:pt x="75" y="114"/>
                </a:moveTo>
                <a:cubicBezTo>
                  <a:pt x="75" y="116"/>
                  <a:pt x="77" y="118"/>
                  <a:pt x="80" y="118"/>
                </a:cubicBezTo>
                <a:cubicBezTo>
                  <a:pt x="82" y="118"/>
                  <a:pt x="84" y="116"/>
                  <a:pt x="84" y="114"/>
                </a:cubicBezTo>
                <a:cubicBezTo>
                  <a:pt x="84" y="111"/>
                  <a:pt x="82" y="109"/>
                  <a:pt x="80" y="109"/>
                </a:cubicBezTo>
                <a:cubicBezTo>
                  <a:pt x="77" y="109"/>
                  <a:pt x="75" y="111"/>
                  <a:pt x="75" y="114"/>
                </a:cubicBezTo>
                <a:close/>
                <a:moveTo>
                  <a:pt x="5" y="150"/>
                </a:moveTo>
                <a:cubicBezTo>
                  <a:pt x="2" y="150"/>
                  <a:pt x="0" y="152"/>
                  <a:pt x="0" y="155"/>
                </a:cubicBezTo>
                <a:cubicBezTo>
                  <a:pt x="0" y="157"/>
                  <a:pt x="2" y="159"/>
                  <a:pt x="5" y="159"/>
                </a:cubicBezTo>
                <a:cubicBezTo>
                  <a:pt x="7" y="159"/>
                  <a:pt x="9" y="157"/>
                  <a:pt x="9" y="155"/>
                </a:cubicBezTo>
                <a:cubicBezTo>
                  <a:pt x="9" y="152"/>
                  <a:pt x="7" y="150"/>
                  <a:pt x="5" y="150"/>
                </a:cubicBezTo>
                <a:close/>
                <a:moveTo>
                  <a:pt x="11" y="118"/>
                </a:moveTo>
                <a:cubicBezTo>
                  <a:pt x="14" y="118"/>
                  <a:pt x="16" y="116"/>
                  <a:pt x="16" y="114"/>
                </a:cubicBezTo>
                <a:cubicBezTo>
                  <a:pt x="16" y="111"/>
                  <a:pt x="14" y="109"/>
                  <a:pt x="11" y="109"/>
                </a:cubicBezTo>
                <a:cubicBezTo>
                  <a:pt x="9" y="109"/>
                  <a:pt x="7" y="111"/>
                  <a:pt x="7" y="114"/>
                </a:cubicBezTo>
                <a:cubicBezTo>
                  <a:pt x="7" y="116"/>
                  <a:pt x="9" y="118"/>
                  <a:pt x="11" y="118"/>
                </a:cubicBezTo>
                <a:close/>
                <a:moveTo>
                  <a:pt x="5" y="132"/>
                </a:moveTo>
                <a:cubicBezTo>
                  <a:pt x="7" y="132"/>
                  <a:pt x="9" y="130"/>
                  <a:pt x="9" y="127"/>
                </a:cubicBezTo>
                <a:cubicBezTo>
                  <a:pt x="9" y="125"/>
                  <a:pt x="7" y="123"/>
                  <a:pt x="5" y="123"/>
                </a:cubicBezTo>
                <a:cubicBezTo>
                  <a:pt x="2" y="123"/>
                  <a:pt x="0" y="125"/>
                  <a:pt x="0" y="127"/>
                </a:cubicBezTo>
                <a:cubicBezTo>
                  <a:pt x="0" y="130"/>
                  <a:pt x="2" y="132"/>
                  <a:pt x="5" y="132"/>
                </a:cubicBezTo>
                <a:close/>
                <a:moveTo>
                  <a:pt x="16" y="141"/>
                </a:moveTo>
                <a:cubicBezTo>
                  <a:pt x="16" y="139"/>
                  <a:pt x="14" y="137"/>
                  <a:pt x="11" y="137"/>
                </a:cubicBezTo>
                <a:cubicBezTo>
                  <a:pt x="9" y="137"/>
                  <a:pt x="7" y="139"/>
                  <a:pt x="7" y="141"/>
                </a:cubicBezTo>
                <a:cubicBezTo>
                  <a:pt x="7" y="144"/>
                  <a:pt x="9" y="146"/>
                  <a:pt x="11" y="146"/>
                </a:cubicBezTo>
                <a:cubicBezTo>
                  <a:pt x="14" y="146"/>
                  <a:pt x="16" y="144"/>
                  <a:pt x="16" y="141"/>
                </a:cubicBezTo>
                <a:close/>
                <a:moveTo>
                  <a:pt x="18" y="177"/>
                </a:moveTo>
                <a:cubicBezTo>
                  <a:pt x="16" y="177"/>
                  <a:pt x="14" y="179"/>
                  <a:pt x="14" y="182"/>
                </a:cubicBezTo>
                <a:cubicBezTo>
                  <a:pt x="14" y="185"/>
                  <a:pt x="16" y="187"/>
                  <a:pt x="18" y="187"/>
                </a:cubicBezTo>
                <a:cubicBezTo>
                  <a:pt x="21" y="187"/>
                  <a:pt x="23" y="185"/>
                  <a:pt x="23" y="182"/>
                </a:cubicBezTo>
                <a:cubicBezTo>
                  <a:pt x="23" y="179"/>
                  <a:pt x="21" y="177"/>
                  <a:pt x="18" y="177"/>
                </a:cubicBezTo>
                <a:close/>
                <a:moveTo>
                  <a:pt x="39" y="146"/>
                </a:moveTo>
                <a:cubicBezTo>
                  <a:pt x="41" y="146"/>
                  <a:pt x="43" y="144"/>
                  <a:pt x="43" y="141"/>
                </a:cubicBezTo>
                <a:cubicBezTo>
                  <a:pt x="43" y="139"/>
                  <a:pt x="41" y="137"/>
                  <a:pt x="39" y="137"/>
                </a:cubicBezTo>
                <a:cubicBezTo>
                  <a:pt x="36" y="137"/>
                  <a:pt x="34" y="139"/>
                  <a:pt x="34" y="141"/>
                </a:cubicBezTo>
                <a:cubicBezTo>
                  <a:pt x="34" y="144"/>
                  <a:pt x="36" y="146"/>
                  <a:pt x="39" y="146"/>
                </a:cubicBezTo>
                <a:close/>
                <a:moveTo>
                  <a:pt x="25" y="164"/>
                </a:moveTo>
                <a:cubicBezTo>
                  <a:pt x="23" y="164"/>
                  <a:pt x="21" y="166"/>
                  <a:pt x="21" y="168"/>
                </a:cubicBezTo>
                <a:cubicBezTo>
                  <a:pt x="21" y="171"/>
                  <a:pt x="23" y="173"/>
                  <a:pt x="25" y="173"/>
                </a:cubicBezTo>
                <a:cubicBezTo>
                  <a:pt x="28" y="173"/>
                  <a:pt x="30" y="171"/>
                  <a:pt x="30" y="168"/>
                </a:cubicBezTo>
                <a:cubicBezTo>
                  <a:pt x="30" y="166"/>
                  <a:pt x="28" y="164"/>
                  <a:pt x="25" y="164"/>
                </a:cubicBezTo>
                <a:close/>
                <a:moveTo>
                  <a:pt x="34" y="114"/>
                </a:moveTo>
                <a:cubicBezTo>
                  <a:pt x="34" y="116"/>
                  <a:pt x="36" y="118"/>
                  <a:pt x="39" y="118"/>
                </a:cubicBezTo>
                <a:cubicBezTo>
                  <a:pt x="41" y="118"/>
                  <a:pt x="43" y="116"/>
                  <a:pt x="43" y="114"/>
                </a:cubicBezTo>
                <a:cubicBezTo>
                  <a:pt x="43" y="111"/>
                  <a:pt x="41" y="109"/>
                  <a:pt x="39" y="109"/>
                </a:cubicBezTo>
                <a:cubicBezTo>
                  <a:pt x="36" y="109"/>
                  <a:pt x="34" y="111"/>
                  <a:pt x="34" y="114"/>
                </a:cubicBezTo>
                <a:close/>
                <a:moveTo>
                  <a:pt x="46" y="105"/>
                </a:moveTo>
                <a:cubicBezTo>
                  <a:pt x="48" y="105"/>
                  <a:pt x="50" y="103"/>
                  <a:pt x="50" y="100"/>
                </a:cubicBezTo>
                <a:cubicBezTo>
                  <a:pt x="50" y="98"/>
                  <a:pt x="48" y="96"/>
                  <a:pt x="46" y="96"/>
                </a:cubicBezTo>
                <a:cubicBezTo>
                  <a:pt x="43" y="96"/>
                  <a:pt x="41" y="98"/>
                  <a:pt x="41" y="100"/>
                </a:cubicBezTo>
                <a:cubicBezTo>
                  <a:pt x="41" y="103"/>
                  <a:pt x="43" y="105"/>
                  <a:pt x="46" y="105"/>
                </a:cubicBezTo>
                <a:close/>
                <a:moveTo>
                  <a:pt x="50" y="127"/>
                </a:moveTo>
                <a:cubicBezTo>
                  <a:pt x="50" y="125"/>
                  <a:pt x="48" y="123"/>
                  <a:pt x="46" y="123"/>
                </a:cubicBezTo>
                <a:cubicBezTo>
                  <a:pt x="43" y="123"/>
                  <a:pt x="41" y="125"/>
                  <a:pt x="41" y="127"/>
                </a:cubicBezTo>
                <a:cubicBezTo>
                  <a:pt x="41" y="130"/>
                  <a:pt x="43" y="132"/>
                  <a:pt x="46" y="132"/>
                </a:cubicBezTo>
                <a:cubicBezTo>
                  <a:pt x="48" y="132"/>
                  <a:pt x="50" y="130"/>
                  <a:pt x="50" y="127"/>
                </a:cubicBezTo>
                <a:close/>
                <a:moveTo>
                  <a:pt x="227" y="346"/>
                </a:moveTo>
                <a:cubicBezTo>
                  <a:pt x="227" y="343"/>
                  <a:pt x="225" y="341"/>
                  <a:pt x="223" y="341"/>
                </a:cubicBezTo>
                <a:cubicBezTo>
                  <a:pt x="220" y="341"/>
                  <a:pt x="218" y="343"/>
                  <a:pt x="218" y="346"/>
                </a:cubicBezTo>
                <a:cubicBezTo>
                  <a:pt x="218" y="348"/>
                  <a:pt x="220" y="350"/>
                  <a:pt x="223" y="350"/>
                </a:cubicBezTo>
                <a:cubicBezTo>
                  <a:pt x="225" y="350"/>
                  <a:pt x="227" y="348"/>
                  <a:pt x="227" y="346"/>
                </a:cubicBezTo>
                <a:close/>
                <a:moveTo>
                  <a:pt x="21" y="114"/>
                </a:moveTo>
                <a:cubicBezTo>
                  <a:pt x="21" y="116"/>
                  <a:pt x="23" y="118"/>
                  <a:pt x="25" y="118"/>
                </a:cubicBezTo>
                <a:cubicBezTo>
                  <a:pt x="28" y="118"/>
                  <a:pt x="30" y="116"/>
                  <a:pt x="30" y="114"/>
                </a:cubicBezTo>
                <a:cubicBezTo>
                  <a:pt x="30" y="111"/>
                  <a:pt x="28" y="109"/>
                  <a:pt x="25" y="109"/>
                </a:cubicBezTo>
                <a:cubicBezTo>
                  <a:pt x="23" y="109"/>
                  <a:pt x="21" y="111"/>
                  <a:pt x="21" y="114"/>
                </a:cubicBezTo>
                <a:close/>
                <a:moveTo>
                  <a:pt x="18" y="105"/>
                </a:moveTo>
                <a:cubicBezTo>
                  <a:pt x="21" y="105"/>
                  <a:pt x="23" y="103"/>
                  <a:pt x="23" y="100"/>
                </a:cubicBezTo>
                <a:cubicBezTo>
                  <a:pt x="23" y="98"/>
                  <a:pt x="21" y="96"/>
                  <a:pt x="18" y="96"/>
                </a:cubicBezTo>
                <a:cubicBezTo>
                  <a:pt x="16" y="96"/>
                  <a:pt x="14" y="98"/>
                  <a:pt x="14" y="100"/>
                </a:cubicBezTo>
                <a:cubicBezTo>
                  <a:pt x="14" y="103"/>
                  <a:pt x="16" y="105"/>
                  <a:pt x="18" y="105"/>
                </a:cubicBezTo>
                <a:close/>
                <a:moveTo>
                  <a:pt x="554" y="400"/>
                </a:moveTo>
                <a:cubicBezTo>
                  <a:pt x="554" y="398"/>
                  <a:pt x="552" y="396"/>
                  <a:pt x="549" y="396"/>
                </a:cubicBezTo>
                <a:cubicBezTo>
                  <a:pt x="547" y="396"/>
                  <a:pt x="545" y="398"/>
                  <a:pt x="545" y="400"/>
                </a:cubicBezTo>
                <a:cubicBezTo>
                  <a:pt x="545" y="403"/>
                  <a:pt x="547" y="405"/>
                  <a:pt x="549" y="405"/>
                </a:cubicBezTo>
                <a:cubicBezTo>
                  <a:pt x="552" y="405"/>
                  <a:pt x="554" y="403"/>
                  <a:pt x="554" y="400"/>
                </a:cubicBezTo>
                <a:close/>
                <a:moveTo>
                  <a:pt x="461" y="519"/>
                </a:moveTo>
                <a:cubicBezTo>
                  <a:pt x="458" y="519"/>
                  <a:pt x="456" y="521"/>
                  <a:pt x="456" y="523"/>
                </a:cubicBezTo>
                <a:cubicBezTo>
                  <a:pt x="456" y="526"/>
                  <a:pt x="458" y="528"/>
                  <a:pt x="461" y="528"/>
                </a:cubicBezTo>
                <a:cubicBezTo>
                  <a:pt x="463" y="528"/>
                  <a:pt x="465" y="526"/>
                  <a:pt x="465" y="523"/>
                </a:cubicBezTo>
                <a:cubicBezTo>
                  <a:pt x="465" y="521"/>
                  <a:pt x="463" y="519"/>
                  <a:pt x="461" y="519"/>
                </a:cubicBezTo>
                <a:close/>
                <a:moveTo>
                  <a:pt x="454" y="532"/>
                </a:moveTo>
                <a:cubicBezTo>
                  <a:pt x="452" y="532"/>
                  <a:pt x="450" y="534"/>
                  <a:pt x="450" y="537"/>
                </a:cubicBezTo>
                <a:cubicBezTo>
                  <a:pt x="450" y="539"/>
                  <a:pt x="452" y="541"/>
                  <a:pt x="454" y="541"/>
                </a:cubicBezTo>
                <a:cubicBezTo>
                  <a:pt x="457" y="541"/>
                  <a:pt x="459" y="539"/>
                  <a:pt x="459" y="537"/>
                </a:cubicBezTo>
                <a:cubicBezTo>
                  <a:pt x="459" y="534"/>
                  <a:pt x="457" y="532"/>
                  <a:pt x="454" y="532"/>
                </a:cubicBezTo>
                <a:close/>
                <a:moveTo>
                  <a:pt x="447" y="546"/>
                </a:moveTo>
                <a:cubicBezTo>
                  <a:pt x="445" y="546"/>
                  <a:pt x="443" y="548"/>
                  <a:pt x="443" y="550"/>
                </a:cubicBezTo>
                <a:cubicBezTo>
                  <a:pt x="443" y="553"/>
                  <a:pt x="445" y="555"/>
                  <a:pt x="447" y="555"/>
                </a:cubicBezTo>
                <a:cubicBezTo>
                  <a:pt x="450" y="555"/>
                  <a:pt x="452" y="553"/>
                  <a:pt x="452" y="550"/>
                </a:cubicBezTo>
                <a:cubicBezTo>
                  <a:pt x="452" y="548"/>
                  <a:pt x="450" y="546"/>
                  <a:pt x="447" y="546"/>
                </a:cubicBezTo>
                <a:close/>
                <a:moveTo>
                  <a:pt x="475" y="491"/>
                </a:moveTo>
                <a:cubicBezTo>
                  <a:pt x="472" y="491"/>
                  <a:pt x="470" y="493"/>
                  <a:pt x="470" y="496"/>
                </a:cubicBezTo>
                <a:cubicBezTo>
                  <a:pt x="470" y="498"/>
                  <a:pt x="472" y="500"/>
                  <a:pt x="475" y="500"/>
                </a:cubicBezTo>
                <a:cubicBezTo>
                  <a:pt x="477" y="500"/>
                  <a:pt x="479" y="498"/>
                  <a:pt x="479" y="496"/>
                </a:cubicBezTo>
                <a:cubicBezTo>
                  <a:pt x="479" y="493"/>
                  <a:pt x="477" y="491"/>
                  <a:pt x="475" y="491"/>
                </a:cubicBezTo>
                <a:close/>
                <a:moveTo>
                  <a:pt x="475" y="109"/>
                </a:moveTo>
                <a:cubicBezTo>
                  <a:pt x="472" y="109"/>
                  <a:pt x="470" y="111"/>
                  <a:pt x="470" y="114"/>
                </a:cubicBezTo>
                <a:cubicBezTo>
                  <a:pt x="470" y="116"/>
                  <a:pt x="472" y="118"/>
                  <a:pt x="475" y="118"/>
                </a:cubicBezTo>
                <a:cubicBezTo>
                  <a:pt x="477" y="118"/>
                  <a:pt x="479" y="116"/>
                  <a:pt x="479" y="114"/>
                </a:cubicBezTo>
                <a:cubicBezTo>
                  <a:pt x="479" y="111"/>
                  <a:pt x="477" y="109"/>
                  <a:pt x="475" y="109"/>
                </a:cubicBezTo>
                <a:close/>
                <a:moveTo>
                  <a:pt x="468" y="505"/>
                </a:moveTo>
                <a:cubicBezTo>
                  <a:pt x="465" y="505"/>
                  <a:pt x="463" y="507"/>
                  <a:pt x="463" y="509"/>
                </a:cubicBezTo>
                <a:cubicBezTo>
                  <a:pt x="463" y="512"/>
                  <a:pt x="465" y="514"/>
                  <a:pt x="468" y="514"/>
                </a:cubicBezTo>
                <a:cubicBezTo>
                  <a:pt x="470" y="514"/>
                  <a:pt x="472" y="512"/>
                  <a:pt x="472" y="509"/>
                </a:cubicBezTo>
                <a:cubicBezTo>
                  <a:pt x="472" y="507"/>
                  <a:pt x="470" y="505"/>
                  <a:pt x="468" y="505"/>
                </a:cubicBezTo>
                <a:close/>
                <a:moveTo>
                  <a:pt x="234" y="359"/>
                </a:moveTo>
                <a:cubicBezTo>
                  <a:pt x="234" y="357"/>
                  <a:pt x="232" y="355"/>
                  <a:pt x="229" y="355"/>
                </a:cubicBezTo>
                <a:cubicBezTo>
                  <a:pt x="227" y="355"/>
                  <a:pt x="225" y="357"/>
                  <a:pt x="225" y="359"/>
                </a:cubicBezTo>
                <a:cubicBezTo>
                  <a:pt x="225" y="362"/>
                  <a:pt x="227" y="364"/>
                  <a:pt x="229" y="364"/>
                </a:cubicBezTo>
                <a:cubicBezTo>
                  <a:pt x="232" y="364"/>
                  <a:pt x="234" y="362"/>
                  <a:pt x="234" y="359"/>
                </a:cubicBezTo>
                <a:close/>
                <a:moveTo>
                  <a:pt x="413" y="587"/>
                </a:moveTo>
                <a:cubicBezTo>
                  <a:pt x="411" y="587"/>
                  <a:pt x="409" y="589"/>
                  <a:pt x="409" y="591"/>
                </a:cubicBezTo>
                <a:cubicBezTo>
                  <a:pt x="409" y="594"/>
                  <a:pt x="411" y="596"/>
                  <a:pt x="413" y="596"/>
                </a:cubicBezTo>
                <a:cubicBezTo>
                  <a:pt x="416" y="596"/>
                  <a:pt x="418" y="594"/>
                  <a:pt x="418" y="591"/>
                </a:cubicBezTo>
                <a:cubicBezTo>
                  <a:pt x="418" y="589"/>
                  <a:pt x="416" y="587"/>
                  <a:pt x="413" y="587"/>
                </a:cubicBezTo>
                <a:close/>
                <a:moveTo>
                  <a:pt x="434" y="546"/>
                </a:moveTo>
                <a:cubicBezTo>
                  <a:pt x="431" y="546"/>
                  <a:pt x="429" y="548"/>
                  <a:pt x="429" y="550"/>
                </a:cubicBezTo>
                <a:cubicBezTo>
                  <a:pt x="429" y="553"/>
                  <a:pt x="431" y="555"/>
                  <a:pt x="434" y="555"/>
                </a:cubicBezTo>
                <a:cubicBezTo>
                  <a:pt x="436" y="555"/>
                  <a:pt x="438" y="553"/>
                  <a:pt x="438" y="550"/>
                </a:cubicBezTo>
                <a:cubicBezTo>
                  <a:pt x="438" y="548"/>
                  <a:pt x="436" y="546"/>
                  <a:pt x="434" y="546"/>
                </a:cubicBezTo>
                <a:close/>
                <a:moveTo>
                  <a:pt x="404" y="591"/>
                </a:moveTo>
                <a:cubicBezTo>
                  <a:pt x="404" y="589"/>
                  <a:pt x="402" y="587"/>
                  <a:pt x="400" y="587"/>
                </a:cubicBezTo>
                <a:cubicBezTo>
                  <a:pt x="397" y="587"/>
                  <a:pt x="395" y="589"/>
                  <a:pt x="395" y="591"/>
                </a:cubicBezTo>
                <a:cubicBezTo>
                  <a:pt x="395" y="594"/>
                  <a:pt x="397" y="596"/>
                  <a:pt x="400" y="596"/>
                </a:cubicBezTo>
                <a:cubicBezTo>
                  <a:pt x="402" y="596"/>
                  <a:pt x="404" y="594"/>
                  <a:pt x="404" y="591"/>
                </a:cubicBezTo>
                <a:close/>
                <a:moveTo>
                  <a:pt x="406" y="600"/>
                </a:moveTo>
                <a:cubicBezTo>
                  <a:pt x="404" y="600"/>
                  <a:pt x="402" y="602"/>
                  <a:pt x="402" y="605"/>
                </a:cubicBezTo>
                <a:cubicBezTo>
                  <a:pt x="402" y="607"/>
                  <a:pt x="404" y="609"/>
                  <a:pt x="406" y="609"/>
                </a:cubicBezTo>
                <a:cubicBezTo>
                  <a:pt x="409" y="609"/>
                  <a:pt x="411" y="607"/>
                  <a:pt x="411" y="605"/>
                </a:cubicBezTo>
                <a:cubicBezTo>
                  <a:pt x="411" y="602"/>
                  <a:pt x="409" y="600"/>
                  <a:pt x="406" y="600"/>
                </a:cubicBezTo>
                <a:close/>
                <a:moveTo>
                  <a:pt x="420" y="573"/>
                </a:moveTo>
                <a:cubicBezTo>
                  <a:pt x="418" y="573"/>
                  <a:pt x="416" y="575"/>
                  <a:pt x="416" y="578"/>
                </a:cubicBezTo>
                <a:cubicBezTo>
                  <a:pt x="416" y="580"/>
                  <a:pt x="418" y="582"/>
                  <a:pt x="420" y="582"/>
                </a:cubicBezTo>
                <a:cubicBezTo>
                  <a:pt x="423" y="582"/>
                  <a:pt x="425" y="580"/>
                  <a:pt x="425" y="578"/>
                </a:cubicBezTo>
                <a:cubicBezTo>
                  <a:pt x="425" y="575"/>
                  <a:pt x="423" y="573"/>
                  <a:pt x="420" y="573"/>
                </a:cubicBezTo>
                <a:close/>
                <a:moveTo>
                  <a:pt x="427" y="559"/>
                </a:moveTo>
                <a:cubicBezTo>
                  <a:pt x="424" y="559"/>
                  <a:pt x="422" y="561"/>
                  <a:pt x="422" y="564"/>
                </a:cubicBezTo>
                <a:cubicBezTo>
                  <a:pt x="422" y="566"/>
                  <a:pt x="424" y="568"/>
                  <a:pt x="427" y="568"/>
                </a:cubicBezTo>
                <a:cubicBezTo>
                  <a:pt x="429" y="568"/>
                  <a:pt x="431" y="566"/>
                  <a:pt x="431" y="564"/>
                </a:cubicBezTo>
                <a:cubicBezTo>
                  <a:pt x="431" y="561"/>
                  <a:pt x="429" y="559"/>
                  <a:pt x="427" y="559"/>
                </a:cubicBezTo>
                <a:close/>
                <a:moveTo>
                  <a:pt x="393" y="600"/>
                </a:moveTo>
                <a:cubicBezTo>
                  <a:pt x="390" y="600"/>
                  <a:pt x="388" y="602"/>
                  <a:pt x="388" y="605"/>
                </a:cubicBezTo>
                <a:cubicBezTo>
                  <a:pt x="388" y="607"/>
                  <a:pt x="390" y="609"/>
                  <a:pt x="393" y="609"/>
                </a:cubicBezTo>
                <a:cubicBezTo>
                  <a:pt x="395" y="609"/>
                  <a:pt x="397" y="607"/>
                  <a:pt x="397" y="605"/>
                </a:cubicBezTo>
                <a:cubicBezTo>
                  <a:pt x="397" y="602"/>
                  <a:pt x="395" y="600"/>
                  <a:pt x="393" y="600"/>
                </a:cubicBezTo>
                <a:close/>
                <a:moveTo>
                  <a:pt x="534" y="59"/>
                </a:moveTo>
                <a:cubicBezTo>
                  <a:pt x="534" y="57"/>
                  <a:pt x="532" y="55"/>
                  <a:pt x="529" y="55"/>
                </a:cubicBezTo>
                <a:cubicBezTo>
                  <a:pt x="527" y="55"/>
                  <a:pt x="524" y="57"/>
                  <a:pt x="524" y="59"/>
                </a:cubicBezTo>
                <a:cubicBezTo>
                  <a:pt x="524" y="62"/>
                  <a:pt x="527" y="64"/>
                  <a:pt x="529" y="64"/>
                </a:cubicBezTo>
                <a:cubicBezTo>
                  <a:pt x="532" y="64"/>
                  <a:pt x="534" y="62"/>
                  <a:pt x="534" y="59"/>
                </a:cubicBezTo>
                <a:close/>
                <a:moveTo>
                  <a:pt x="481" y="96"/>
                </a:moveTo>
                <a:cubicBezTo>
                  <a:pt x="479" y="96"/>
                  <a:pt x="477" y="98"/>
                  <a:pt x="477" y="100"/>
                </a:cubicBezTo>
                <a:cubicBezTo>
                  <a:pt x="477" y="103"/>
                  <a:pt x="479" y="105"/>
                  <a:pt x="481" y="105"/>
                </a:cubicBezTo>
                <a:cubicBezTo>
                  <a:pt x="484" y="105"/>
                  <a:pt x="486" y="103"/>
                  <a:pt x="486" y="100"/>
                </a:cubicBezTo>
                <a:cubicBezTo>
                  <a:pt x="486" y="98"/>
                  <a:pt x="484" y="96"/>
                  <a:pt x="481" y="96"/>
                </a:cubicBezTo>
                <a:close/>
                <a:moveTo>
                  <a:pt x="540" y="127"/>
                </a:moveTo>
                <a:cubicBezTo>
                  <a:pt x="540" y="125"/>
                  <a:pt x="538" y="123"/>
                  <a:pt x="536" y="123"/>
                </a:cubicBezTo>
                <a:cubicBezTo>
                  <a:pt x="533" y="123"/>
                  <a:pt x="531" y="125"/>
                  <a:pt x="531" y="127"/>
                </a:cubicBezTo>
                <a:cubicBezTo>
                  <a:pt x="531" y="130"/>
                  <a:pt x="533" y="132"/>
                  <a:pt x="536" y="132"/>
                </a:cubicBezTo>
                <a:cubicBezTo>
                  <a:pt x="538" y="132"/>
                  <a:pt x="540" y="130"/>
                  <a:pt x="540" y="127"/>
                </a:cubicBezTo>
                <a:close/>
                <a:moveTo>
                  <a:pt x="522" y="96"/>
                </a:moveTo>
                <a:cubicBezTo>
                  <a:pt x="520" y="96"/>
                  <a:pt x="518" y="98"/>
                  <a:pt x="518" y="100"/>
                </a:cubicBezTo>
                <a:cubicBezTo>
                  <a:pt x="518" y="103"/>
                  <a:pt x="520" y="105"/>
                  <a:pt x="522" y="105"/>
                </a:cubicBezTo>
                <a:cubicBezTo>
                  <a:pt x="525" y="105"/>
                  <a:pt x="527" y="103"/>
                  <a:pt x="527" y="100"/>
                </a:cubicBezTo>
                <a:cubicBezTo>
                  <a:pt x="527" y="98"/>
                  <a:pt x="525" y="96"/>
                  <a:pt x="522" y="96"/>
                </a:cubicBezTo>
                <a:close/>
                <a:moveTo>
                  <a:pt x="547" y="387"/>
                </a:moveTo>
                <a:cubicBezTo>
                  <a:pt x="547" y="384"/>
                  <a:pt x="545" y="382"/>
                  <a:pt x="543" y="382"/>
                </a:cubicBezTo>
                <a:cubicBezTo>
                  <a:pt x="540" y="382"/>
                  <a:pt x="538" y="384"/>
                  <a:pt x="538" y="387"/>
                </a:cubicBezTo>
                <a:cubicBezTo>
                  <a:pt x="538" y="389"/>
                  <a:pt x="540" y="391"/>
                  <a:pt x="543" y="391"/>
                </a:cubicBezTo>
                <a:cubicBezTo>
                  <a:pt x="545" y="391"/>
                  <a:pt x="547" y="389"/>
                  <a:pt x="547" y="387"/>
                </a:cubicBezTo>
                <a:close/>
                <a:moveTo>
                  <a:pt x="561" y="414"/>
                </a:moveTo>
                <a:cubicBezTo>
                  <a:pt x="561" y="411"/>
                  <a:pt x="559" y="409"/>
                  <a:pt x="556" y="409"/>
                </a:cubicBezTo>
                <a:cubicBezTo>
                  <a:pt x="554" y="409"/>
                  <a:pt x="552" y="411"/>
                  <a:pt x="552" y="414"/>
                </a:cubicBezTo>
                <a:cubicBezTo>
                  <a:pt x="552" y="416"/>
                  <a:pt x="554" y="418"/>
                  <a:pt x="556" y="418"/>
                </a:cubicBezTo>
                <a:cubicBezTo>
                  <a:pt x="559" y="418"/>
                  <a:pt x="561" y="416"/>
                  <a:pt x="561" y="414"/>
                </a:cubicBezTo>
                <a:close/>
                <a:moveTo>
                  <a:pt x="522" y="68"/>
                </a:moveTo>
                <a:cubicBezTo>
                  <a:pt x="520" y="68"/>
                  <a:pt x="518" y="70"/>
                  <a:pt x="518" y="73"/>
                </a:cubicBezTo>
                <a:cubicBezTo>
                  <a:pt x="518" y="75"/>
                  <a:pt x="520" y="77"/>
                  <a:pt x="522" y="77"/>
                </a:cubicBezTo>
                <a:cubicBezTo>
                  <a:pt x="525" y="77"/>
                  <a:pt x="527" y="75"/>
                  <a:pt x="527" y="73"/>
                </a:cubicBezTo>
                <a:cubicBezTo>
                  <a:pt x="527" y="70"/>
                  <a:pt x="525" y="68"/>
                  <a:pt x="522" y="68"/>
                </a:cubicBezTo>
                <a:close/>
                <a:moveTo>
                  <a:pt x="495" y="96"/>
                </a:moveTo>
                <a:cubicBezTo>
                  <a:pt x="492" y="96"/>
                  <a:pt x="490" y="98"/>
                  <a:pt x="490" y="100"/>
                </a:cubicBezTo>
                <a:cubicBezTo>
                  <a:pt x="490" y="103"/>
                  <a:pt x="492" y="105"/>
                  <a:pt x="495" y="105"/>
                </a:cubicBezTo>
                <a:cubicBezTo>
                  <a:pt x="497" y="105"/>
                  <a:pt x="500" y="103"/>
                  <a:pt x="500" y="100"/>
                </a:cubicBezTo>
                <a:cubicBezTo>
                  <a:pt x="500" y="98"/>
                  <a:pt x="497" y="96"/>
                  <a:pt x="495" y="96"/>
                </a:cubicBezTo>
                <a:close/>
                <a:moveTo>
                  <a:pt x="522" y="123"/>
                </a:moveTo>
                <a:cubicBezTo>
                  <a:pt x="520" y="123"/>
                  <a:pt x="518" y="125"/>
                  <a:pt x="518" y="127"/>
                </a:cubicBezTo>
                <a:cubicBezTo>
                  <a:pt x="518" y="130"/>
                  <a:pt x="520" y="132"/>
                  <a:pt x="522" y="132"/>
                </a:cubicBezTo>
                <a:cubicBezTo>
                  <a:pt x="525" y="132"/>
                  <a:pt x="527" y="130"/>
                  <a:pt x="527" y="127"/>
                </a:cubicBezTo>
                <a:cubicBezTo>
                  <a:pt x="527" y="125"/>
                  <a:pt x="525" y="123"/>
                  <a:pt x="522" y="123"/>
                </a:cubicBezTo>
                <a:close/>
                <a:moveTo>
                  <a:pt x="493" y="87"/>
                </a:moveTo>
                <a:cubicBezTo>
                  <a:pt x="493" y="84"/>
                  <a:pt x="491" y="82"/>
                  <a:pt x="488" y="82"/>
                </a:cubicBezTo>
                <a:cubicBezTo>
                  <a:pt x="486" y="82"/>
                  <a:pt x="484" y="84"/>
                  <a:pt x="484" y="87"/>
                </a:cubicBezTo>
                <a:cubicBezTo>
                  <a:pt x="484" y="89"/>
                  <a:pt x="486" y="91"/>
                  <a:pt x="488" y="91"/>
                </a:cubicBezTo>
                <a:cubicBezTo>
                  <a:pt x="491" y="91"/>
                  <a:pt x="493" y="89"/>
                  <a:pt x="493" y="87"/>
                </a:cubicBezTo>
                <a:close/>
                <a:moveTo>
                  <a:pt x="506" y="87"/>
                </a:moveTo>
                <a:cubicBezTo>
                  <a:pt x="506" y="84"/>
                  <a:pt x="504" y="82"/>
                  <a:pt x="502" y="82"/>
                </a:cubicBezTo>
                <a:cubicBezTo>
                  <a:pt x="499" y="82"/>
                  <a:pt x="497" y="84"/>
                  <a:pt x="497" y="87"/>
                </a:cubicBezTo>
                <a:cubicBezTo>
                  <a:pt x="497" y="89"/>
                  <a:pt x="499" y="91"/>
                  <a:pt x="502" y="91"/>
                </a:cubicBezTo>
                <a:cubicBezTo>
                  <a:pt x="504" y="91"/>
                  <a:pt x="506" y="89"/>
                  <a:pt x="506" y="87"/>
                </a:cubicBezTo>
                <a:close/>
                <a:moveTo>
                  <a:pt x="520" y="87"/>
                </a:moveTo>
                <a:cubicBezTo>
                  <a:pt x="520" y="84"/>
                  <a:pt x="518" y="82"/>
                  <a:pt x="515" y="82"/>
                </a:cubicBezTo>
                <a:cubicBezTo>
                  <a:pt x="513" y="82"/>
                  <a:pt x="511" y="84"/>
                  <a:pt x="511" y="87"/>
                </a:cubicBezTo>
                <a:cubicBezTo>
                  <a:pt x="511" y="89"/>
                  <a:pt x="513" y="91"/>
                  <a:pt x="515" y="91"/>
                </a:cubicBezTo>
                <a:cubicBezTo>
                  <a:pt x="518" y="91"/>
                  <a:pt x="520" y="89"/>
                  <a:pt x="520" y="87"/>
                </a:cubicBezTo>
                <a:close/>
                <a:moveTo>
                  <a:pt x="509" y="96"/>
                </a:moveTo>
                <a:cubicBezTo>
                  <a:pt x="506" y="96"/>
                  <a:pt x="504" y="98"/>
                  <a:pt x="504" y="100"/>
                </a:cubicBezTo>
                <a:cubicBezTo>
                  <a:pt x="504" y="103"/>
                  <a:pt x="506" y="105"/>
                  <a:pt x="509" y="105"/>
                </a:cubicBezTo>
                <a:cubicBezTo>
                  <a:pt x="511" y="105"/>
                  <a:pt x="513" y="103"/>
                  <a:pt x="513" y="100"/>
                </a:cubicBezTo>
                <a:cubicBezTo>
                  <a:pt x="513" y="98"/>
                  <a:pt x="511" y="96"/>
                  <a:pt x="509" y="96"/>
                </a:cubicBezTo>
                <a:close/>
                <a:moveTo>
                  <a:pt x="445" y="537"/>
                </a:moveTo>
                <a:cubicBezTo>
                  <a:pt x="445" y="534"/>
                  <a:pt x="443" y="532"/>
                  <a:pt x="441" y="532"/>
                </a:cubicBezTo>
                <a:cubicBezTo>
                  <a:pt x="438" y="532"/>
                  <a:pt x="436" y="534"/>
                  <a:pt x="436" y="537"/>
                </a:cubicBezTo>
                <a:cubicBezTo>
                  <a:pt x="436" y="539"/>
                  <a:pt x="438" y="541"/>
                  <a:pt x="441" y="541"/>
                </a:cubicBezTo>
                <a:cubicBezTo>
                  <a:pt x="443" y="541"/>
                  <a:pt x="445" y="539"/>
                  <a:pt x="445" y="537"/>
                </a:cubicBezTo>
                <a:close/>
                <a:moveTo>
                  <a:pt x="270" y="382"/>
                </a:moveTo>
                <a:cubicBezTo>
                  <a:pt x="268" y="382"/>
                  <a:pt x="266" y="384"/>
                  <a:pt x="266" y="387"/>
                </a:cubicBezTo>
                <a:cubicBezTo>
                  <a:pt x="266" y="389"/>
                  <a:pt x="268" y="391"/>
                  <a:pt x="270" y="391"/>
                </a:cubicBezTo>
                <a:cubicBezTo>
                  <a:pt x="273" y="391"/>
                  <a:pt x="275" y="389"/>
                  <a:pt x="275" y="387"/>
                </a:cubicBezTo>
                <a:cubicBezTo>
                  <a:pt x="275" y="384"/>
                  <a:pt x="273" y="382"/>
                  <a:pt x="270" y="382"/>
                </a:cubicBezTo>
                <a:close/>
                <a:moveTo>
                  <a:pt x="295" y="400"/>
                </a:moveTo>
                <a:cubicBezTo>
                  <a:pt x="295" y="398"/>
                  <a:pt x="293" y="396"/>
                  <a:pt x="291" y="396"/>
                </a:cubicBezTo>
                <a:cubicBezTo>
                  <a:pt x="288" y="396"/>
                  <a:pt x="286" y="398"/>
                  <a:pt x="286" y="400"/>
                </a:cubicBezTo>
                <a:cubicBezTo>
                  <a:pt x="286" y="403"/>
                  <a:pt x="288" y="405"/>
                  <a:pt x="291" y="405"/>
                </a:cubicBezTo>
                <a:cubicBezTo>
                  <a:pt x="293" y="405"/>
                  <a:pt x="295" y="403"/>
                  <a:pt x="295" y="400"/>
                </a:cubicBezTo>
                <a:close/>
                <a:moveTo>
                  <a:pt x="282" y="373"/>
                </a:moveTo>
                <a:cubicBezTo>
                  <a:pt x="282" y="370"/>
                  <a:pt x="280" y="368"/>
                  <a:pt x="277" y="368"/>
                </a:cubicBezTo>
                <a:cubicBezTo>
                  <a:pt x="275" y="368"/>
                  <a:pt x="273" y="370"/>
                  <a:pt x="273" y="373"/>
                </a:cubicBezTo>
                <a:cubicBezTo>
                  <a:pt x="273" y="375"/>
                  <a:pt x="275" y="378"/>
                  <a:pt x="277" y="378"/>
                </a:cubicBezTo>
                <a:cubicBezTo>
                  <a:pt x="280" y="378"/>
                  <a:pt x="282" y="375"/>
                  <a:pt x="282" y="373"/>
                </a:cubicBezTo>
                <a:close/>
                <a:moveTo>
                  <a:pt x="309" y="318"/>
                </a:moveTo>
                <a:cubicBezTo>
                  <a:pt x="309" y="316"/>
                  <a:pt x="307" y="314"/>
                  <a:pt x="304" y="314"/>
                </a:cubicBezTo>
                <a:cubicBezTo>
                  <a:pt x="302" y="314"/>
                  <a:pt x="300" y="316"/>
                  <a:pt x="300" y="318"/>
                </a:cubicBezTo>
                <a:cubicBezTo>
                  <a:pt x="300" y="321"/>
                  <a:pt x="302" y="323"/>
                  <a:pt x="304" y="323"/>
                </a:cubicBezTo>
                <a:cubicBezTo>
                  <a:pt x="307" y="323"/>
                  <a:pt x="309" y="321"/>
                  <a:pt x="309" y="318"/>
                </a:cubicBezTo>
                <a:close/>
                <a:moveTo>
                  <a:pt x="297" y="382"/>
                </a:moveTo>
                <a:cubicBezTo>
                  <a:pt x="295" y="382"/>
                  <a:pt x="293" y="384"/>
                  <a:pt x="293" y="387"/>
                </a:cubicBezTo>
                <a:cubicBezTo>
                  <a:pt x="293" y="389"/>
                  <a:pt x="295" y="391"/>
                  <a:pt x="297" y="391"/>
                </a:cubicBezTo>
                <a:cubicBezTo>
                  <a:pt x="300" y="391"/>
                  <a:pt x="302" y="389"/>
                  <a:pt x="302" y="387"/>
                </a:cubicBezTo>
                <a:cubicBezTo>
                  <a:pt x="302" y="384"/>
                  <a:pt x="300" y="382"/>
                  <a:pt x="297" y="382"/>
                </a:cubicBezTo>
                <a:close/>
                <a:moveTo>
                  <a:pt x="297" y="409"/>
                </a:moveTo>
                <a:cubicBezTo>
                  <a:pt x="295" y="409"/>
                  <a:pt x="293" y="411"/>
                  <a:pt x="293" y="414"/>
                </a:cubicBezTo>
                <a:cubicBezTo>
                  <a:pt x="293" y="416"/>
                  <a:pt x="295" y="418"/>
                  <a:pt x="297" y="418"/>
                </a:cubicBezTo>
                <a:cubicBezTo>
                  <a:pt x="300" y="418"/>
                  <a:pt x="302" y="416"/>
                  <a:pt x="302" y="414"/>
                </a:cubicBezTo>
                <a:cubicBezTo>
                  <a:pt x="302" y="411"/>
                  <a:pt x="300" y="409"/>
                  <a:pt x="297" y="409"/>
                </a:cubicBezTo>
                <a:close/>
                <a:moveTo>
                  <a:pt x="288" y="387"/>
                </a:moveTo>
                <a:cubicBezTo>
                  <a:pt x="288" y="384"/>
                  <a:pt x="286" y="382"/>
                  <a:pt x="284" y="382"/>
                </a:cubicBezTo>
                <a:cubicBezTo>
                  <a:pt x="281" y="382"/>
                  <a:pt x="279" y="384"/>
                  <a:pt x="279" y="387"/>
                </a:cubicBezTo>
                <a:cubicBezTo>
                  <a:pt x="279" y="389"/>
                  <a:pt x="281" y="391"/>
                  <a:pt x="284" y="391"/>
                </a:cubicBezTo>
                <a:cubicBezTo>
                  <a:pt x="286" y="391"/>
                  <a:pt x="288" y="389"/>
                  <a:pt x="288" y="387"/>
                </a:cubicBezTo>
                <a:close/>
                <a:moveTo>
                  <a:pt x="386" y="614"/>
                </a:moveTo>
                <a:cubicBezTo>
                  <a:pt x="384" y="614"/>
                  <a:pt x="381" y="616"/>
                  <a:pt x="381" y="619"/>
                </a:cubicBezTo>
                <a:cubicBezTo>
                  <a:pt x="381" y="621"/>
                  <a:pt x="384" y="623"/>
                  <a:pt x="386" y="623"/>
                </a:cubicBezTo>
                <a:cubicBezTo>
                  <a:pt x="389" y="623"/>
                  <a:pt x="391" y="621"/>
                  <a:pt x="391" y="619"/>
                </a:cubicBezTo>
                <a:cubicBezTo>
                  <a:pt x="391" y="616"/>
                  <a:pt x="389" y="614"/>
                  <a:pt x="386" y="614"/>
                </a:cubicBezTo>
                <a:close/>
                <a:moveTo>
                  <a:pt x="250" y="368"/>
                </a:moveTo>
                <a:cubicBezTo>
                  <a:pt x="247" y="368"/>
                  <a:pt x="245" y="370"/>
                  <a:pt x="245" y="373"/>
                </a:cubicBezTo>
                <a:cubicBezTo>
                  <a:pt x="245" y="375"/>
                  <a:pt x="247" y="378"/>
                  <a:pt x="250" y="378"/>
                </a:cubicBezTo>
                <a:cubicBezTo>
                  <a:pt x="252" y="378"/>
                  <a:pt x="254" y="375"/>
                  <a:pt x="254" y="373"/>
                </a:cubicBezTo>
                <a:cubicBezTo>
                  <a:pt x="254" y="370"/>
                  <a:pt x="252" y="368"/>
                  <a:pt x="250" y="368"/>
                </a:cubicBezTo>
                <a:close/>
                <a:moveTo>
                  <a:pt x="236" y="368"/>
                </a:moveTo>
                <a:cubicBezTo>
                  <a:pt x="234" y="368"/>
                  <a:pt x="232" y="370"/>
                  <a:pt x="232" y="373"/>
                </a:cubicBezTo>
                <a:cubicBezTo>
                  <a:pt x="232" y="375"/>
                  <a:pt x="234" y="378"/>
                  <a:pt x="236" y="378"/>
                </a:cubicBezTo>
                <a:cubicBezTo>
                  <a:pt x="239" y="378"/>
                  <a:pt x="241" y="375"/>
                  <a:pt x="241" y="373"/>
                </a:cubicBezTo>
                <a:cubicBezTo>
                  <a:pt x="241" y="370"/>
                  <a:pt x="239" y="368"/>
                  <a:pt x="236" y="368"/>
                </a:cubicBezTo>
                <a:close/>
                <a:moveTo>
                  <a:pt x="250" y="314"/>
                </a:moveTo>
                <a:cubicBezTo>
                  <a:pt x="247" y="314"/>
                  <a:pt x="245" y="316"/>
                  <a:pt x="245" y="318"/>
                </a:cubicBezTo>
                <a:cubicBezTo>
                  <a:pt x="245" y="321"/>
                  <a:pt x="247" y="323"/>
                  <a:pt x="250" y="323"/>
                </a:cubicBezTo>
                <a:cubicBezTo>
                  <a:pt x="252" y="323"/>
                  <a:pt x="254" y="321"/>
                  <a:pt x="254" y="318"/>
                </a:cubicBezTo>
                <a:cubicBezTo>
                  <a:pt x="254" y="316"/>
                  <a:pt x="252" y="314"/>
                  <a:pt x="250" y="314"/>
                </a:cubicBezTo>
                <a:close/>
                <a:moveTo>
                  <a:pt x="261" y="305"/>
                </a:moveTo>
                <a:cubicBezTo>
                  <a:pt x="261" y="302"/>
                  <a:pt x="259" y="300"/>
                  <a:pt x="257" y="300"/>
                </a:cubicBezTo>
                <a:cubicBezTo>
                  <a:pt x="254" y="300"/>
                  <a:pt x="252" y="302"/>
                  <a:pt x="252" y="305"/>
                </a:cubicBezTo>
                <a:cubicBezTo>
                  <a:pt x="252" y="307"/>
                  <a:pt x="254" y="309"/>
                  <a:pt x="257" y="309"/>
                </a:cubicBezTo>
                <a:cubicBezTo>
                  <a:pt x="259" y="309"/>
                  <a:pt x="261" y="307"/>
                  <a:pt x="261" y="305"/>
                </a:cubicBezTo>
                <a:close/>
                <a:moveTo>
                  <a:pt x="268" y="373"/>
                </a:moveTo>
                <a:cubicBezTo>
                  <a:pt x="268" y="370"/>
                  <a:pt x="266" y="368"/>
                  <a:pt x="263" y="368"/>
                </a:cubicBezTo>
                <a:cubicBezTo>
                  <a:pt x="261" y="368"/>
                  <a:pt x="259" y="370"/>
                  <a:pt x="259" y="373"/>
                </a:cubicBezTo>
                <a:cubicBezTo>
                  <a:pt x="259" y="375"/>
                  <a:pt x="261" y="378"/>
                  <a:pt x="263" y="378"/>
                </a:cubicBezTo>
                <a:cubicBezTo>
                  <a:pt x="266" y="378"/>
                  <a:pt x="268" y="375"/>
                  <a:pt x="268" y="373"/>
                </a:cubicBezTo>
                <a:close/>
                <a:moveTo>
                  <a:pt x="248" y="359"/>
                </a:moveTo>
                <a:cubicBezTo>
                  <a:pt x="248" y="357"/>
                  <a:pt x="246" y="355"/>
                  <a:pt x="243" y="355"/>
                </a:cubicBezTo>
                <a:cubicBezTo>
                  <a:pt x="240" y="355"/>
                  <a:pt x="238" y="357"/>
                  <a:pt x="238" y="359"/>
                </a:cubicBezTo>
                <a:cubicBezTo>
                  <a:pt x="238" y="362"/>
                  <a:pt x="240" y="364"/>
                  <a:pt x="243" y="364"/>
                </a:cubicBezTo>
                <a:cubicBezTo>
                  <a:pt x="246" y="364"/>
                  <a:pt x="248" y="362"/>
                  <a:pt x="248" y="359"/>
                </a:cubicBezTo>
                <a:close/>
                <a:moveTo>
                  <a:pt x="370" y="632"/>
                </a:moveTo>
                <a:cubicBezTo>
                  <a:pt x="370" y="630"/>
                  <a:pt x="368" y="628"/>
                  <a:pt x="366" y="628"/>
                </a:cubicBezTo>
                <a:cubicBezTo>
                  <a:pt x="363" y="628"/>
                  <a:pt x="361" y="630"/>
                  <a:pt x="361" y="632"/>
                </a:cubicBezTo>
                <a:cubicBezTo>
                  <a:pt x="361" y="635"/>
                  <a:pt x="363" y="637"/>
                  <a:pt x="366" y="637"/>
                </a:cubicBezTo>
                <a:cubicBezTo>
                  <a:pt x="368" y="637"/>
                  <a:pt x="370" y="635"/>
                  <a:pt x="370" y="632"/>
                </a:cubicBezTo>
                <a:close/>
                <a:moveTo>
                  <a:pt x="352" y="682"/>
                </a:moveTo>
                <a:cubicBezTo>
                  <a:pt x="349" y="682"/>
                  <a:pt x="347" y="684"/>
                  <a:pt x="347" y="687"/>
                </a:cubicBezTo>
                <a:cubicBezTo>
                  <a:pt x="347" y="689"/>
                  <a:pt x="349" y="691"/>
                  <a:pt x="352" y="691"/>
                </a:cubicBezTo>
                <a:cubicBezTo>
                  <a:pt x="354" y="691"/>
                  <a:pt x="356" y="689"/>
                  <a:pt x="356" y="687"/>
                </a:cubicBezTo>
                <a:cubicBezTo>
                  <a:pt x="356" y="684"/>
                  <a:pt x="354" y="682"/>
                  <a:pt x="352" y="682"/>
                </a:cubicBezTo>
                <a:close/>
                <a:moveTo>
                  <a:pt x="316" y="468"/>
                </a:moveTo>
                <a:cubicBezTo>
                  <a:pt x="316" y="466"/>
                  <a:pt x="314" y="464"/>
                  <a:pt x="311" y="464"/>
                </a:cubicBezTo>
                <a:cubicBezTo>
                  <a:pt x="309" y="464"/>
                  <a:pt x="307" y="466"/>
                  <a:pt x="307" y="468"/>
                </a:cubicBezTo>
                <a:cubicBezTo>
                  <a:pt x="307" y="471"/>
                  <a:pt x="309" y="473"/>
                  <a:pt x="311" y="473"/>
                </a:cubicBezTo>
                <a:cubicBezTo>
                  <a:pt x="314" y="473"/>
                  <a:pt x="316" y="471"/>
                  <a:pt x="316" y="468"/>
                </a:cubicBezTo>
                <a:close/>
                <a:moveTo>
                  <a:pt x="359" y="641"/>
                </a:moveTo>
                <a:cubicBezTo>
                  <a:pt x="356" y="641"/>
                  <a:pt x="354" y="643"/>
                  <a:pt x="354" y="646"/>
                </a:cubicBezTo>
                <a:cubicBezTo>
                  <a:pt x="354" y="648"/>
                  <a:pt x="356" y="650"/>
                  <a:pt x="359" y="650"/>
                </a:cubicBezTo>
                <a:cubicBezTo>
                  <a:pt x="361" y="650"/>
                  <a:pt x="363" y="648"/>
                  <a:pt x="363" y="646"/>
                </a:cubicBezTo>
                <a:cubicBezTo>
                  <a:pt x="363" y="643"/>
                  <a:pt x="361" y="641"/>
                  <a:pt x="359" y="641"/>
                </a:cubicBezTo>
                <a:close/>
                <a:moveTo>
                  <a:pt x="379" y="628"/>
                </a:moveTo>
                <a:cubicBezTo>
                  <a:pt x="377" y="628"/>
                  <a:pt x="375" y="630"/>
                  <a:pt x="375" y="632"/>
                </a:cubicBezTo>
                <a:cubicBezTo>
                  <a:pt x="375" y="635"/>
                  <a:pt x="377" y="637"/>
                  <a:pt x="379" y="637"/>
                </a:cubicBezTo>
                <a:cubicBezTo>
                  <a:pt x="382" y="637"/>
                  <a:pt x="384" y="635"/>
                  <a:pt x="384" y="632"/>
                </a:cubicBezTo>
                <a:cubicBezTo>
                  <a:pt x="384" y="630"/>
                  <a:pt x="382" y="628"/>
                  <a:pt x="379" y="628"/>
                </a:cubicBezTo>
                <a:close/>
                <a:moveTo>
                  <a:pt x="372" y="641"/>
                </a:moveTo>
                <a:cubicBezTo>
                  <a:pt x="370" y="641"/>
                  <a:pt x="368" y="643"/>
                  <a:pt x="368" y="646"/>
                </a:cubicBezTo>
                <a:cubicBezTo>
                  <a:pt x="368" y="648"/>
                  <a:pt x="370" y="650"/>
                  <a:pt x="372" y="650"/>
                </a:cubicBezTo>
                <a:cubicBezTo>
                  <a:pt x="375" y="650"/>
                  <a:pt x="377" y="648"/>
                  <a:pt x="377" y="646"/>
                </a:cubicBezTo>
                <a:cubicBezTo>
                  <a:pt x="377" y="643"/>
                  <a:pt x="375" y="641"/>
                  <a:pt x="372" y="641"/>
                </a:cubicBezTo>
                <a:close/>
                <a:moveTo>
                  <a:pt x="359" y="669"/>
                </a:moveTo>
                <a:cubicBezTo>
                  <a:pt x="356" y="669"/>
                  <a:pt x="354" y="671"/>
                  <a:pt x="354" y="673"/>
                </a:cubicBezTo>
                <a:cubicBezTo>
                  <a:pt x="354" y="676"/>
                  <a:pt x="356" y="678"/>
                  <a:pt x="359" y="678"/>
                </a:cubicBezTo>
                <a:cubicBezTo>
                  <a:pt x="361" y="678"/>
                  <a:pt x="363" y="676"/>
                  <a:pt x="363" y="673"/>
                </a:cubicBezTo>
                <a:cubicBezTo>
                  <a:pt x="363" y="671"/>
                  <a:pt x="361" y="669"/>
                  <a:pt x="359" y="669"/>
                </a:cubicBezTo>
                <a:close/>
                <a:moveTo>
                  <a:pt x="329" y="496"/>
                </a:moveTo>
                <a:cubicBezTo>
                  <a:pt x="329" y="493"/>
                  <a:pt x="327" y="491"/>
                  <a:pt x="325" y="491"/>
                </a:cubicBezTo>
                <a:cubicBezTo>
                  <a:pt x="322" y="491"/>
                  <a:pt x="320" y="493"/>
                  <a:pt x="320" y="496"/>
                </a:cubicBezTo>
                <a:cubicBezTo>
                  <a:pt x="320" y="498"/>
                  <a:pt x="322" y="500"/>
                  <a:pt x="325" y="500"/>
                </a:cubicBezTo>
                <a:cubicBezTo>
                  <a:pt x="327" y="500"/>
                  <a:pt x="329" y="498"/>
                  <a:pt x="329" y="496"/>
                </a:cubicBezTo>
                <a:close/>
                <a:moveTo>
                  <a:pt x="322" y="482"/>
                </a:moveTo>
                <a:cubicBezTo>
                  <a:pt x="322" y="480"/>
                  <a:pt x="320" y="478"/>
                  <a:pt x="318" y="478"/>
                </a:cubicBezTo>
                <a:cubicBezTo>
                  <a:pt x="315" y="478"/>
                  <a:pt x="313" y="480"/>
                  <a:pt x="313" y="482"/>
                </a:cubicBezTo>
                <a:cubicBezTo>
                  <a:pt x="313" y="485"/>
                  <a:pt x="315" y="487"/>
                  <a:pt x="318" y="487"/>
                </a:cubicBezTo>
                <a:cubicBezTo>
                  <a:pt x="320" y="487"/>
                  <a:pt x="322" y="485"/>
                  <a:pt x="322" y="482"/>
                </a:cubicBezTo>
                <a:close/>
                <a:moveTo>
                  <a:pt x="332" y="696"/>
                </a:moveTo>
                <a:cubicBezTo>
                  <a:pt x="329" y="696"/>
                  <a:pt x="327" y="698"/>
                  <a:pt x="327" y="700"/>
                </a:cubicBezTo>
                <a:cubicBezTo>
                  <a:pt x="327" y="703"/>
                  <a:pt x="329" y="705"/>
                  <a:pt x="332" y="705"/>
                </a:cubicBezTo>
                <a:cubicBezTo>
                  <a:pt x="334" y="705"/>
                  <a:pt x="336" y="703"/>
                  <a:pt x="336" y="700"/>
                </a:cubicBezTo>
                <a:cubicBezTo>
                  <a:pt x="336" y="698"/>
                  <a:pt x="334" y="696"/>
                  <a:pt x="332" y="696"/>
                </a:cubicBezTo>
                <a:close/>
                <a:moveTo>
                  <a:pt x="352" y="709"/>
                </a:moveTo>
                <a:cubicBezTo>
                  <a:pt x="349" y="709"/>
                  <a:pt x="347" y="712"/>
                  <a:pt x="347" y="714"/>
                </a:cubicBezTo>
                <a:cubicBezTo>
                  <a:pt x="347" y="717"/>
                  <a:pt x="349" y="719"/>
                  <a:pt x="352" y="719"/>
                </a:cubicBezTo>
                <a:cubicBezTo>
                  <a:pt x="354" y="719"/>
                  <a:pt x="356" y="717"/>
                  <a:pt x="356" y="714"/>
                </a:cubicBezTo>
                <a:cubicBezTo>
                  <a:pt x="356" y="712"/>
                  <a:pt x="354" y="709"/>
                  <a:pt x="352" y="709"/>
                </a:cubicBezTo>
                <a:close/>
                <a:moveTo>
                  <a:pt x="350" y="700"/>
                </a:moveTo>
                <a:cubicBezTo>
                  <a:pt x="350" y="698"/>
                  <a:pt x="348" y="696"/>
                  <a:pt x="345" y="696"/>
                </a:cubicBezTo>
                <a:cubicBezTo>
                  <a:pt x="343" y="696"/>
                  <a:pt x="341" y="698"/>
                  <a:pt x="341" y="700"/>
                </a:cubicBezTo>
                <a:cubicBezTo>
                  <a:pt x="341" y="703"/>
                  <a:pt x="343" y="705"/>
                  <a:pt x="345" y="705"/>
                </a:cubicBezTo>
                <a:cubicBezTo>
                  <a:pt x="348" y="705"/>
                  <a:pt x="350" y="703"/>
                  <a:pt x="350" y="700"/>
                </a:cubicBezTo>
                <a:close/>
                <a:moveTo>
                  <a:pt x="343" y="687"/>
                </a:moveTo>
                <a:cubicBezTo>
                  <a:pt x="343" y="684"/>
                  <a:pt x="341" y="682"/>
                  <a:pt x="338" y="682"/>
                </a:cubicBezTo>
                <a:cubicBezTo>
                  <a:pt x="336" y="682"/>
                  <a:pt x="334" y="684"/>
                  <a:pt x="334" y="687"/>
                </a:cubicBezTo>
                <a:cubicBezTo>
                  <a:pt x="334" y="689"/>
                  <a:pt x="336" y="691"/>
                  <a:pt x="338" y="691"/>
                </a:cubicBezTo>
                <a:cubicBezTo>
                  <a:pt x="341" y="691"/>
                  <a:pt x="343" y="689"/>
                  <a:pt x="343" y="687"/>
                </a:cubicBezTo>
                <a:close/>
                <a:moveTo>
                  <a:pt x="252" y="87"/>
                </a:moveTo>
                <a:cubicBezTo>
                  <a:pt x="252" y="89"/>
                  <a:pt x="254" y="91"/>
                  <a:pt x="257" y="91"/>
                </a:cubicBezTo>
                <a:cubicBezTo>
                  <a:pt x="259" y="91"/>
                  <a:pt x="261" y="89"/>
                  <a:pt x="261" y="87"/>
                </a:cubicBezTo>
                <a:cubicBezTo>
                  <a:pt x="261" y="84"/>
                  <a:pt x="259" y="82"/>
                  <a:pt x="257" y="82"/>
                </a:cubicBezTo>
                <a:cubicBezTo>
                  <a:pt x="254" y="82"/>
                  <a:pt x="252" y="84"/>
                  <a:pt x="252" y="87"/>
                </a:cubicBezTo>
                <a:close/>
                <a:moveTo>
                  <a:pt x="536" y="23"/>
                </a:moveTo>
                <a:cubicBezTo>
                  <a:pt x="538" y="23"/>
                  <a:pt x="540" y="21"/>
                  <a:pt x="540" y="18"/>
                </a:cubicBezTo>
                <a:cubicBezTo>
                  <a:pt x="540" y="16"/>
                  <a:pt x="538" y="14"/>
                  <a:pt x="536" y="14"/>
                </a:cubicBezTo>
                <a:cubicBezTo>
                  <a:pt x="533" y="14"/>
                  <a:pt x="531" y="16"/>
                  <a:pt x="531" y="18"/>
                </a:cubicBezTo>
                <a:cubicBezTo>
                  <a:pt x="531" y="21"/>
                  <a:pt x="533" y="23"/>
                  <a:pt x="536" y="23"/>
                </a:cubicBezTo>
                <a:close/>
                <a:moveTo>
                  <a:pt x="552" y="332"/>
                </a:moveTo>
                <a:cubicBezTo>
                  <a:pt x="552" y="335"/>
                  <a:pt x="554" y="337"/>
                  <a:pt x="556" y="337"/>
                </a:cubicBezTo>
                <a:cubicBezTo>
                  <a:pt x="559" y="337"/>
                  <a:pt x="561" y="335"/>
                  <a:pt x="561" y="332"/>
                </a:cubicBezTo>
                <a:cubicBezTo>
                  <a:pt x="561" y="330"/>
                  <a:pt x="559" y="328"/>
                  <a:pt x="556" y="328"/>
                </a:cubicBezTo>
                <a:cubicBezTo>
                  <a:pt x="554" y="328"/>
                  <a:pt x="552" y="330"/>
                  <a:pt x="552" y="332"/>
                </a:cubicBezTo>
                <a:close/>
                <a:moveTo>
                  <a:pt x="563" y="323"/>
                </a:moveTo>
                <a:cubicBezTo>
                  <a:pt x="566" y="323"/>
                  <a:pt x="568" y="321"/>
                  <a:pt x="568" y="318"/>
                </a:cubicBezTo>
                <a:cubicBezTo>
                  <a:pt x="568" y="316"/>
                  <a:pt x="566" y="314"/>
                  <a:pt x="563" y="314"/>
                </a:cubicBezTo>
                <a:cubicBezTo>
                  <a:pt x="561" y="314"/>
                  <a:pt x="559" y="316"/>
                  <a:pt x="559" y="318"/>
                </a:cubicBezTo>
                <a:cubicBezTo>
                  <a:pt x="559" y="321"/>
                  <a:pt x="561" y="323"/>
                  <a:pt x="563" y="323"/>
                </a:cubicBezTo>
                <a:close/>
                <a:moveTo>
                  <a:pt x="549" y="23"/>
                </a:moveTo>
                <a:cubicBezTo>
                  <a:pt x="552" y="23"/>
                  <a:pt x="554" y="21"/>
                  <a:pt x="554" y="18"/>
                </a:cubicBezTo>
                <a:cubicBezTo>
                  <a:pt x="554" y="16"/>
                  <a:pt x="552" y="14"/>
                  <a:pt x="549" y="14"/>
                </a:cubicBezTo>
                <a:cubicBezTo>
                  <a:pt x="547" y="14"/>
                  <a:pt x="545" y="16"/>
                  <a:pt x="545" y="18"/>
                </a:cubicBezTo>
                <a:cubicBezTo>
                  <a:pt x="545" y="21"/>
                  <a:pt x="547" y="23"/>
                  <a:pt x="549" y="23"/>
                </a:cubicBezTo>
                <a:close/>
                <a:moveTo>
                  <a:pt x="538" y="359"/>
                </a:moveTo>
                <a:cubicBezTo>
                  <a:pt x="538" y="362"/>
                  <a:pt x="540" y="364"/>
                  <a:pt x="543" y="364"/>
                </a:cubicBezTo>
                <a:cubicBezTo>
                  <a:pt x="545" y="364"/>
                  <a:pt x="547" y="362"/>
                  <a:pt x="547" y="359"/>
                </a:cubicBezTo>
                <a:cubicBezTo>
                  <a:pt x="547" y="357"/>
                  <a:pt x="545" y="355"/>
                  <a:pt x="543" y="355"/>
                </a:cubicBezTo>
                <a:cubicBezTo>
                  <a:pt x="540" y="355"/>
                  <a:pt x="538" y="357"/>
                  <a:pt x="538" y="359"/>
                </a:cubicBezTo>
                <a:close/>
                <a:moveTo>
                  <a:pt x="549" y="350"/>
                </a:moveTo>
                <a:cubicBezTo>
                  <a:pt x="552" y="350"/>
                  <a:pt x="554" y="348"/>
                  <a:pt x="554" y="346"/>
                </a:cubicBezTo>
                <a:cubicBezTo>
                  <a:pt x="554" y="343"/>
                  <a:pt x="552" y="341"/>
                  <a:pt x="549" y="341"/>
                </a:cubicBezTo>
                <a:cubicBezTo>
                  <a:pt x="547" y="341"/>
                  <a:pt x="545" y="343"/>
                  <a:pt x="545" y="346"/>
                </a:cubicBezTo>
                <a:cubicBezTo>
                  <a:pt x="545" y="348"/>
                  <a:pt x="547" y="350"/>
                  <a:pt x="549" y="350"/>
                </a:cubicBezTo>
                <a:close/>
                <a:moveTo>
                  <a:pt x="770" y="114"/>
                </a:moveTo>
                <a:cubicBezTo>
                  <a:pt x="770" y="116"/>
                  <a:pt x="772" y="118"/>
                  <a:pt x="774" y="118"/>
                </a:cubicBezTo>
                <a:cubicBezTo>
                  <a:pt x="777" y="118"/>
                  <a:pt x="779" y="116"/>
                  <a:pt x="779" y="114"/>
                </a:cubicBezTo>
                <a:cubicBezTo>
                  <a:pt x="779" y="111"/>
                  <a:pt x="777" y="109"/>
                  <a:pt x="774" y="109"/>
                </a:cubicBezTo>
                <a:cubicBezTo>
                  <a:pt x="772" y="109"/>
                  <a:pt x="770" y="111"/>
                  <a:pt x="770" y="114"/>
                </a:cubicBezTo>
                <a:close/>
                <a:moveTo>
                  <a:pt x="563" y="268"/>
                </a:moveTo>
                <a:cubicBezTo>
                  <a:pt x="566" y="268"/>
                  <a:pt x="568" y="266"/>
                  <a:pt x="568" y="264"/>
                </a:cubicBezTo>
                <a:cubicBezTo>
                  <a:pt x="568" y="261"/>
                  <a:pt x="566" y="259"/>
                  <a:pt x="563" y="259"/>
                </a:cubicBezTo>
                <a:cubicBezTo>
                  <a:pt x="561" y="259"/>
                  <a:pt x="559" y="261"/>
                  <a:pt x="559" y="264"/>
                </a:cubicBezTo>
                <a:cubicBezTo>
                  <a:pt x="559" y="266"/>
                  <a:pt x="561" y="268"/>
                  <a:pt x="563" y="268"/>
                </a:cubicBezTo>
                <a:close/>
                <a:moveTo>
                  <a:pt x="583" y="173"/>
                </a:moveTo>
                <a:cubicBezTo>
                  <a:pt x="586" y="173"/>
                  <a:pt x="588" y="171"/>
                  <a:pt x="588" y="168"/>
                </a:cubicBezTo>
                <a:cubicBezTo>
                  <a:pt x="588" y="166"/>
                  <a:pt x="586" y="164"/>
                  <a:pt x="583" y="164"/>
                </a:cubicBezTo>
                <a:cubicBezTo>
                  <a:pt x="581" y="164"/>
                  <a:pt x="579" y="166"/>
                  <a:pt x="579" y="168"/>
                </a:cubicBezTo>
                <a:cubicBezTo>
                  <a:pt x="579" y="171"/>
                  <a:pt x="581" y="173"/>
                  <a:pt x="583" y="173"/>
                </a:cubicBezTo>
                <a:close/>
                <a:moveTo>
                  <a:pt x="586" y="182"/>
                </a:moveTo>
                <a:cubicBezTo>
                  <a:pt x="586" y="185"/>
                  <a:pt x="588" y="187"/>
                  <a:pt x="590" y="187"/>
                </a:cubicBezTo>
                <a:cubicBezTo>
                  <a:pt x="593" y="187"/>
                  <a:pt x="595" y="185"/>
                  <a:pt x="595" y="182"/>
                </a:cubicBezTo>
                <a:cubicBezTo>
                  <a:pt x="595" y="179"/>
                  <a:pt x="593" y="177"/>
                  <a:pt x="590" y="177"/>
                </a:cubicBezTo>
                <a:cubicBezTo>
                  <a:pt x="588" y="177"/>
                  <a:pt x="586" y="179"/>
                  <a:pt x="586" y="182"/>
                </a:cubicBezTo>
                <a:close/>
                <a:moveTo>
                  <a:pt x="593" y="196"/>
                </a:moveTo>
                <a:cubicBezTo>
                  <a:pt x="593" y="198"/>
                  <a:pt x="595" y="200"/>
                  <a:pt x="597" y="200"/>
                </a:cubicBezTo>
                <a:cubicBezTo>
                  <a:pt x="600" y="200"/>
                  <a:pt x="602" y="198"/>
                  <a:pt x="602" y="196"/>
                </a:cubicBezTo>
                <a:cubicBezTo>
                  <a:pt x="602" y="193"/>
                  <a:pt x="600" y="191"/>
                  <a:pt x="597" y="191"/>
                </a:cubicBezTo>
                <a:cubicBezTo>
                  <a:pt x="595" y="191"/>
                  <a:pt x="593" y="193"/>
                  <a:pt x="593" y="196"/>
                </a:cubicBezTo>
                <a:close/>
                <a:moveTo>
                  <a:pt x="563" y="214"/>
                </a:moveTo>
                <a:cubicBezTo>
                  <a:pt x="566" y="214"/>
                  <a:pt x="568" y="212"/>
                  <a:pt x="568" y="209"/>
                </a:cubicBezTo>
                <a:cubicBezTo>
                  <a:pt x="568" y="207"/>
                  <a:pt x="566" y="205"/>
                  <a:pt x="563" y="205"/>
                </a:cubicBezTo>
                <a:cubicBezTo>
                  <a:pt x="561" y="205"/>
                  <a:pt x="559" y="207"/>
                  <a:pt x="559" y="209"/>
                </a:cubicBezTo>
                <a:cubicBezTo>
                  <a:pt x="559" y="212"/>
                  <a:pt x="561" y="214"/>
                  <a:pt x="563" y="214"/>
                </a:cubicBezTo>
                <a:close/>
                <a:moveTo>
                  <a:pt x="577" y="187"/>
                </a:moveTo>
                <a:cubicBezTo>
                  <a:pt x="579" y="187"/>
                  <a:pt x="581" y="185"/>
                  <a:pt x="581" y="182"/>
                </a:cubicBezTo>
                <a:cubicBezTo>
                  <a:pt x="581" y="179"/>
                  <a:pt x="579" y="177"/>
                  <a:pt x="577" y="177"/>
                </a:cubicBezTo>
                <a:cubicBezTo>
                  <a:pt x="574" y="177"/>
                  <a:pt x="572" y="179"/>
                  <a:pt x="572" y="182"/>
                </a:cubicBezTo>
                <a:cubicBezTo>
                  <a:pt x="572" y="185"/>
                  <a:pt x="574" y="187"/>
                  <a:pt x="577" y="187"/>
                </a:cubicBezTo>
                <a:close/>
                <a:moveTo>
                  <a:pt x="570" y="200"/>
                </a:moveTo>
                <a:cubicBezTo>
                  <a:pt x="572" y="200"/>
                  <a:pt x="574" y="198"/>
                  <a:pt x="574" y="196"/>
                </a:cubicBezTo>
                <a:cubicBezTo>
                  <a:pt x="574" y="193"/>
                  <a:pt x="572" y="191"/>
                  <a:pt x="570" y="191"/>
                </a:cubicBezTo>
                <a:cubicBezTo>
                  <a:pt x="567" y="191"/>
                  <a:pt x="565" y="193"/>
                  <a:pt x="565" y="196"/>
                </a:cubicBezTo>
                <a:cubicBezTo>
                  <a:pt x="565" y="198"/>
                  <a:pt x="567" y="200"/>
                  <a:pt x="570" y="200"/>
                </a:cubicBezTo>
                <a:close/>
                <a:moveTo>
                  <a:pt x="502" y="27"/>
                </a:moveTo>
                <a:cubicBezTo>
                  <a:pt x="499" y="27"/>
                  <a:pt x="497" y="29"/>
                  <a:pt x="497" y="32"/>
                </a:cubicBezTo>
                <a:cubicBezTo>
                  <a:pt x="497" y="34"/>
                  <a:pt x="499" y="37"/>
                  <a:pt x="502" y="37"/>
                </a:cubicBezTo>
                <a:cubicBezTo>
                  <a:pt x="504" y="37"/>
                  <a:pt x="506" y="34"/>
                  <a:pt x="506" y="32"/>
                </a:cubicBezTo>
                <a:cubicBezTo>
                  <a:pt x="506" y="29"/>
                  <a:pt x="504" y="27"/>
                  <a:pt x="502" y="27"/>
                </a:cubicBezTo>
                <a:close/>
                <a:moveTo>
                  <a:pt x="488" y="27"/>
                </a:moveTo>
                <a:cubicBezTo>
                  <a:pt x="486" y="27"/>
                  <a:pt x="484" y="29"/>
                  <a:pt x="484" y="32"/>
                </a:cubicBezTo>
                <a:cubicBezTo>
                  <a:pt x="484" y="34"/>
                  <a:pt x="486" y="37"/>
                  <a:pt x="488" y="37"/>
                </a:cubicBezTo>
                <a:cubicBezTo>
                  <a:pt x="491" y="37"/>
                  <a:pt x="493" y="34"/>
                  <a:pt x="493" y="32"/>
                </a:cubicBezTo>
                <a:cubicBezTo>
                  <a:pt x="493" y="29"/>
                  <a:pt x="491" y="27"/>
                  <a:pt x="488" y="27"/>
                </a:cubicBezTo>
                <a:close/>
                <a:moveTo>
                  <a:pt x="477" y="46"/>
                </a:moveTo>
                <a:cubicBezTo>
                  <a:pt x="477" y="48"/>
                  <a:pt x="479" y="50"/>
                  <a:pt x="481" y="50"/>
                </a:cubicBezTo>
                <a:cubicBezTo>
                  <a:pt x="484" y="50"/>
                  <a:pt x="486" y="48"/>
                  <a:pt x="486" y="46"/>
                </a:cubicBezTo>
                <a:cubicBezTo>
                  <a:pt x="486" y="43"/>
                  <a:pt x="484" y="41"/>
                  <a:pt x="481" y="41"/>
                </a:cubicBezTo>
                <a:cubicBezTo>
                  <a:pt x="479" y="41"/>
                  <a:pt x="477" y="43"/>
                  <a:pt x="477" y="46"/>
                </a:cubicBezTo>
                <a:close/>
                <a:moveTo>
                  <a:pt x="490" y="46"/>
                </a:moveTo>
                <a:cubicBezTo>
                  <a:pt x="490" y="48"/>
                  <a:pt x="492" y="50"/>
                  <a:pt x="495" y="50"/>
                </a:cubicBezTo>
                <a:cubicBezTo>
                  <a:pt x="497" y="50"/>
                  <a:pt x="500" y="48"/>
                  <a:pt x="500" y="46"/>
                </a:cubicBezTo>
                <a:cubicBezTo>
                  <a:pt x="500" y="43"/>
                  <a:pt x="497" y="41"/>
                  <a:pt x="495" y="41"/>
                </a:cubicBezTo>
                <a:cubicBezTo>
                  <a:pt x="492" y="41"/>
                  <a:pt x="490" y="43"/>
                  <a:pt x="490" y="46"/>
                </a:cubicBezTo>
                <a:close/>
                <a:moveTo>
                  <a:pt x="238" y="114"/>
                </a:moveTo>
                <a:cubicBezTo>
                  <a:pt x="238" y="116"/>
                  <a:pt x="240" y="118"/>
                  <a:pt x="243" y="118"/>
                </a:cubicBezTo>
                <a:cubicBezTo>
                  <a:pt x="246" y="118"/>
                  <a:pt x="248" y="116"/>
                  <a:pt x="248" y="114"/>
                </a:cubicBezTo>
                <a:cubicBezTo>
                  <a:pt x="248" y="111"/>
                  <a:pt x="246" y="109"/>
                  <a:pt x="243" y="109"/>
                </a:cubicBezTo>
                <a:cubicBezTo>
                  <a:pt x="240" y="109"/>
                  <a:pt x="238" y="111"/>
                  <a:pt x="238" y="114"/>
                </a:cubicBezTo>
                <a:close/>
                <a:moveTo>
                  <a:pt x="248" y="87"/>
                </a:moveTo>
                <a:cubicBezTo>
                  <a:pt x="248" y="84"/>
                  <a:pt x="246" y="82"/>
                  <a:pt x="243" y="82"/>
                </a:cubicBezTo>
                <a:cubicBezTo>
                  <a:pt x="240" y="82"/>
                  <a:pt x="238" y="84"/>
                  <a:pt x="238" y="87"/>
                </a:cubicBezTo>
                <a:cubicBezTo>
                  <a:pt x="238" y="89"/>
                  <a:pt x="240" y="91"/>
                  <a:pt x="243" y="91"/>
                </a:cubicBezTo>
                <a:cubicBezTo>
                  <a:pt x="246" y="91"/>
                  <a:pt x="248" y="89"/>
                  <a:pt x="248" y="87"/>
                </a:cubicBezTo>
                <a:close/>
                <a:moveTo>
                  <a:pt x="599" y="209"/>
                </a:moveTo>
                <a:cubicBezTo>
                  <a:pt x="599" y="212"/>
                  <a:pt x="601" y="214"/>
                  <a:pt x="604" y="214"/>
                </a:cubicBezTo>
                <a:cubicBezTo>
                  <a:pt x="606" y="214"/>
                  <a:pt x="608" y="212"/>
                  <a:pt x="608" y="209"/>
                </a:cubicBezTo>
                <a:cubicBezTo>
                  <a:pt x="608" y="207"/>
                  <a:pt x="606" y="205"/>
                  <a:pt x="604" y="205"/>
                </a:cubicBezTo>
                <a:cubicBezTo>
                  <a:pt x="601" y="205"/>
                  <a:pt x="599" y="207"/>
                  <a:pt x="599" y="209"/>
                </a:cubicBezTo>
                <a:close/>
                <a:moveTo>
                  <a:pt x="107" y="137"/>
                </a:moveTo>
                <a:cubicBezTo>
                  <a:pt x="104" y="137"/>
                  <a:pt x="102" y="139"/>
                  <a:pt x="102" y="141"/>
                </a:cubicBezTo>
                <a:cubicBezTo>
                  <a:pt x="102" y="144"/>
                  <a:pt x="104" y="146"/>
                  <a:pt x="107" y="146"/>
                </a:cubicBezTo>
                <a:cubicBezTo>
                  <a:pt x="109" y="146"/>
                  <a:pt x="111" y="144"/>
                  <a:pt x="111" y="141"/>
                </a:cubicBezTo>
                <a:cubicBezTo>
                  <a:pt x="111" y="139"/>
                  <a:pt x="109" y="137"/>
                  <a:pt x="107" y="137"/>
                </a:cubicBezTo>
                <a:close/>
                <a:moveTo>
                  <a:pt x="114" y="159"/>
                </a:moveTo>
                <a:cubicBezTo>
                  <a:pt x="116" y="159"/>
                  <a:pt x="118" y="157"/>
                  <a:pt x="118" y="155"/>
                </a:cubicBezTo>
                <a:cubicBezTo>
                  <a:pt x="118" y="152"/>
                  <a:pt x="116" y="150"/>
                  <a:pt x="114" y="150"/>
                </a:cubicBezTo>
                <a:cubicBezTo>
                  <a:pt x="111" y="150"/>
                  <a:pt x="109" y="152"/>
                  <a:pt x="109" y="155"/>
                </a:cubicBezTo>
                <a:cubicBezTo>
                  <a:pt x="109" y="157"/>
                  <a:pt x="111" y="159"/>
                  <a:pt x="114" y="159"/>
                </a:cubicBezTo>
                <a:close/>
                <a:moveTo>
                  <a:pt x="515" y="37"/>
                </a:moveTo>
                <a:cubicBezTo>
                  <a:pt x="518" y="37"/>
                  <a:pt x="520" y="34"/>
                  <a:pt x="520" y="32"/>
                </a:cubicBezTo>
                <a:cubicBezTo>
                  <a:pt x="520" y="29"/>
                  <a:pt x="518" y="27"/>
                  <a:pt x="515" y="27"/>
                </a:cubicBezTo>
                <a:cubicBezTo>
                  <a:pt x="513" y="27"/>
                  <a:pt x="511" y="29"/>
                  <a:pt x="511" y="32"/>
                </a:cubicBezTo>
                <a:cubicBezTo>
                  <a:pt x="511" y="34"/>
                  <a:pt x="513" y="37"/>
                  <a:pt x="515" y="37"/>
                </a:cubicBezTo>
                <a:close/>
                <a:moveTo>
                  <a:pt x="524" y="32"/>
                </a:moveTo>
                <a:cubicBezTo>
                  <a:pt x="524" y="34"/>
                  <a:pt x="527" y="37"/>
                  <a:pt x="529" y="37"/>
                </a:cubicBezTo>
                <a:cubicBezTo>
                  <a:pt x="532" y="37"/>
                  <a:pt x="534" y="34"/>
                  <a:pt x="534" y="32"/>
                </a:cubicBezTo>
                <a:cubicBezTo>
                  <a:pt x="534" y="29"/>
                  <a:pt x="532" y="27"/>
                  <a:pt x="529" y="27"/>
                </a:cubicBezTo>
                <a:cubicBezTo>
                  <a:pt x="527" y="27"/>
                  <a:pt x="524" y="29"/>
                  <a:pt x="524" y="32"/>
                </a:cubicBezTo>
                <a:close/>
                <a:moveTo>
                  <a:pt x="536" y="41"/>
                </a:moveTo>
                <a:cubicBezTo>
                  <a:pt x="533" y="41"/>
                  <a:pt x="531" y="43"/>
                  <a:pt x="531" y="46"/>
                </a:cubicBezTo>
                <a:cubicBezTo>
                  <a:pt x="531" y="48"/>
                  <a:pt x="533" y="50"/>
                  <a:pt x="536" y="50"/>
                </a:cubicBezTo>
                <a:cubicBezTo>
                  <a:pt x="538" y="50"/>
                  <a:pt x="540" y="48"/>
                  <a:pt x="540" y="46"/>
                </a:cubicBezTo>
                <a:cubicBezTo>
                  <a:pt x="540" y="43"/>
                  <a:pt x="538" y="41"/>
                  <a:pt x="536" y="41"/>
                </a:cubicBezTo>
                <a:close/>
                <a:moveTo>
                  <a:pt x="504" y="46"/>
                </a:moveTo>
                <a:cubicBezTo>
                  <a:pt x="504" y="48"/>
                  <a:pt x="506" y="50"/>
                  <a:pt x="509" y="50"/>
                </a:cubicBezTo>
                <a:cubicBezTo>
                  <a:pt x="511" y="50"/>
                  <a:pt x="513" y="48"/>
                  <a:pt x="513" y="46"/>
                </a:cubicBezTo>
                <a:cubicBezTo>
                  <a:pt x="513" y="43"/>
                  <a:pt x="511" y="41"/>
                  <a:pt x="509" y="41"/>
                </a:cubicBezTo>
                <a:cubicBezTo>
                  <a:pt x="506" y="41"/>
                  <a:pt x="504" y="43"/>
                  <a:pt x="504" y="46"/>
                </a:cubicBezTo>
                <a:close/>
                <a:moveTo>
                  <a:pt x="125" y="141"/>
                </a:moveTo>
                <a:cubicBezTo>
                  <a:pt x="125" y="139"/>
                  <a:pt x="123" y="137"/>
                  <a:pt x="120" y="137"/>
                </a:cubicBezTo>
                <a:cubicBezTo>
                  <a:pt x="118" y="137"/>
                  <a:pt x="116" y="139"/>
                  <a:pt x="116" y="141"/>
                </a:cubicBezTo>
                <a:cubicBezTo>
                  <a:pt x="116" y="144"/>
                  <a:pt x="118" y="146"/>
                  <a:pt x="120" y="146"/>
                </a:cubicBezTo>
                <a:cubicBezTo>
                  <a:pt x="123" y="146"/>
                  <a:pt x="125" y="144"/>
                  <a:pt x="125" y="141"/>
                </a:cubicBezTo>
                <a:close/>
                <a:moveTo>
                  <a:pt x="674" y="32"/>
                </a:moveTo>
                <a:cubicBezTo>
                  <a:pt x="674" y="34"/>
                  <a:pt x="676" y="37"/>
                  <a:pt x="679" y="37"/>
                </a:cubicBezTo>
                <a:cubicBezTo>
                  <a:pt x="681" y="37"/>
                  <a:pt x="683" y="34"/>
                  <a:pt x="683" y="32"/>
                </a:cubicBezTo>
                <a:cubicBezTo>
                  <a:pt x="683" y="29"/>
                  <a:pt x="681" y="27"/>
                  <a:pt x="679" y="27"/>
                </a:cubicBezTo>
                <a:cubicBezTo>
                  <a:pt x="676" y="27"/>
                  <a:pt x="674" y="29"/>
                  <a:pt x="674" y="32"/>
                </a:cubicBezTo>
                <a:close/>
                <a:moveTo>
                  <a:pt x="715" y="114"/>
                </a:moveTo>
                <a:cubicBezTo>
                  <a:pt x="715" y="116"/>
                  <a:pt x="717" y="118"/>
                  <a:pt x="720" y="118"/>
                </a:cubicBezTo>
                <a:cubicBezTo>
                  <a:pt x="722" y="118"/>
                  <a:pt x="724" y="116"/>
                  <a:pt x="724" y="114"/>
                </a:cubicBezTo>
                <a:cubicBezTo>
                  <a:pt x="724" y="111"/>
                  <a:pt x="722" y="109"/>
                  <a:pt x="720" y="109"/>
                </a:cubicBezTo>
                <a:cubicBezTo>
                  <a:pt x="717" y="109"/>
                  <a:pt x="715" y="111"/>
                  <a:pt x="715" y="114"/>
                </a:cubicBezTo>
                <a:close/>
                <a:moveTo>
                  <a:pt x="727" y="105"/>
                </a:moveTo>
                <a:cubicBezTo>
                  <a:pt x="729" y="105"/>
                  <a:pt x="731" y="103"/>
                  <a:pt x="731" y="100"/>
                </a:cubicBezTo>
                <a:cubicBezTo>
                  <a:pt x="731" y="98"/>
                  <a:pt x="729" y="96"/>
                  <a:pt x="727" y="96"/>
                </a:cubicBezTo>
                <a:cubicBezTo>
                  <a:pt x="724" y="96"/>
                  <a:pt x="722" y="98"/>
                  <a:pt x="722" y="100"/>
                </a:cubicBezTo>
                <a:cubicBezTo>
                  <a:pt x="722" y="103"/>
                  <a:pt x="724" y="105"/>
                  <a:pt x="727" y="105"/>
                </a:cubicBezTo>
                <a:close/>
                <a:moveTo>
                  <a:pt x="708" y="100"/>
                </a:moveTo>
                <a:cubicBezTo>
                  <a:pt x="708" y="103"/>
                  <a:pt x="710" y="105"/>
                  <a:pt x="713" y="105"/>
                </a:cubicBezTo>
                <a:cubicBezTo>
                  <a:pt x="715" y="105"/>
                  <a:pt x="717" y="103"/>
                  <a:pt x="717" y="100"/>
                </a:cubicBezTo>
                <a:cubicBezTo>
                  <a:pt x="717" y="98"/>
                  <a:pt x="715" y="96"/>
                  <a:pt x="713" y="96"/>
                </a:cubicBezTo>
                <a:cubicBezTo>
                  <a:pt x="710" y="96"/>
                  <a:pt x="708" y="98"/>
                  <a:pt x="708" y="100"/>
                </a:cubicBezTo>
                <a:close/>
                <a:moveTo>
                  <a:pt x="699" y="23"/>
                </a:moveTo>
                <a:cubicBezTo>
                  <a:pt x="702" y="23"/>
                  <a:pt x="704" y="21"/>
                  <a:pt x="704" y="18"/>
                </a:cubicBezTo>
                <a:cubicBezTo>
                  <a:pt x="704" y="16"/>
                  <a:pt x="702" y="14"/>
                  <a:pt x="699" y="14"/>
                </a:cubicBezTo>
                <a:cubicBezTo>
                  <a:pt x="697" y="14"/>
                  <a:pt x="695" y="16"/>
                  <a:pt x="695" y="18"/>
                </a:cubicBezTo>
                <a:cubicBezTo>
                  <a:pt x="695" y="21"/>
                  <a:pt x="697" y="23"/>
                  <a:pt x="699" y="23"/>
                </a:cubicBezTo>
                <a:close/>
                <a:moveTo>
                  <a:pt x="729" y="114"/>
                </a:moveTo>
                <a:cubicBezTo>
                  <a:pt x="729" y="116"/>
                  <a:pt x="731" y="118"/>
                  <a:pt x="733" y="118"/>
                </a:cubicBezTo>
                <a:cubicBezTo>
                  <a:pt x="736" y="118"/>
                  <a:pt x="738" y="116"/>
                  <a:pt x="738" y="114"/>
                </a:cubicBezTo>
                <a:cubicBezTo>
                  <a:pt x="738" y="111"/>
                  <a:pt x="736" y="109"/>
                  <a:pt x="733" y="109"/>
                </a:cubicBezTo>
                <a:cubicBezTo>
                  <a:pt x="731" y="109"/>
                  <a:pt x="729" y="111"/>
                  <a:pt x="729" y="114"/>
                </a:cubicBezTo>
                <a:close/>
                <a:moveTo>
                  <a:pt x="702" y="87"/>
                </a:moveTo>
                <a:cubicBezTo>
                  <a:pt x="702" y="89"/>
                  <a:pt x="704" y="91"/>
                  <a:pt x="706" y="91"/>
                </a:cubicBezTo>
                <a:cubicBezTo>
                  <a:pt x="709" y="91"/>
                  <a:pt x="711" y="89"/>
                  <a:pt x="711" y="87"/>
                </a:cubicBezTo>
                <a:cubicBezTo>
                  <a:pt x="711" y="84"/>
                  <a:pt x="709" y="82"/>
                  <a:pt x="706" y="82"/>
                </a:cubicBezTo>
                <a:cubicBezTo>
                  <a:pt x="704" y="82"/>
                  <a:pt x="702" y="84"/>
                  <a:pt x="702" y="87"/>
                </a:cubicBezTo>
                <a:close/>
                <a:moveTo>
                  <a:pt x="740" y="105"/>
                </a:moveTo>
                <a:cubicBezTo>
                  <a:pt x="743" y="105"/>
                  <a:pt x="745" y="103"/>
                  <a:pt x="745" y="100"/>
                </a:cubicBezTo>
                <a:cubicBezTo>
                  <a:pt x="745" y="98"/>
                  <a:pt x="743" y="96"/>
                  <a:pt x="740" y="96"/>
                </a:cubicBezTo>
                <a:cubicBezTo>
                  <a:pt x="738" y="96"/>
                  <a:pt x="736" y="98"/>
                  <a:pt x="736" y="100"/>
                </a:cubicBezTo>
                <a:cubicBezTo>
                  <a:pt x="736" y="103"/>
                  <a:pt x="738" y="105"/>
                  <a:pt x="740" y="105"/>
                </a:cubicBezTo>
                <a:close/>
                <a:moveTo>
                  <a:pt x="767" y="105"/>
                </a:moveTo>
                <a:cubicBezTo>
                  <a:pt x="770" y="105"/>
                  <a:pt x="772" y="103"/>
                  <a:pt x="772" y="100"/>
                </a:cubicBezTo>
                <a:cubicBezTo>
                  <a:pt x="772" y="98"/>
                  <a:pt x="770" y="96"/>
                  <a:pt x="767" y="96"/>
                </a:cubicBezTo>
                <a:cubicBezTo>
                  <a:pt x="765" y="96"/>
                  <a:pt x="763" y="98"/>
                  <a:pt x="763" y="100"/>
                </a:cubicBezTo>
                <a:cubicBezTo>
                  <a:pt x="763" y="103"/>
                  <a:pt x="765" y="105"/>
                  <a:pt x="767" y="105"/>
                </a:cubicBezTo>
                <a:close/>
                <a:moveTo>
                  <a:pt x="756" y="114"/>
                </a:moveTo>
                <a:cubicBezTo>
                  <a:pt x="756" y="116"/>
                  <a:pt x="758" y="118"/>
                  <a:pt x="761" y="118"/>
                </a:cubicBezTo>
                <a:cubicBezTo>
                  <a:pt x="763" y="118"/>
                  <a:pt x="765" y="116"/>
                  <a:pt x="765" y="114"/>
                </a:cubicBezTo>
                <a:cubicBezTo>
                  <a:pt x="765" y="111"/>
                  <a:pt x="763" y="109"/>
                  <a:pt x="761" y="109"/>
                </a:cubicBezTo>
                <a:cubicBezTo>
                  <a:pt x="758" y="109"/>
                  <a:pt x="756" y="111"/>
                  <a:pt x="756" y="114"/>
                </a:cubicBezTo>
                <a:close/>
                <a:moveTo>
                  <a:pt x="688" y="32"/>
                </a:moveTo>
                <a:cubicBezTo>
                  <a:pt x="688" y="34"/>
                  <a:pt x="690" y="37"/>
                  <a:pt x="692" y="37"/>
                </a:cubicBezTo>
                <a:cubicBezTo>
                  <a:pt x="695" y="37"/>
                  <a:pt x="697" y="34"/>
                  <a:pt x="697" y="32"/>
                </a:cubicBezTo>
                <a:cubicBezTo>
                  <a:pt x="697" y="29"/>
                  <a:pt x="695" y="27"/>
                  <a:pt x="692" y="27"/>
                </a:cubicBezTo>
                <a:cubicBezTo>
                  <a:pt x="690" y="27"/>
                  <a:pt x="688" y="29"/>
                  <a:pt x="688" y="32"/>
                </a:cubicBezTo>
                <a:close/>
                <a:moveTo>
                  <a:pt x="767" y="23"/>
                </a:moveTo>
                <a:cubicBezTo>
                  <a:pt x="770" y="23"/>
                  <a:pt x="772" y="21"/>
                  <a:pt x="772" y="18"/>
                </a:cubicBezTo>
                <a:cubicBezTo>
                  <a:pt x="772" y="16"/>
                  <a:pt x="770" y="14"/>
                  <a:pt x="767" y="14"/>
                </a:cubicBezTo>
                <a:cubicBezTo>
                  <a:pt x="765" y="14"/>
                  <a:pt x="763" y="16"/>
                  <a:pt x="763" y="18"/>
                </a:cubicBezTo>
                <a:cubicBezTo>
                  <a:pt x="763" y="21"/>
                  <a:pt x="765" y="23"/>
                  <a:pt x="767" y="23"/>
                </a:cubicBezTo>
                <a:close/>
                <a:moveTo>
                  <a:pt x="754" y="105"/>
                </a:moveTo>
                <a:cubicBezTo>
                  <a:pt x="756" y="105"/>
                  <a:pt x="758" y="103"/>
                  <a:pt x="758" y="100"/>
                </a:cubicBezTo>
                <a:cubicBezTo>
                  <a:pt x="758" y="98"/>
                  <a:pt x="756" y="96"/>
                  <a:pt x="754" y="96"/>
                </a:cubicBezTo>
                <a:cubicBezTo>
                  <a:pt x="751" y="96"/>
                  <a:pt x="749" y="98"/>
                  <a:pt x="749" y="100"/>
                </a:cubicBezTo>
                <a:cubicBezTo>
                  <a:pt x="749" y="103"/>
                  <a:pt x="751" y="105"/>
                  <a:pt x="754" y="105"/>
                </a:cubicBezTo>
                <a:close/>
                <a:moveTo>
                  <a:pt x="742" y="114"/>
                </a:moveTo>
                <a:cubicBezTo>
                  <a:pt x="742" y="116"/>
                  <a:pt x="744" y="118"/>
                  <a:pt x="747" y="118"/>
                </a:cubicBezTo>
                <a:cubicBezTo>
                  <a:pt x="749" y="118"/>
                  <a:pt x="751" y="116"/>
                  <a:pt x="751" y="114"/>
                </a:cubicBezTo>
                <a:cubicBezTo>
                  <a:pt x="751" y="111"/>
                  <a:pt x="749" y="109"/>
                  <a:pt x="747" y="109"/>
                </a:cubicBezTo>
                <a:cubicBezTo>
                  <a:pt x="744" y="109"/>
                  <a:pt x="742" y="111"/>
                  <a:pt x="742" y="114"/>
                </a:cubicBezTo>
                <a:close/>
                <a:moveTo>
                  <a:pt x="652" y="37"/>
                </a:moveTo>
                <a:cubicBezTo>
                  <a:pt x="654" y="37"/>
                  <a:pt x="656" y="34"/>
                  <a:pt x="656" y="32"/>
                </a:cubicBezTo>
                <a:cubicBezTo>
                  <a:pt x="656" y="29"/>
                  <a:pt x="654" y="27"/>
                  <a:pt x="652" y="27"/>
                </a:cubicBezTo>
                <a:cubicBezTo>
                  <a:pt x="649" y="27"/>
                  <a:pt x="647" y="29"/>
                  <a:pt x="647" y="32"/>
                </a:cubicBezTo>
                <a:cubicBezTo>
                  <a:pt x="647" y="34"/>
                  <a:pt x="649" y="37"/>
                  <a:pt x="652" y="37"/>
                </a:cubicBezTo>
                <a:close/>
                <a:moveTo>
                  <a:pt x="631" y="159"/>
                </a:moveTo>
                <a:cubicBezTo>
                  <a:pt x="634" y="159"/>
                  <a:pt x="636" y="157"/>
                  <a:pt x="636" y="155"/>
                </a:cubicBezTo>
                <a:cubicBezTo>
                  <a:pt x="636" y="152"/>
                  <a:pt x="634" y="150"/>
                  <a:pt x="631" y="150"/>
                </a:cubicBezTo>
                <a:cubicBezTo>
                  <a:pt x="629" y="150"/>
                  <a:pt x="627" y="152"/>
                  <a:pt x="627" y="155"/>
                </a:cubicBezTo>
                <a:cubicBezTo>
                  <a:pt x="627" y="157"/>
                  <a:pt x="629" y="159"/>
                  <a:pt x="631" y="159"/>
                </a:cubicBezTo>
                <a:close/>
                <a:moveTo>
                  <a:pt x="686" y="23"/>
                </a:moveTo>
                <a:cubicBezTo>
                  <a:pt x="688" y="23"/>
                  <a:pt x="690" y="21"/>
                  <a:pt x="690" y="18"/>
                </a:cubicBezTo>
                <a:cubicBezTo>
                  <a:pt x="690" y="16"/>
                  <a:pt x="688" y="14"/>
                  <a:pt x="686" y="14"/>
                </a:cubicBezTo>
                <a:cubicBezTo>
                  <a:pt x="683" y="14"/>
                  <a:pt x="681" y="16"/>
                  <a:pt x="681" y="18"/>
                </a:cubicBezTo>
                <a:cubicBezTo>
                  <a:pt x="681" y="21"/>
                  <a:pt x="683" y="23"/>
                  <a:pt x="686" y="23"/>
                </a:cubicBezTo>
                <a:close/>
                <a:moveTo>
                  <a:pt x="638" y="146"/>
                </a:moveTo>
                <a:cubicBezTo>
                  <a:pt x="640" y="146"/>
                  <a:pt x="643" y="144"/>
                  <a:pt x="643" y="141"/>
                </a:cubicBezTo>
                <a:cubicBezTo>
                  <a:pt x="643" y="139"/>
                  <a:pt x="640" y="137"/>
                  <a:pt x="638" y="137"/>
                </a:cubicBezTo>
                <a:cubicBezTo>
                  <a:pt x="635" y="137"/>
                  <a:pt x="633" y="139"/>
                  <a:pt x="633" y="141"/>
                </a:cubicBezTo>
                <a:cubicBezTo>
                  <a:pt x="633" y="144"/>
                  <a:pt x="635" y="146"/>
                  <a:pt x="638" y="146"/>
                </a:cubicBezTo>
                <a:close/>
                <a:moveTo>
                  <a:pt x="618" y="214"/>
                </a:moveTo>
                <a:cubicBezTo>
                  <a:pt x="620" y="214"/>
                  <a:pt x="622" y="212"/>
                  <a:pt x="622" y="209"/>
                </a:cubicBezTo>
                <a:cubicBezTo>
                  <a:pt x="622" y="207"/>
                  <a:pt x="620" y="205"/>
                  <a:pt x="618" y="205"/>
                </a:cubicBezTo>
                <a:cubicBezTo>
                  <a:pt x="615" y="205"/>
                  <a:pt x="613" y="207"/>
                  <a:pt x="613" y="209"/>
                </a:cubicBezTo>
                <a:cubicBezTo>
                  <a:pt x="613" y="212"/>
                  <a:pt x="615" y="214"/>
                  <a:pt x="618" y="214"/>
                </a:cubicBezTo>
                <a:close/>
                <a:moveTo>
                  <a:pt x="645" y="132"/>
                </a:moveTo>
                <a:cubicBezTo>
                  <a:pt x="647" y="132"/>
                  <a:pt x="649" y="130"/>
                  <a:pt x="649" y="127"/>
                </a:cubicBezTo>
                <a:cubicBezTo>
                  <a:pt x="649" y="125"/>
                  <a:pt x="647" y="123"/>
                  <a:pt x="645" y="123"/>
                </a:cubicBezTo>
                <a:cubicBezTo>
                  <a:pt x="642" y="123"/>
                  <a:pt x="640" y="125"/>
                  <a:pt x="640" y="127"/>
                </a:cubicBezTo>
                <a:cubicBezTo>
                  <a:pt x="640" y="130"/>
                  <a:pt x="642" y="132"/>
                  <a:pt x="645" y="132"/>
                </a:cubicBezTo>
                <a:close/>
                <a:moveTo>
                  <a:pt x="624" y="200"/>
                </a:moveTo>
                <a:cubicBezTo>
                  <a:pt x="627" y="200"/>
                  <a:pt x="629" y="198"/>
                  <a:pt x="629" y="196"/>
                </a:cubicBezTo>
                <a:cubicBezTo>
                  <a:pt x="629" y="193"/>
                  <a:pt x="627" y="191"/>
                  <a:pt x="624" y="191"/>
                </a:cubicBezTo>
                <a:cubicBezTo>
                  <a:pt x="622" y="191"/>
                  <a:pt x="620" y="193"/>
                  <a:pt x="620" y="196"/>
                </a:cubicBezTo>
                <a:cubicBezTo>
                  <a:pt x="620" y="198"/>
                  <a:pt x="622" y="200"/>
                  <a:pt x="624" y="200"/>
                </a:cubicBezTo>
                <a:close/>
                <a:moveTo>
                  <a:pt x="631" y="187"/>
                </a:moveTo>
                <a:cubicBezTo>
                  <a:pt x="634" y="187"/>
                  <a:pt x="636" y="185"/>
                  <a:pt x="636" y="182"/>
                </a:cubicBezTo>
                <a:cubicBezTo>
                  <a:pt x="636" y="179"/>
                  <a:pt x="634" y="177"/>
                  <a:pt x="631" y="177"/>
                </a:cubicBezTo>
                <a:cubicBezTo>
                  <a:pt x="629" y="177"/>
                  <a:pt x="627" y="179"/>
                  <a:pt x="627" y="182"/>
                </a:cubicBezTo>
                <a:cubicBezTo>
                  <a:pt x="627" y="185"/>
                  <a:pt x="629" y="187"/>
                  <a:pt x="631" y="187"/>
                </a:cubicBezTo>
                <a:close/>
                <a:moveTo>
                  <a:pt x="672" y="23"/>
                </a:moveTo>
                <a:cubicBezTo>
                  <a:pt x="675" y="23"/>
                  <a:pt x="677" y="21"/>
                  <a:pt x="677" y="18"/>
                </a:cubicBezTo>
                <a:cubicBezTo>
                  <a:pt x="677" y="16"/>
                  <a:pt x="675" y="14"/>
                  <a:pt x="672" y="14"/>
                </a:cubicBezTo>
                <a:cubicBezTo>
                  <a:pt x="670" y="14"/>
                  <a:pt x="667" y="16"/>
                  <a:pt x="667" y="18"/>
                </a:cubicBezTo>
                <a:cubicBezTo>
                  <a:pt x="667" y="21"/>
                  <a:pt x="670" y="23"/>
                  <a:pt x="672" y="23"/>
                </a:cubicBezTo>
                <a:close/>
                <a:moveTo>
                  <a:pt x="450" y="73"/>
                </a:moveTo>
                <a:cubicBezTo>
                  <a:pt x="450" y="75"/>
                  <a:pt x="452" y="77"/>
                  <a:pt x="454" y="77"/>
                </a:cubicBezTo>
                <a:cubicBezTo>
                  <a:pt x="457" y="77"/>
                  <a:pt x="459" y="75"/>
                  <a:pt x="459" y="73"/>
                </a:cubicBezTo>
                <a:cubicBezTo>
                  <a:pt x="459" y="70"/>
                  <a:pt x="457" y="68"/>
                  <a:pt x="454" y="68"/>
                </a:cubicBezTo>
                <a:cubicBezTo>
                  <a:pt x="452" y="68"/>
                  <a:pt x="450" y="70"/>
                  <a:pt x="450" y="73"/>
                </a:cubicBezTo>
                <a:close/>
                <a:moveTo>
                  <a:pt x="665" y="37"/>
                </a:moveTo>
                <a:cubicBezTo>
                  <a:pt x="668" y="37"/>
                  <a:pt x="670" y="34"/>
                  <a:pt x="670" y="32"/>
                </a:cubicBezTo>
                <a:cubicBezTo>
                  <a:pt x="670" y="29"/>
                  <a:pt x="668" y="27"/>
                  <a:pt x="665" y="27"/>
                </a:cubicBezTo>
                <a:cubicBezTo>
                  <a:pt x="663" y="27"/>
                  <a:pt x="661" y="29"/>
                  <a:pt x="661" y="32"/>
                </a:cubicBezTo>
                <a:cubicBezTo>
                  <a:pt x="661" y="34"/>
                  <a:pt x="663" y="37"/>
                  <a:pt x="665" y="37"/>
                </a:cubicBezTo>
                <a:close/>
                <a:moveTo>
                  <a:pt x="606" y="223"/>
                </a:moveTo>
                <a:cubicBezTo>
                  <a:pt x="606" y="225"/>
                  <a:pt x="608" y="227"/>
                  <a:pt x="611" y="227"/>
                </a:cubicBezTo>
                <a:cubicBezTo>
                  <a:pt x="613" y="227"/>
                  <a:pt x="615" y="225"/>
                  <a:pt x="615" y="223"/>
                </a:cubicBezTo>
                <a:cubicBezTo>
                  <a:pt x="615" y="220"/>
                  <a:pt x="613" y="218"/>
                  <a:pt x="611" y="218"/>
                </a:cubicBezTo>
                <a:cubicBezTo>
                  <a:pt x="608" y="218"/>
                  <a:pt x="606" y="220"/>
                  <a:pt x="606" y="223"/>
                </a:cubicBezTo>
                <a:close/>
                <a:moveTo>
                  <a:pt x="654" y="46"/>
                </a:moveTo>
                <a:cubicBezTo>
                  <a:pt x="654" y="48"/>
                  <a:pt x="656" y="50"/>
                  <a:pt x="658" y="50"/>
                </a:cubicBezTo>
                <a:cubicBezTo>
                  <a:pt x="661" y="50"/>
                  <a:pt x="663" y="48"/>
                  <a:pt x="663" y="46"/>
                </a:cubicBezTo>
                <a:cubicBezTo>
                  <a:pt x="663" y="43"/>
                  <a:pt x="661" y="41"/>
                  <a:pt x="658" y="41"/>
                </a:cubicBezTo>
                <a:cubicBezTo>
                  <a:pt x="656" y="41"/>
                  <a:pt x="654" y="43"/>
                  <a:pt x="654" y="46"/>
                </a:cubicBezTo>
                <a:close/>
                <a:moveTo>
                  <a:pt x="652" y="118"/>
                </a:moveTo>
                <a:cubicBezTo>
                  <a:pt x="654" y="118"/>
                  <a:pt x="656" y="116"/>
                  <a:pt x="656" y="114"/>
                </a:cubicBezTo>
                <a:cubicBezTo>
                  <a:pt x="656" y="111"/>
                  <a:pt x="654" y="109"/>
                  <a:pt x="652" y="109"/>
                </a:cubicBezTo>
                <a:cubicBezTo>
                  <a:pt x="649" y="109"/>
                  <a:pt x="647" y="111"/>
                  <a:pt x="647" y="114"/>
                </a:cubicBezTo>
                <a:cubicBezTo>
                  <a:pt x="647" y="116"/>
                  <a:pt x="649" y="118"/>
                  <a:pt x="652" y="118"/>
                </a:cubicBezTo>
                <a:close/>
                <a:moveTo>
                  <a:pt x="549" y="132"/>
                </a:moveTo>
                <a:cubicBezTo>
                  <a:pt x="552" y="132"/>
                  <a:pt x="554" y="130"/>
                  <a:pt x="554" y="127"/>
                </a:cubicBezTo>
                <a:cubicBezTo>
                  <a:pt x="554" y="125"/>
                  <a:pt x="552" y="123"/>
                  <a:pt x="549" y="123"/>
                </a:cubicBezTo>
                <a:cubicBezTo>
                  <a:pt x="547" y="123"/>
                  <a:pt x="545" y="125"/>
                  <a:pt x="545" y="127"/>
                </a:cubicBezTo>
                <a:cubicBezTo>
                  <a:pt x="545" y="130"/>
                  <a:pt x="547" y="132"/>
                  <a:pt x="549" y="132"/>
                </a:cubicBezTo>
                <a:close/>
                <a:moveTo>
                  <a:pt x="400" y="423"/>
                </a:moveTo>
                <a:cubicBezTo>
                  <a:pt x="397" y="423"/>
                  <a:pt x="395" y="425"/>
                  <a:pt x="395" y="428"/>
                </a:cubicBezTo>
                <a:cubicBezTo>
                  <a:pt x="395" y="430"/>
                  <a:pt x="397" y="432"/>
                  <a:pt x="400" y="432"/>
                </a:cubicBezTo>
                <a:cubicBezTo>
                  <a:pt x="402" y="432"/>
                  <a:pt x="404" y="430"/>
                  <a:pt x="404" y="428"/>
                </a:cubicBezTo>
                <a:cubicBezTo>
                  <a:pt x="404" y="425"/>
                  <a:pt x="402" y="423"/>
                  <a:pt x="400" y="423"/>
                </a:cubicBezTo>
                <a:close/>
                <a:moveTo>
                  <a:pt x="409" y="428"/>
                </a:moveTo>
                <a:cubicBezTo>
                  <a:pt x="409" y="430"/>
                  <a:pt x="411" y="432"/>
                  <a:pt x="413" y="432"/>
                </a:cubicBezTo>
                <a:cubicBezTo>
                  <a:pt x="416" y="432"/>
                  <a:pt x="418" y="430"/>
                  <a:pt x="418" y="428"/>
                </a:cubicBezTo>
                <a:cubicBezTo>
                  <a:pt x="418" y="425"/>
                  <a:pt x="416" y="423"/>
                  <a:pt x="413" y="423"/>
                </a:cubicBezTo>
                <a:cubicBezTo>
                  <a:pt x="411" y="423"/>
                  <a:pt x="409" y="425"/>
                  <a:pt x="409" y="428"/>
                </a:cubicBezTo>
                <a:close/>
                <a:moveTo>
                  <a:pt x="402" y="441"/>
                </a:moveTo>
                <a:cubicBezTo>
                  <a:pt x="402" y="444"/>
                  <a:pt x="404" y="446"/>
                  <a:pt x="406" y="446"/>
                </a:cubicBezTo>
                <a:cubicBezTo>
                  <a:pt x="409" y="446"/>
                  <a:pt x="411" y="444"/>
                  <a:pt x="411" y="441"/>
                </a:cubicBezTo>
                <a:cubicBezTo>
                  <a:pt x="411" y="439"/>
                  <a:pt x="409" y="437"/>
                  <a:pt x="406" y="437"/>
                </a:cubicBezTo>
                <a:cubicBezTo>
                  <a:pt x="404" y="437"/>
                  <a:pt x="402" y="439"/>
                  <a:pt x="402" y="441"/>
                </a:cubicBezTo>
                <a:close/>
                <a:moveTo>
                  <a:pt x="388" y="441"/>
                </a:moveTo>
                <a:cubicBezTo>
                  <a:pt x="388" y="444"/>
                  <a:pt x="390" y="446"/>
                  <a:pt x="393" y="446"/>
                </a:cubicBezTo>
                <a:cubicBezTo>
                  <a:pt x="395" y="446"/>
                  <a:pt x="397" y="444"/>
                  <a:pt x="397" y="441"/>
                </a:cubicBezTo>
                <a:cubicBezTo>
                  <a:pt x="397" y="439"/>
                  <a:pt x="395" y="437"/>
                  <a:pt x="393" y="437"/>
                </a:cubicBezTo>
                <a:cubicBezTo>
                  <a:pt x="390" y="437"/>
                  <a:pt x="388" y="439"/>
                  <a:pt x="388" y="441"/>
                </a:cubicBezTo>
                <a:close/>
                <a:moveTo>
                  <a:pt x="375" y="441"/>
                </a:moveTo>
                <a:cubicBezTo>
                  <a:pt x="375" y="444"/>
                  <a:pt x="377" y="446"/>
                  <a:pt x="379" y="446"/>
                </a:cubicBezTo>
                <a:cubicBezTo>
                  <a:pt x="382" y="446"/>
                  <a:pt x="384" y="444"/>
                  <a:pt x="384" y="441"/>
                </a:cubicBezTo>
                <a:cubicBezTo>
                  <a:pt x="384" y="439"/>
                  <a:pt x="382" y="437"/>
                  <a:pt x="379" y="437"/>
                </a:cubicBezTo>
                <a:cubicBezTo>
                  <a:pt x="377" y="437"/>
                  <a:pt x="375" y="439"/>
                  <a:pt x="375" y="441"/>
                </a:cubicBezTo>
                <a:close/>
                <a:moveTo>
                  <a:pt x="372" y="423"/>
                </a:moveTo>
                <a:cubicBezTo>
                  <a:pt x="370" y="423"/>
                  <a:pt x="368" y="425"/>
                  <a:pt x="368" y="428"/>
                </a:cubicBezTo>
                <a:cubicBezTo>
                  <a:pt x="368" y="430"/>
                  <a:pt x="370" y="432"/>
                  <a:pt x="372" y="432"/>
                </a:cubicBezTo>
                <a:cubicBezTo>
                  <a:pt x="375" y="432"/>
                  <a:pt x="377" y="430"/>
                  <a:pt x="377" y="428"/>
                </a:cubicBezTo>
                <a:cubicBezTo>
                  <a:pt x="377" y="425"/>
                  <a:pt x="375" y="423"/>
                  <a:pt x="372" y="423"/>
                </a:cubicBezTo>
                <a:close/>
                <a:moveTo>
                  <a:pt x="386" y="423"/>
                </a:moveTo>
                <a:cubicBezTo>
                  <a:pt x="384" y="423"/>
                  <a:pt x="381" y="425"/>
                  <a:pt x="381" y="428"/>
                </a:cubicBezTo>
                <a:cubicBezTo>
                  <a:pt x="381" y="430"/>
                  <a:pt x="384" y="432"/>
                  <a:pt x="386" y="432"/>
                </a:cubicBezTo>
                <a:cubicBezTo>
                  <a:pt x="389" y="432"/>
                  <a:pt x="391" y="430"/>
                  <a:pt x="391" y="428"/>
                </a:cubicBezTo>
                <a:cubicBezTo>
                  <a:pt x="391" y="425"/>
                  <a:pt x="389" y="423"/>
                  <a:pt x="386" y="423"/>
                </a:cubicBezTo>
                <a:close/>
                <a:moveTo>
                  <a:pt x="425" y="441"/>
                </a:moveTo>
                <a:cubicBezTo>
                  <a:pt x="425" y="439"/>
                  <a:pt x="423" y="437"/>
                  <a:pt x="420" y="437"/>
                </a:cubicBezTo>
                <a:cubicBezTo>
                  <a:pt x="418" y="437"/>
                  <a:pt x="416" y="439"/>
                  <a:pt x="416" y="441"/>
                </a:cubicBezTo>
                <a:cubicBezTo>
                  <a:pt x="416" y="444"/>
                  <a:pt x="418" y="446"/>
                  <a:pt x="420" y="446"/>
                </a:cubicBezTo>
                <a:cubicBezTo>
                  <a:pt x="423" y="446"/>
                  <a:pt x="425" y="444"/>
                  <a:pt x="425" y="441"/>
                </a:cubicBezTo>
                <a:close/>
                <a:moveTo>
                  <a:pt x="391" y="482"/>
                </a:moveTo>
                <a:cubicBezTo>
                  <a:pt x="391" y="480"/>
                  <a:pt x="389" y="478"/>
                  <a:pt x="386" y="478"/>
                </a:cubicBezTo>
                <a:cubicBezTo>
                  <a:pt x="384" y="478"/>
                  <a:pt x="381" y="480"/>
                  <a:pt x="381" y="482"/>
                </a:cubicBezTo>
                <a:cubicBezTo>
                  <a:pt x="381" y="485"/>
                  <a:pt x="384" y="487"/>
                  <a:pt x="386" y="487"/>
                </a:cubicBezTo>
                <a:cubicBezTo>
                  <a:pt x="389" y="487"/>
                  <a:pt x="391" y="485"/>
                  <a:pt x="391" y="482"/>
                </a:cubicBezTo>
                <a:close/>
                <a:moveTo>
                  <a:pt x="404" y="455"/>
                </a:moveTo>
                <a:cubicBezTo>
                  <a:pt x="404" y="452"/>
                  <a:pt x="402" y="450"/>
                  <a:pt x="400" y="450"/>
                </a:cubicBezTo>
                <a:cubicBezTo>
                  <a:pt x="397" y="450"/>
                  <a:pt x="395" y="452"/>
                  <a:pt x="395" y="455"/>
                </a:cubicBezTo>
                <a:cubicBezTo>
                  <a:pt x="395" y="457"/>
                  <a:pt x="397" y="459"/>
                  <a:pt x="400" y="459"/>
                </a:cubicBezTo>
                <a:cubicBezTo>
                  <a:pt x="402" y="459"/>
                  <a:pt x="404" y="457"/>
                  <a:pt x="404" y="455"/>
                </a:cubicBezTo>
                <a:close/>
                <a:moveTo>
                  <a:pt x="397" y="468"/>
                </a:moveTo>
                <a:cubicBezTo>
                  <a:pt x="397" y="466"/>
                  <a:pt x="395" y="464"/>
                  <a:pt x="393" y="464"/>
                </a:cubicBezTo>
                <a:cubicBezTo>
                  <a:pt x="390" y="464"/>
                  <a:pt x="388" y="466"/>
                  <a:pt x="388" y="468"/>
                </a:cubicBezTo>
                <a:cubicBezTo>
                  <a:pt x="388" y="471"/>
                  <a:pt x="390" y="473"/>
                  <a:pt x="393" y="473"/>
                </a:cubicBezTo>
                <a:cubicBezTo>
                  <a:pt x="395" y="473"/>
                  <a:pt x="397" y="471"/>
                  <a:pt x="397" y="468"/>
                </a:cubicBezTo>
                <a:close/>
                <a:moveTo>
                  <a:pt x="406" y="473"/>
                </a:moveTo>
                <a:cubicBezTo>
                  <a:pt x="409" y="473"/>
                  <a:pt x="411" y="471"/>
                  <a:pt x="411" y="468"/>
                </a:cubicBezTo>
                <a:cubicBezTo>
                  <a:pt x="411" y="466"/>
                  <a:pt x="409" y="464"/>
                  <a:pt x="406" y="464"/>
                </a:cubicBezTo>
                <a:cubicBezTo>
                  <a:pt x="404" y="464"/>
                  <a:pt x="402" y="466"/>
                  <a:pt x="402" y="468"/>
                </a:cubicBezTo>
                <a:cubicBezTo>
                  <a:pt x="402" y="471"/>
                  <a:pt x="404" y="473"/>
                  <a:pt x="406" y="473"/>
                </a:cubicBezTo>
                <a:close/>
                <a:moveTo>
                  <a:pt x="418" y="455"/>
                </a:moveTo>
                <a:cubicBezTo>
                  <a:pt x="418" y="452"/>
                  <a:pt x="416" y="450"/>
                  <a:pt x="413" y="450"/>
                </a:cubicBezTo>
                <a:cubicBezTo>
                  <a:pt x="411" y="450"/>
                  <a:pt x="409" y="452"/>
                  <a:pt x="409" y="455"/>
                </a:cubicBezTo>
                <a:cubicBezTo>
                  <a:pt x="409" y="457"/>
                  <a:pt x="411" y="459"/>
                  <a:pt x="413" y="459"/>
                </a:cubicBezTo>
                <a:cubicBezTo>
                  <a:pt x="416" y="459"/>
                  <a:pt x="418" y="457"/>
                  <a:pt x="418" y="455"/>
                </a:cubicBezTo>
                <a:close/>
                <a:moveTo>
                  <a:pt x="359" y="232"/>
                </a:moveTo>
                <a:cubicBezTo>
                  <a:pt x="356" y="232"/>
                  <a:pt x="354" y="234"/>
                  <a:pt x="354" y="237"/>
                </a:cubicBezTo>
                <a:cubicBezTo>
                  <a:pt x="354" y="239"/>
                  <a:pt x="356" y="241"/>
                  <a:pt x="359" y="241"/>
                </a:cubicBezTo>
                <a:cubicBezTo>
                  <a:pt x="361" y="241"/>
                  <a:pt x="363" y="239"/>
                  <a:pt x="363" y="237"/>
                </a:cubicBezTo>
                <a:cubicBezTo>
                  <a:pt x="363" y="234"/>
                  <a:pt x="361" y="232"/>
                  <a:pt x="359" y="232"/>
                </a:cubicBezTo>
                <a:close/>
                <a:moveTo>
                  <a:pt x="325" y="255"/>
                </a:moveTo>
                <a:cubicBezTo>
                  <a:pt x="327" y="255"/>
                  <a:pt x="329" y="253"/>
                  <a:pt x="329" y="250"/>
                </a:cubicBezTo>
                <a:cubicBezTo>
                  <a:pt x="329" y="248"/>
                  <a:pt x="327" y="246"/>
                  <a:pt x="325" y="246"/>
                </a:cubicBezTo>
                <a:cubicBezTo>
                  <a:pt x="322" y="246"/>
                  <a:pt x="320" y="248"/>
                  <a:pt x="320" y="250"/>
                </a:cubicBezTo>
                <a:cubicBezTo>
                  <a:pt x="320" y="253"/>
                  <a:pt x="322" y="255"/>
                  <a:pt x="325" y="255"/>
                </a:cubicBezTo>
                <a:close/>
                <a:moveTo>
                  <a:pt x="325" y="227"/>
                </a:moveTo>
                <a:cubicBezTo>
                  <a:pt x="327" y="227"/>
                  <a:pt x="329" y="225"/>
                  <a:pt x="329" y="223"/>
                </a:cubicBezTo>
                <a:cubicBezTo>
                  <a:pt x="329" y="220"/>
                  <a:pt x="327" y="218"/>
                  <a:pt x="325" y="218"/>
                </a:cubicBezTo>
                <a:cubicBezTo>
                  <a:pt x="322" y="218"/>
                  <a:pt x="320" y="220"/>
                  <a:pt x="320" y="223"/>
                </a:cubicBezTo>
                <a:cubicBezTo>
                  <a:pt x="320" y="225"/>
                  <a:pt x="322" y="227"/>
                  <a:pt x="325" y="227"/>
                </a:cubicBezTo>
                <a:close/>
                <a:moveTo>
                  <a:pt x="332" y="177"/>
                </a:moveTo>
                <a:cubicBezTo>
                  <a:pt x="329" y="177"/>
                  <a:pt x="327" y="179"/>
                  <a:pt x="327" y="182"/>
                </a:cubicBezTo>
                <a:cubicBezTo>
                  <a:pt x="327" y="185"/>
                  <a:pt x="329" y="187"/>
                  <a:pt x="332" y="187"/>
                </a:cubicBezTo>
                <a:cubicBezTo>
                  <a:pt x="334" y="187"/>
                  <a:pt x="336" y="185"/>
                  <a:pt x="336" y="182"/>
                </a:cubicBezTo>
                <a:cubicBezTo>
                  <a:pt x="336" y="179"/>
                  <a:pt x="334" y="177"/>
                  <a:pt x="332" y="177"/>
                </a:cubicBezTo>
                <a:close/>
                <a:moveTo>
                  <a:pt x="366" y="409"/>
                </a:moveTo>
                <a:cubicBezTo>
                  <a:pt x="363" y="409"/>
                  <a:pt x="361" y="411"/>
                  <a:pt x="361" y="414"/>
                </a:cubicBezTo>
                <a:cubicBezTo>
                  <a:pt x="361" y="416"/>
                  <a:pt x="363" y="418"/>
                  <a:pt x="366" y="418"/>
                </a:cubicBezTo>
                <a:cubicBezTo>
                  <a:pt x="368" y="418"/>
                  <a:pt x="370" y="416"/>
                  <a:pt x="370" y="414"/>
                </a:cubicBezTo>
                <a:cubicBezTo>
                  <a:pt x="370" y="411"/>
                  <a:pt x="368" y="409"/>
                  <a:pt x="366" y="409"/>
                </a:cubicBezTo>
                <a:close/>
                <a:moveTo>
                  <a:pt x="327" y="373"/>
                </a:moveTo>
                <a:cubicBezTo>
                  <a:pt x="327" y="375"/>
                  <a:pt x="329" y="378"/>
                  <a:pt x="332" y="378"/>
                </a:cubicBezTo>
                <a:cubicBezTo>
                  <a:pt x="334" y="378"/>
                  <a:pt x="336" y="375"/>
                  <a:pt x="336" y="373"/>
                </a:cubicBezTo>
                <a:cubicBezTo>
                  <a:pt x="336" y="370"/>
                  <a:pt x="334" y="368"/>
                  <a:pt x="332" y="368"/>
                </a:cubicBezTo>
                <a:cubicBezTo>
                  <a:pt x="329" y="368"/>
                  <a:pt x="327" y="370"/>
                  <a:pt x="327" y="373"/>
                </a:cubicBezTo>
                <a:close/>
                <a:moveTo>
                  <a:pt x="332" y="268"/>
                </a:moveTo>
                <a:cubicBezTo>
                  <a:pt x="334" y="268"/>
                  <a:pt x="336" y="266"/>
                  <a:pt x="336" y="264"/>
                </a:cubicBezTo>
                <a:cubicBezTo>
                  <a:pt x="336" y="261"/>
                  <a:pt x="334" y="259"/>
                  <a:pt x="332" y="259"/>
                </a:cubicBezTo>
                <a:cubicBezTo>
                  <a:pt x="329" y="259"/>
                  <a:pt x="327" y="261"/>
                  <a:pt x="327" y="264"/>
                </a:cubicBezTo>
                <a:cubicBezTo>
                  <a:pt x="327" y="266"/>
                  <a:pt x="329" y="268"/>
                  <a:pt x="332" y="268"/>
                </a:cubicBezTo>
                <a:close/>
                <a:moveTo>
                  <a:pt x="320" y="196"/>
                </a:moveTo>
                <a:cubicBezTo>
                  <a:pt x="320" y="198"/>
                  <a:pt x="322" y="200"/>
                  <a:pt x="325" y="200"/>
                </a:cubicBezTo>
                <a:cubicBezTo>
                  <a:pt x="327" y="200"/>
                  <a:pt x="329" y="198"/>
                  <a:pt x="329" y="196"/>
                </a:cubicBezTo>
                <a:cubicBezTo>
                  <a:pt x="329" y="193"/>
                  <a:pt x="327" y="191"/>
                  <a:pt x="325" y="191"/>
                </a:cubicBezTo>
                <a:cubicBezTo>
                  <a:pt x="322" y="191"/>
                  <a:pt x="320" y="193"/>
                  <a:pt x="320" y="196"/>
                </a:cubicBezTo>
                <a:close/>
                <a:moveTo>
                  <a:pt x="363" y="209"/>
                </a:moveTo>
                <a:cubicBezTo>
                  <a:pt x="363" y="207"/>
                  <a:pt x="361" y="205"/>
                  <a:pt x="359" y="205"/>
                </a:cubicBezTo>
                <a:cubicBezTo>
                  <a:pt x="356" y="205"/>
                  <a:pt x="354" y="207"/>
                  <a:pt x="354" y="209"/>
                </a:cubicBezTo>
                <a:cubicBezTo>
                  <a:pt x="354" y="212"/>
                  <a:pt x="356" y="214"/>
                  <a:pt x="359" y="214"/>
                </a:cubicBezTo>
                <a:cubicBezTo>
                  <a:pt x="361" y="214"/>
                  <a:pt x="363" y="212"/>
                  <a:pt x="363" y="209"/>
                </a:cubicBezTo>
                <a:close/>
                <a:moveTo>
                  <a:pt x="461" y="64"/>
                </a:moveTo>
                <a:cubicBezTo>
                  <a:pt x="463" y="64"/>
                  <a:pt x="465" y="62"/>
                  <a:pt x="465" y="59"/>
                </a:cubicBezTo>
                <a:cubicBezTo>
                  <a:pt x="465" y="57"/>
                  <a:pt x="463" y="55"/>
                  <a:pt x="461" y="55"/>
                </a:cubicBezTo>
                <a:cubicBezTo>
                  <a:pt x="458" y="55"/>
                  <a:pt x="456" y="57"/>
                  <a:pt x="456" y="59"/>
                </a:cubicBezTo>
                <a:cubicBezTo>
                  <a:pt x="456" y="62"/>
                  <a:pt x="458" y="64"/>
                  <a:pt x="461" y="64"/>
                </a:cubicBezTo>
                <a:close/>
                <a:moveTo>
                  <a:pt x="384" y="496"/>
                </a:moveTo>
                <a:cubicBezTo>
                  <a:pt x="384" y="493"/>
                  <a:pt x="382" y="491"/>
                  <a:pt x="379" y="491"/>
                </a:cubicBezTo>
                <a:cubicBezTo>
                  <a:pt x="377" y="491"/>
                  <a:pt x="375" y="493"/>
                  <a:pt x="375" y="496"/>
                </a:cubicBezTo>
                <a:cubicBezTo>
                  <a:pt x="375" y="498"/>
                  <a:pt x="377" y="500"/>
                  <a:pt x="379" y="500"/>
                </a:cubicBezTo>
                <a:cubicBezTo>
                  <a:pt x="382" y="500"/>
                  <a:pt x="384" y="498"/>
                  <a:pt x="384" y="496"/>
                </a:cubicBezTo>
                <a:close/>
                <a:moveTo>
                  <a:pt x="334" y="196"/>
                </a:moveTo>
                <a:cubicBezTo>
                  <a:pt x="334" y="198"/>
                  <a:pt x="336" y="200"/>
                  <a:pt x="338" y="200"/>
                </a:cubicBezTo>
                <a:cubicBezTo>
                  <a:pt x="341" y="200"/>
                  <a:pt x="343" y="198"/>
                  <a:pt x="343" y="196"/>
                </a:cubicBezTo>
                <a:cubicBezTo>
                  <a:pt x="343" y="193"/>
                  <a:pt x="341" y="191"/>
                  <a:pt x="338" y="191"/>
                </a:cubicBezTo>
                <a:cubicBezTo>
                  <a:pt x="336" y="191"/>
                  <a:pt x="334" y="193"/>
                  <a:pt x="334" y="196"/>
                </a:cubicBezTo>
                <a:close/>
                <a:moveTo>
                  <a:pt x="341" y="182"/>
                </a:moveTo>
                <a:cubicBezTo>
                  <a:pt x="341" y="185"/>
                  <a:pt x="343" y="187"/>
                  <a:pt x="345" y="187"/>
                </a:cubicBezTo>
                <a:cubicBezTo>
                  <a:pt x="348" y="187"/>
                  <a:pt x="350" y="185"/>
                  <a:pt x="350" y="182"/>
                </a:cubicBezTo>
                <a:cubicBezTo>
                  <a:pt x="350" y="179"/>
                  <a:pt x="348" y="177"/>
                  <a:pt x="345" y="177"/>
                </a:cubicBezTo>
                <a:cubicBezTo>
                  <a:pt x="343" y="177"/>
                  <a:pt x="341" y="179"/>
                  <a:pt x="341" y="182"/>
                </a:cubicBezTo>
                <a:close/>
                <a:moveTo>
                  <a:pt x="356" y="168"/>
                </a:moveTo>
                <a:cubicBezTo>
                  <a:pt x="356" y="166"/>
                  <a:pt x="354" y="164"/>
                  <a:pt x="352" y="164"/>
                </a:cubicBezTo>
                <a:cubicBezTo>
                  <a:pt x="349" y="164"/>
                  <a:pt x="347" y="166"/>
                  <a:pt x="347" y="168"/>
                </a:cubicBezTo>
                <a:cubicBezTo>
                  <a:pt x="347" y="171"/>
                  <a:pt x="349" y="173"/>
                  <a:pt x="352" y="173"/>
                </a:cubicBezTo>
                <a:cubicBezTo>
                  <a:pt x="354" y="173"/>
                  <a:pt x="356" y="171"/>
                  <a:pt x="356" y="168"/>
                </a:cubicBezTo>
                <a:close/>
                <a:moveTo>
                  <a:pt x="352" y="191"/>
                </a:moveTo>
                <a:cubicBezTo>
                  <a:pt x="349" y="191"/>
                  <a:pt x="347" y="193"/>
                  <a:pt x="347" y="196"/>
                </a:cubicBezTo>
                <a:cubicBezTo>
                  <a:pt x="347" y="198"/>
                  <a:pt x="349" y="200"/>
                  <a:pt x="352" y="200"/>
                </a:cubicBezTo>
                <a:cubicBezTo>
                  <a:pt x="354" y="200"/>
                  <a:pt x="356" y="198"/>
                  <a:pt x="356" y="196"/>
                </a:cubicBezTo>
                <a:cubicBezTo>
                  <a:pt x="356" y="193"/>
                  <a:pt x="354" y="191"/>
                  <a:pt x="352" y="191"/>
                </a:cubicBezTo>
                <a:close/>
                <a:moveTo>
                  <a:pt x="334" y="223"/>
                </a:moveTo>
                <a:cubicBezTo>
                  <a:pt x="334" y="225"/>
                  <a:pt x="336" y="227"/>
                  <a:pt x="338" y="227"/>
                </a:cubicBezTo>
                <a:cubicBezTo>
                  <a:pt x="341" y="227"/>
                  <a:pt x="343" y="225"/>
                  <a:pt x="343" y="223"/>
                </a:cubicBezTo>
                <a:cubicBezTo>
                  <a:pt x="343" y="220"/>
                  <a:pt x="341" y="218"/>
                  <a:pt x="338" y="218"/>
                </a:cubicBezTo>
                <a:cubicBezTo>
                  <a:pt x="336" y="218"/>
                  <a:pt x="334" y="220"/>
                  <a:pt x="334" y="223"/>
                </a:cubicBezTo>
                <a:close/>
                <a:moveTo>
                  <a:pt x="345" y="205"/>
                </a:moveTo>
                <a:cubicBezTo>
                  <a:pt x="343" y="205"/>
                  <a:pt x="341" y="207"/>
                  <a:pt x="341" y="209"/>
                </a:cubicBezTo>
                <a:cubicBezTo>
                  <a:pt x="341" y="212"/>
                  <a:pt x="343" y="214"/>
                  <a:pt x="345" y="214"/>
                </a:cubicBezTo>
                <a:cubicBezTo>
                  <a:pt x="348" y="214"/>
                  <a:pt x="350" y="212"/>
                  <a:pt x="350" y="209"/>
                </a:cubicBezTo>
                <a:cubicBezTo>
                  <a:pt x="350" y="207"/>
                  <a:pt x="348" y="205"/>
                  <a:pt x="345" y="205"/>
                </a:cubicBezTo>
                <a:close/>
                <a:moveTo>
                  <a:pt x="372" y="514"/>
                </a:moveTo>
                <a:cubicBezTo>
                  <a:pt x="375" y="514"/>
                  <a:pt x="377" y="512"/>
                  <a:pt x="377" y="509"/>
                </a:cubicBezTo>
                <a:cubicBezTo>
                  <a:pt x="377" y="507"/>
                  <a:pt x="375" y="505"/>
                  <a:pt x="372" y="505"/>
                </a:cubicBezTo>
                <a:cubicBezTo>
                  <a:pt x="370" y="505"/>
                  <a:pt x="368" y="507"/>
                  <a:pt x="368" y="509"/>
                </a:cubicBezTo>
                <a:cubicBezTo>
                  <a:pt x="368" y="512"/>
                  <a:pt x="370" y="514"/>
                  <a:pt x="372" y="514"/>
                </a:cubicBezTo>
                <a:close/>
                <a:moveTo>
                  <a:pt x="332" y="205"/>
                </a:moveTo>
                <a:cubicBezTo>
                  <a:pt x="329" y="205"/>
                  <a:pt x="327" y="207"/>
                  <a:pt x="327" y="209"/>
                </a:cubicBezTo>
                <a:cubicBezTo>
                  <a:pt x="327" y="212"/>
                  <a:pt x="329" y="214"/>
                  <a:pt x="332" y="214"/>
                </a:cubicBezTo>
                <a:cubicBezTo>
                  <a:pt x="334" y="214"/>
                  <a:pt x="336" y="212"/>
                  <a:pt x="336" y="209"/>
                </a:cubicBezTo>
                <a:cubicBezTo>
                  <a:pt x="336" y="207"/>
                  <a:pt x="334" y="205"/>
                  <a:pt x="332" y="205"/>
                </a:cubicBezTo>
                <a:close/>
                <a:moveTo>
                  <a:pt x="327" y="237"/>
                </a:moveTo>
                <a:cubicBezTo>
                  <a:pt x="327" y="239"/>
                  <a:pt x="329" y="241"/>
                  <a:pt x="332" y="241"/>
                </a:cubicBezTo>
                <a:cubicBezTo>
                  <a:pt x="334" y="241"/>
                  <a:pt x="336" y="239"/>
                  <a:pt x="336" y="237"/>
                </a:cubicBezTo>
                <a:cubicBezTo>
                  <a:pt x="336" y="234"/>
                  <a:pt x="334" y="232"/>
                  <a:pt x="332" y="232"/>
                </a:cubicBezTo>
                <a:cubicBezTo>
                  <a:pt x="329" y="232"/>
                  <a:pt x="327" y="234"/>
                  <a:pt x="327" y="237"/>
                </a:cubicBezTo>
                <a:close/>
                <a:moveTo>
                  <a:pt x="345" y="368"/>
                </a:moveTo>
                <a:cubicBezTo>
                  <a:pt x="343" y="368"/>
                  <a:pt x="341" y="370"/>
                  <a:pt x="341" y="373"/>
                </a:cubicBezTo>
                <a:cubicBezTo>
                  <a:pt x="341" y="375"/>
                  <a:pt x="343" y="378"/>
                  <a:pt x="345" y="378"/>
                </a:cubicBezTo>
                <a:cubicBezTo>
                  <a:pt x="348" y="378"/>
                  <a:pt x="350" y="375"/>
                  <a:pt x="350" y="373"/>
                </a:cubicBezTo>
                <a:cubicBezTo>
                  <a:pt x="350" y="370"/>
                  <a:pt x="348" y="368"/>
                  <a:pt x="345" y="368"/>
                </a:cubicBezTo>
                <a:close/>
                <a:moveTo>
                  <a:pt x="422" y="127"/>
                </a:moveTo>
                <a:cubicBezTo>
                  <a:pt x="422" y="130"/>
                  <a:pt x="424" y="132"/>
                  <a:pt x="427" y="132"/>
                </a:cubicBezTo>
                <a:cubicBezTo>
                  <a:pt x="429" y="132"/>
                  <a:pt x="431" y="130"/>
                  <a:pt x="431" y="127"/>
                </a:cubicBezTo>
                <a:cubicBezTo>
                  <a:pt x="431" y="125"/>
                  <a:pt x="429" y="123"/>
                  <a:pt x="427" y="123"/>
                </a:cubicBezTo>
                <a:cubicBezTo>
                  <a:pt x="424" y="123"/>
                  <a:pt x="422" y="125"/>
                  <a:pt x="422" y="127"/>
                </a:cubicBezTo>
                <a:close/>
                <a:moveTo>
                  <a:pt x="311" y="218"/>
                </a:moveTo>
                <a:cubicBezTo>
                  <a:pt x="309" y="218"/>
                  <a:pt x="307" y="220"/>
                  <a:pt x="307" y="223"/>
                </a:cubicBezTo>
                <a:cubicBezTo>
                  <a:pt x="307" y="225"/>
                  <a:pt x="309" y="227"/>
                  <a:pt x="311" y="227"/>
                </a:cubicBezTo>
                <a:cubicBezTo>
                  <a:pt x="314" y="227"/>
                  <a:pt x="316" y="225"/>
                  <a:pt x="316" y="223"/>
                </a:cubicBezTo>
                <a:cubicBezTo>
                  <a:pt x="316" y="220"/>
                  <a:pt x="314" y="218"/>
                  <a:pt x="311" y="218"/>
                </a:cubicBezTo>
                <a:close/>
                <a:moveTo>
                  <a:pt x="345" y="232"/>
                </a:moveTo>
                <a:cubicBezTo>
                  <a:pt x="343" y="232"/>
                  <a:pt x="341" y="234"/>
                  <a:pt x="341" y="237"/>
                </a:cubicBezTo>
                <a:cubicBezTo>
                  <a:pt x="341" y="239"/>
                  <a:pt x="343" y="241"/>
                  <a:pt x="345" y="241"/>
                </a:cubicBezTo>
                <a:cubicBezTo>
                  <a:pt x="348" y="241"/>
                  <a:pt x="350" y="239"/>
                  <a:pt x="350" y="237"/>
                </a:cubicBezTo>
                <a:cubicBezTo>
                  <a:pt x="350" y="234"/>
                  <a:pt x="348" y="232"/>
                  <a:pt x="345" y="232"/>
                </a:cubicBezTo>
                <a:close/>
                <a:moveTo>
                  <a:pt x="318" y="241"/>
                </a:moveTo>
                <a:cubicBezTo>
                  <a:pt x="320" y="241"/>
                  <a:pt x="322" y="239"/>
                  <a:pt x="322" y="237"/>
                </a:cubicBezTo>
                <a:cubicBezTo>
                  <a:pt x="322" y="234"/>
                  <a:pt x="320" y="232"/>
                  <a:pt x="318" y="232"/>
                </a:cubicBezTo>
                <a:cubicBezTo>
                  <a:pt x="315" y="232"/>
                  <a:pt x="313" y="234"/>
                  <a:pt x="313" y="237"/>
                </a:cubicBezTo>
                <a:cubicBezTo>
                  <a:pt x="313" y="239"/>
                  <a:pt x="315" y="241"/>
                  <a:pt x="318" y="241"/>
                </a:cubicBezTo>
                <a:close/>
                <a:moveTo>
                  <a:pt x="338" y="255"/>
                </a:moveTo>
                <a:cubicBezTo>
                  <a:pt x="341" y="255"/>
                  <a:pt x="343" y="253"/>
                  <a:pt x="343" y="250"/>
                </a:cubicBezTo>
                <a:cubicBezTo>
                  <a:pt x="343" y="248"/>
                  <a:pt x="341" y="246"/>
                  <a:pt x="338" y="246"/>
                </a:cubicBezTo>
                <a:cubicBezTo>
                  <a:pt x="336" y="246"/>
                  <a:pt x="334" y="248"/>
                  <a:pt x="334" y="250"/>
                </a:cubicBezTo>
                <a:cubicBezTo>
                  <a:pt x="334" y="253"/>
                  <a:pt x="336" y="255"/>
                  <a:pt x="338" y="255"/>
                </a:cubicBezTo>
                <a:close/>
                <a:moveTo>
                  <a:pt x="434" y="118"/>
                </a:moveTo>
                <a:cubicBezTo>
                  <a:pt x="436" y="118"/>
                  <a:pt x="438" y="116"/>
                  <a:pt x="438" y="114"/>
                </a:cubicBezTo>
                <a:cubicBezTo>
                  <a:pt x="438" y="111"/>
                  <a:pt x="436" y="109"/>
                  <a:pt x="434" y="109"/>
                </a:cubicBezTo>
                <a:cubicBezTo>
                  <a:pt x="431" y="109"/>
                  <a:pt x="429" y="111"/>
                  <a:pt x="429" y="114"/>
                </a:cubicBezTo>
                <a:cubicBezTo>
                  <a:pt x="429" y="116"/>
                  <a:pt x="431" y="118"/>
                  <a:pt x="434" y="118"/>
                </a:cubicBezTo>
                <a:close/>
                <a:moveTo>
                  <a:pt x="416" y="141"/>
                </a:moveTo>
                <a:cubicBezTo>
                  <a:pt x="416" y="144"/>
                  <a:pt x="418" y="146"/>
                  <a:pt x="420" y="146"/>
                </a:cubicBezTo>
                <a:cubicBezTo>
                  <a:pt x="423" y="146"/>
                  <a:pt x="425" y="144"/>
                  <a:pt x="425" y="141"/>
                </a:cubicBezTo>
                <a:cubicBezTo>
                  <a:pt x="425" y="139"/>
                  <a:pt x="423" y="137"/>
                  <a:pt x="420" y="137"/>
                </a:cubicBezTo>
                <a:cubicBezTo>
                  <a:pt x="418" y="137"/>
                  <a:pt x="416" y="139"/>
                  <a:pt x="416" y="141"/>
                </a:cubicBezTo>
                <a:close/>
                <a:moveTo>
                  <a:pt x="356" y="223"/>
                </a:moveTo>
                <a:cubicBezTo>
                  <a:pt x="356" y="220"/>
                  <a:pt x="354" y="218"/>
                  <a:pt x="352" y="218"/>
                </a:cubicBezTo>
                <a:cubicBezTo>
                  <a:pt x="349" y="218"/>
                  <a:pt x="347" y="220"/>
                  <a:pt x="347" y="223"/>
                </a:cubicBezTo>
                <a:cubicBezTo>
                  <a:pt x="347" y="225"/>
                  <a:pt x="349" y="227"/>
                  <a:pt x="352" y="227"/>
                </a:cubicBezTo>
                <a:cubicBezTo>
                  <a:pt x="354" y="227"/>
                  <a:pt x="356" y="225"/>
                  <a:pt x="356" y="223"/>
                </a:cubicBezTo>
                <a:close/>
                <a:moveTo>
                  <a:pt x="372" y="450"/>
                </a:moveTo>
                <a:cubicBezTo>
                  <a:pt x="370" y="450"/>
                  <a:pt x="368" y="452"/>
                  <a:pt x="368" y="455"/>
                </a:cubicBezTo>
                <a:cubicBezTo>
                  <a:pt x="368" y="457"/>
                  <a:pt x="370" y="459"/>
                  <a:pt x="372" y="459"/>
                </a:cubicBezTo>
                <a:cubicBezTo>
                  <a:pt x="375" y="459"/>
                  <a:pt x="377" y="457"/>
                  <a:pt x="377" y="455"/>
                </a:cubicBezTo>
                <a:cubicBezTo>
                  <a:pt x="377" y="452"/>
                  <a:pt x="375" y="450"/>
                  <a:pt x="372" y="450"/>
                </a:cubicBezTo>
                <a:close/>
                <a:moveTo>
                  <a:pt x="354" y="482"/>
                </a:moveTo>
                <a:cubicBezTo>
                  <a:pt x="354" y="485"/>
                  <a:pt x="356" y="487"/>
                  <a:pt x="359" y="487"/>
                </a:cubicBezTo>
                <a:cubicBezTo>
                  <a:pt x="361" y="487"/>
                  <a:pt x="363" y="485"/>
                  <a:pt x="363" y="482"/>
                </a:cubicBezTo>
                <a:cubicBezTo>
                  <a:pt x="363" y="480"/>
                  <a:pt x="361" y="478"/>
                  <a:pt x="359" y="478"/>
                </a:cubicBezTo>
                <a:cubicBezTo>
                  <a:pt x="356" y="478"/>
                  <a:pt x="354" y="480"/>
                  <a:pt x="354" y="482"/>
                </a:cubicBezTo>
                <a:close/>
                <a:moveTo>
                  <a:pt x="366" y="437"/>
                </a:moveTo>
                <a:cubicBezTo>
                  <a:pt x="363" y="437"/>
                  <a:pt x="361" y="439"/>
                  <a:pt x="361" y="441"/>
                </a:cubicBezTo>
                <a:cubicBezTo>
                  <a:pt x="361" y="444"/>
                  <a:pt x="363" y="446"/>
                  <a:pt x="366" y="446"/>
                </a:cubicBezTo>
                <a:cubicBezTo>
                  <a:pt x="368" y="446"/>
                  <a:pt x="370" y="444"/>
                  <a:pt x="370" y="441"/>
                </a:cubicBezTo>
                <a:cubicBezTo>
                  <a:pt x="370" y="439"/>
                  <a:pt x="368" y="437"/>
                  <a:pt x="366" y="437"/>
                </a:cubicBezTo>
                <a:close/>
                <a:moveTo>
                  <a:pt x="354" y="455"/>
                </a:moveTo>
                <a:cubicBezTo>
                  <a:pt x="354" y="457"/>
                  <a:pt x="356" y="459"/>
                  <a:pt x="359" y="459"/>
                </a:cubicBezTo>
                <a:cubicBezTo>
                  <a:pt x="361" y="459"/>
                  <a:pt x="363" y="457"/>
                  <a:pt x="363" y="455"/>
                </a:cubicBezTo>
                <a:cubicBezTo>
                  <a:pt x="363" y="452"/>
                  <a:pt x="361" y="450"/>
                  <a:pt x="359" y="450"/>
                </a:cubicBezTo>
                <a:cubicBezTo>
                  <a:pt x="356" y="450"/>
                  <a:pt x="354" y="452"/>
                  <a:pt x="354" y="455"/>
                </a:cubicBezTo>
                <a:close/>
                <a:moveTo>
                  <a:pt x="354" y="509"/>
                </a:moveTo>
                <a:cubicBezTo>
                  <a:pt x="354" y="512"/>
                  <a:pt x="356" y="514"/>
                  <a:pt x="359" y="514"/>
                </a:cubicBezTo>
                <a:cubicBezTo>
                  <a:pt x="361" y="514"/>
                  <a:pt x="363" y="512"/>
                  <a:pt x="363" y="509"/>
                </a:cubicBezTo>
                <a:cubicBezTo>
                  <a:pt x="363" y="507"/>
                  <a:pt x="361" y="505"/>
                  <a:pt x="359" y="505"/>
                </a:cubicBezTo>
                <a:cubicBezTo>
                  <a:pt x="356" y="505"/>
                  <a:pt x="354" y="507"/>
                  <a:pt x="354" y="509"/>
                </a:cubicBezTo>
                <a:close/>
                <a:moveTo>
                  <a:pt x="370" y="496"/>
                </a:moveTo>
                <a:cubicBezTo>
                  <a:pt x="370" y="493"/>
                  <a:pt x="368" y="491"/>
                  <a:pt x="366" y="491"/>
                </a:cubicBezTo>
                <a:cubicBezTo>
                  <a:pt x="363" y="491"/>
                  <a:pt x="361" y="493"/>
                  <a:pt x="361" y="496"/>
                </a:cubicBezTo>
                <a:cubicBezTo>
                  <a:pt x="361" y="498"/>
                  <a:pt x="363" y="500"/>
                  <a:pt x="366" y="500"/>
                </a:cubicBezTo>
                <a:cubicBezTo>
                  <a:pt x="368" y="500"/>
                  <a:pt x="370" y="498"/>
                  <a:pt x="370" y="496"/>
                </a:cubicBezTo>
                <a:close/>
                <a:moveTo>
                  <a:pt x="352" y="418"/>
                </a:moveTo>
                <a:cubicBezTo>
                  <a:pt x="354" y="418"/>
                  <a:pt x="356" y="416"/>
                  <a:pt x="356" y="414"/>
                </a:cubicBezTo>
                <a:cubicBezTo>
                  <a:pt x="356" y="411"/>
                  <a:pt x="354" y="409"/>
                  <a:pt x="352" y="409"/>
                </a:cubicBezTo>
                <a:cubicBezTo>
                  <a:pt x="349" y="409"/>
                  <a:pt x="347" y="411"/>
                  <a:pt x="347" y="414"/>
                </a:cubicBezTo>
                <a:cubicBezTo>
                  <a:pt x="347" y="416"/>
                  <a:pt x="349" y="418"/>
                  <a:pt x="352" y="418"/>
                </a:cubicBezTo>
                <a:close/>
                <a:moveTo>
                  <a:pt x="375" y="468"/>
                </a:moveTo>
                <a:cubicBezTo>
                  <a:pt x="375" y="471"/>
                  <a:pt x="377" y="473"/>
                  <a:pt x="379" y="473"/>
                </a:cubicBezTo>
                <a:cubicBezTo>
                  <a:pt x="382" y="473"/>
                  <a:pt x="384" y="471"/>
                  <a:pt x="384" y="468"/>
                </a:cubicBezTo>
                <a:cubicBezTo>
                  <a:pt x="384" y="466"/>
                  <a:pt x="382" y="464"/>
                  <a:pt x="379" y="464"/>
                </a:cubicBezTo>
                <a:cubicBezTo>
                  <a:pt x="377" y="464"/>
                  <a:pt x="375" y="466"/>
                  <a:pt x="375" y="468"/>
                </a:cubicBezTo>
                <a:close/>
                <a:moveTo>
                  <a:pt x="366" y="464"/>
                </a:moveTo>
                <a:cubicBezTo>
                  <a:pt x="363" y="464"/>
                  <a:pt x="361" y="466"/>
                  <a:pt x="361" y="468"/>
                </a:cubicBezTo>
                <a:cubicBezTo>
                  <a:pt x="361" y="471"/>
                  <a:pt x="363" y="473"/>
                  <a:pt x="366" y="473"/>
                </a:cubicBezTo>
                <a:cubicBezTo>
                  <a:pt x="368" y="473"/>
                  <a:pt x="370" y="471"/>
                  <a:pt x="370" y="468"/>
                </a:cubicBezTo>
                <a:cubicBezTo>
                  <a:pt x="370" y="466"/>
                  <a:pt x="368" y="464"/>
                  <a:pt x="366" y="464"/>
                </a:cubicBezTo>
                <a:close/>
                <a:moveTo>
                  <a:pt x="345" y="405"/>
                </a:moveTo>
                <a:cubicBezTo>
                  <a:pt x="348" y="405"/>
                  <a:pt x="350" y="403"/>
                  <a:pt x="350" y="400"/>
                </a:cubicBezTo>
                <a:cubicBezTo>
                  <a:pt x="350" y="398"/>
                  <a:pt x="348" y="396"/>
                  <a:pt x="345" y="396"/>
                </a:cubicBezTo>
                <a:cubicBezTo>
                  <a:pt x="343" y="396"/>
                  <a:pt x="341" y="398"/>
                  <a:pt x="341" y="400"/>
                </a:cubicBezTo>
                <a:cubicBezTo>
                  <a:pt x="341" y="403"/>
                  <a:pt x="343" y="405"/>
                  <a:pt x="345" y="405"/>
                </a:cubicBezTo>
                <a:close/>
                <a:moveTo>
                  <a:pt x="359" y="432"/>
                </a:moveTo>
                <a:cubicBezTo>
                  <a:pt x="361" y="432"/>
                  <a:pt x="363" y="430"/>
                  <a:pt x="363" y="428"/>
                </a:cubicBezTo>
                <a:cubicBezTo>
                  <a:pt x="363" y="425"/>
                  <a:pt x="361" y="423"/>
                  <a:pt x="359" y="423"/>
                </a:cubicBezTo>
                <a:cubicBezTo>
                  <a:pt x="356" y="423"/>
                  <a:pt x="354" y="425"/>
                  <a:pt x="354" y="428"/>
                </a:cubicBezTo>
                <a:cubicBezTo>
                  <a:pt x="354" y="430"/>
                  <a:pt x="356" y="432"/>
                  <a:pt x="359" y="432"/>
                </a:cubicBezTo>
                <a:close/>
                <a:moveTo>
                  <a:pt x="386" y="459"/>
                </a:moveTo>
                <a:cubicBezTo>
                  <a:pt x="389" y="459"/>
                  <a:pt x="391" y="457"/>
                  <a:pt x="391" y="455"/>
                </a:cubicBezTo>
                <a:cubicBezTo>
                  <a:pt x="391" y="452"/>
                  <a:pt x="389" y="450"/>
                  <a:pt x="386" y="450"/>
                </a:cubicBezTo>
                <a:cubicBezTo>
                  <a:pt x="384" y="450"/>
                  <a:pt x="381" y="452"/>
                  <a:pt x="381" y="455"/>
                </a:cubicBezTo>
                <a:cubicBezTo>
                  <a:pt x="381" y="457"/>
                  <a:pt x="384" y="459"/>
                  <a:pt x="386" y="459"/>
                </a:cubicBezTo>
                <a:close/>
                <a:moveTo>
                  <a:pt x="372" y="487"/>
                </a:moveTo>
                <a:cubicBezTo>
                  <a:pt x="375" y="487"/>
                  <a:pt x="377" y="485"/>
                  <a:pt x="377" y="482"/>
                </a:cubicBezTo>
                <a:cubicBezTo>
                  <a:pt x="377" y="480"/>
                  <a:pt x="375" y="478"/>
                  <a:pt x="372" y="478"/>
                </a:cubicBezTo>
                <a:cubicBezTo>
                  <a:pt x="370" y="478"/>
                  <a:pt x="368" y="480"/>
                  <a:pt x="368" y="482"/>
                </a:cubicBezTo>
                <a:cubicBezTo>
                  <a:pt x="368" y="485"/>
                  <a:pt x="370" y="487"/>
                  <a:pt x="372" y="487"/>
                </a:cubicBezTo>
                <a:close/>
                <a:moveTo>
                  <a:pt x="1140" y="591"/>
                </a:moveTo>
                <a:cubicBezTo>
                  <a:pt x="1140" y="589"/>
                  <a:pt x="1138" y="587"/>
                  <a:pt x="1135" y="587"/>
                </a:cubicBezTo>
                <a:cubicBezTo>
                  <a:pt x="1133" y="587"/>
                  <a:pt x="1131" y="589"/>
                  <a:pt x="1131" y="591"/>
                </a:cubicBezTo>
                <a:cubicBezTo>
                  <a:pt x="1131" y="594"/>
                  <a:pt x="1133" y="596"/>
                  <a:pt x="1135" y="596"/>
                </a:cubicBezTo>
                <a:cubicBezTo>
                  <a:pt x="1138" y="596"/>
                  <a:pt x="1140" y="594"/>
                  <a:pt x="1140" y="591"/>
                </a:cubicBezTo>
                <a:close/>
                <a:moveTo>
                  <a:pt x="1146" y="578"/>
                </a:moveTo>
                <a:cubicBezTo>
                  <a:pt x="1146" y="575"/>
                  <a:pt x="1144" y="573"/>
                  <a:pt x="1142" y="573"/>
                </a:cubicBezTo>
                <a:cubicBezTo>
                  <a:pt x="1139" y="573"/>
                  <a:pt x="1137" y="575"/>
                  <a:pt x="1137" y="578"/>
                </a:cubicBezTo>
                <a:cubicBezTo>
                  <a:pt x="1137" y="580"/>
                  <a:pt x="1139" y="582"/>
                  <a:pt x="1142" y="582"/>
                </a:cubicBezTo>
                <a:cubicBezTo>
                  <a:pt x="1144" y="582"/>
                  <a:pt x="1146" y="580"/>
                  <a:pt x="1146" y="578"/>
                </a:cubicBezTo>
                <a:close/>
                <a:moveTo>
                  <a:pt x="332" y="405"/>
                </a:moveTo>
                <a:cubicBezTo>
                  <a:pt x="334" y="405"/>
                  <a:pt x="336" y="403"/>
                  <a:pt x="336" y="400"/>
                </a:cubicBezTo>
                <a:cubicBezTo>
                  <a:pt x="336" y="398"/>
                  <a:pt x="334" y="396"/>
                  <a:pt x="332" y="396"/>
                </a:cubicBezTo>
                <a:cubicBezTo>
                  <a:pt x="329" y="396"/>
                  <a:pt x="327" y="398"/>
                  <a:pt x="327" y="400"/>
                </a:cubicBezTo>
                <a:cubicBezTo>
                  <a:pt x="327" y="403"/>
                  <a:pt x="329" y="405"/>
                  <a:pt x="332" y="405"/>
                </a:cubicBezTo>
                <a:close/>
                <a:moveTo>
                  <a:pt x="1128" y="609"/>
                </a:moveTo>
                <a:cubicBezTo>
                  <a:pt x="1131" y="609"/>
                  <a:pt x="1133" y="607"/>
                  <a:pt x="1133" y="605"/>
                </a:cubicBezTo>
                <a:cubicBezTo>
                  <a:pt x="1133" y="602"/>
                  <a:pt x="1131" y="600"/>
                  <a:pt x="1128" y="600"/>
                </a:cubicBezTo>
                <a:cubicBezTo>
                  <a:pt x="1126" y="600"/>
                  <a:pt x="1124" y="602"/>
                  <a:pt x="1124" y="605"/>
                </a:cubicBezTo>
                <a:cubicBezTo>
                  <a:pt x="1124" y="607"/>
                  <a:pt x="1126" y="609"/>
                  <a:pt x="1128" y="609"/>
                </a:cubicBezTo>
                <a:close/>
                <a:moveTo>
                  <a:pt x="1142" y="91"/>
                </a:moveTo>
                <a:cubicBezTo>
                  <a:pt x="1144" y="91"/>
                  <a:pt x="1146" y="89"/>
                  <a:pt x="1146" y="87"/>
                </a:cubicBezTo>
                <a:cubicBezTo>
                  <a:pt x="1146" y="84"/>
                  <a:pt x="1144" y="82"/>
                  <a:pt x="1142" y="82"/>
                </a:cubicBezTo>
                <a:cubicBezTo>
                  <a:pt x="1139" y="82"/>
                  <a:pt x="1137" y="84"/>
                  <a:pt x="1137" y="87"/>
                </a:cubicBezTo>
                <a:cubicBezTo>
                  <a:pt x="1137" y="89"/>
                  <a:pt x="1139" y="91"/>
                  <a:pt x="1142" y="91"/>
                </a:cubicBezTo>
                <a:close/>
                <a:moveTo>
                  <a:pt x="1149" y="478"/>
                </a:moveTo>
                <a:cubicBezTo>
                  <a:pt x="1146" y="478"/>
                  <a:pt x="1144" y="480"/>
                  <a:pt x="1144" y="482"/>
                </a:cubicBezTo>
                <a:cubicBezTo>
                  <a:pt x="1144" y="485"/>
                  <a:pt x="1146" y="487"/>
                  <a:pt x="1149" y="487"/>
                </a:cubicBezTo>
                <a:cubicBezTo>
                  <a:pt x="1151" y="487"/>
                  <a:pt x="1153" y="485"/>
                  <a:pt x="1153" y="482"/>
                </a:cubicBezTo>
                <a:cubicBezTo>
                  <a:pt x="1153" y="480"/>
                  <a:pt x="1151" y="478"/>
                  <a:pt x="1149" y="478"/>
                </a:cubicBezTo>
                <a:close/>
                <a:moveTo>
                  <a:pt x="1160" y="468"/>
                </a:moveTo>
                <a:cubicBezTo>
                  <a:pt x="1160" y="466"/>
                  <a:pt x="1158" y="464"/>
                  <a:pt x="1155" y="464"/>
                </a:cubicBezTo>
                <a:cubicBezTo>
                  <a:pt x="1153" y="464"/>
                  <a:pt x="1151" y="466"/>
                  <a:pt x="1151" y="468"/>
                </a:cubicBezTo>
                <a:cubicBezTo>
                  <a:pt x="1151" y="471"/>
                  <a:pt x="1153" y="473"/>
                  <a:pt x="1155" y="473"/>
                </a:cubicBezTo>
                <a:cubicBezTo>
                  <a:pt x="1158" y="473"/>
                  <a:pt x="1160" y="471"/>
                  <a:pt x="1160" y="468"/>
                </a:cubicBezTo>
                <a:close/>
                <a:moveTo>
                  <a:pt x="1092" y="550"/>
                </a:moveTo>
                <a:cubicBezTo>
                  <a:pt x="1092" y="548"/>
                  <a:pt x="1090" y="546"/>
                  <a:pt x="1087" y="546"/>
                </a:cubicBezTo>
                <a:cubicBezTo>
                  <a:pt x="1085" y="546"/>
                  <a:pt x="1083" y="548"/>
                  <a:pt x="1083" y="550"/>
                </a:cubicBezTo>
                <a:cubicBezTo>
                  <a:pt x="1083" y="553"/>
                  <a:pt x="1085" y="555"/>
                  <a:pt x="1087" y="555"/>
                </a:cubicBezTo>
                <a:cubicBezTo>
                  <a:pt x="1090" y="555"/>
                  <a:pt x="1092" y="553"/>
                  <a:pt x="1092" y="550"/>
                </a:cubicBezTo>
                <a:close/>
                <a:moveTo>
                  <a:pt x="1101" y="582"/>
                </a:moveTo>
                <a:cubicBezTo>
                  <a:pt x="1104" y="582"/>
                  <a:pt x="1106" y="580"/>
                  <a:pt x="1106" y="578"/>
                </a:cubicBezTo>
                <a:cubicBezTo>
                  <a:pt x="1106" y="575"/>
                  <a:pt x="1104" y="573"/>
                  <a:pt x="1101" y="573"/>
                </a:cubicBezTo>
                <a:cubicBezTo>
                  <a:pt x="1099" y="573"/>
                  <a:pt x="1096" y="575"/>
                  <a:pt x="1096" y="578"/>
                </a:cubicBezTo>
                <a:cubicBezTo>
                  <a:pt x="1096" y="580"/>
                  <a:pt x="1099" y="582"/>
                  <a:pt x="1101" y="582"/>
                </a:cubicBezTo>
                <a:close/>
                <a:moveTo>
                  <a:pt x="1094" y="568"/>
                </a:moveTo>
                <a:cubicBezTo>
                  <a:pt x="1097" y="568"/>
                  <a:pt x="1099" y="566"/>
                  <a:pt x="1099" y="564"/>
                </a:cubicBezTo>
                <a:cubicBezTo>
                  <a:pt x="1099" y="561"/>
                  <a:pt x="1097" y="559"/>
                  <a:pt x="1094" y="559"/>
                </a:cubicBezTo>
                <a:cubicBezTo>
                  <a:pt x="1092" y="559"/>
                  <a:pt x="1090" y="561"/>
                  <a:pt x="1090" y="564"/>
                </a:cubicBezTo>
                <a:cubicBezTo>
                  <a:pt x="1090" y="566"/>
                  <a:pt x="1092" y="568"/>
                  <a:pt x="1094" y="568"/>
                </a:cubicBezTo>
                <a:close/>
                <a:moveTo>
                  <a:pt x="1167" y="155"/>
                </a:moveTo>
                <a:cubicBezTo>
                  <a:pt x="1167" y="152"/>
                  <a:pt x="1165" y="150"/>
                  <a:pt x="1162" y="150"/>
                </a:cubicBezTo>
                <a:cubicBezTo>
                  <a:pt x="1160" y="150"/>
                  <a:pt x="1158" y="152"/>
                  <a:pt x="1158" y="155"/>
                </a:cubicBezTo>
                <a:cubicBezTo>
                  <a:pt x="1158" y="157"/>
                  <a:pt x="1160" y="159"/>
                  <a:pt x="1162" y="159"/>
                </a:cubicBezTo>
                <a:cubicBezTo>
                  <a:pt x="1165" y="159"/>
                  <a:pt x="1167" y="157"/>
                  <a:pt x="1167" y="155"/>
                </a:cubicBezTo>
                <a:close/>
                <a:moveTo>
                  <a:pt x="1121" y="596"/>
                </a:moveTo>
                <a:cubicBezTo>
                  <a:pt x="1124" y="596"/>
                  <a:pt x="1126" y="594"/>
                  <a:pt x="1126" y="591"/>
                </a:cubicBezTo>
                <a:cubicBezTo>
                  <a:pt x="1126" y="589"/>
                  <a:pt x="1124" y="587"/>
                  <a:pt x="1121" y="587"/>
                </a:cubicBezTo>
                <a:cubicBezTo>
                  <a:pt x="1119" y="587"/>
                  <a:pt x="1117" y="589"/>
                  <a:pt x="1117" y="591"/>
                </a:cubicBezTo>
                <a:cubicBezTo>
                  <a:pt x="1117" y="594"/>
                  <a:pt x="1119" y="596"/>
                  <a:pt x="1121" y="596"/>
                </a:cubicBezTo>
                <a:close/>
                <a:moveTo>
                  <a:pt x="1108" y="596"/>
                </a:moveTo>
                <a:cubicBezTo>
                  <a:pt x="1110" y="596"/>
                  <a:pt x="1112" y="594"/>
                  <a:pt x="1112" y="591"/>
                </a:cubicBezTo>
                <a:cubicBezTo>
                  <a:pt x="1112" y="589"/>
                  <a:pt x="1110" y="587"/>
                  <a:pt x="1108" y="587"/>
                </a:cubicBezTo>
                <a:cubicBezTo>
                  <a:pt x="1105" y="587"/>
                  <a:pt x="1103" y="589"/>
                  <a:pt x="1103" y="591"/>
                </a:cubicBezTo>
                <a:cubicBezTo>
                  <a:pt x="1103" y="594"/>
                  <a:pt x="1105" y="596"/>
                  <a:pt x="1108" y="596"/>
                </a:cubicBezTo>
                <a:close/>
                <a:moveTo>
                  <a:pt x="1119" y="578"/>
                </a:moveTo>
                <a:cubicBezTo>
                  <a:pt x="1119" y="575"/>
                  <a:pt x="1117" y="573"/>
                  <a:pt x="1115" y="573"/>
                </a:cubicBezTo>
                <a:cubicBezTo>
                  <a:pt x="1112" y="573"/>
                  <a:pt x="1110" y="575"/>
                  <a:pt x="1110" y="578"/>
                </a:cubicBezTo>
                <a:cubicBezTo>
                  <a:pt x="1110" y="580"/>
                  <a:pt x="1112" y="582"/>
                  <a:pt x="1115" y="582"/>
                </a:cubicBezTo>
                <a:cubicBezTo>
                  <a:pt x="1117" y="582"/>
                  <a:pt x="1119" y="580"/>
                  <a:pt x="1119" y="578"/>
                </a:cubicBezTo>
                <a:close/>
                <a:moveTo>
                  <a:pt x="1194" y="127"/>
                </a:moveTo>
                <a:cubicBezTo>
                  <a:pt x="1194" y="125"/>
                  <a:pt x="1192" y="123"/>
                  <a:pt x="1190" y="123"/>
                </a:cubicBezTo>
                <a:cubicBezTo>
                  <a:pt x="1187" y="123"/>
                  <a:pt x="1185" y="125"/>
                  <a:pt x="1185" y="127"/>
                </a:cubicBezTo>
                <a:cubicBezTo>
                  <a:pt x="1185" y="130"/>
                  <a:pt x="1187" y="132"/>
                  <a:pt x="1190" y="132"/>
                </a:cubicBezTo>
                <a:cubicBezTo>
                  <a:pt x="1192" y="132"/>
                  <a:pt x="1194" y="130"/>
                  <a:pt x="1194" y="127"/>
                </a:cubicBezTo>
                <a:close/>
                <a:moveTo>
                  <a:pt x="1158" y="100"/>
                </a:moveTo>
                <a:cubicBezTo>
                  <a:pt x="1158" y="103"/>
                  <a:pt x="1160" y="105"/>
                  <a:pt x="1162" y="105"/>
                </a:cubicBezTo>
                <a:cubicBezTo>
                  <a:pt x="1165" y="105"/>
                  <a:pt x="1167" y="103"/>
                  <a:pt x="1167" y="100"/>
                </a:cubicBezTo>
                <a:cubicBezTo>
                  <a:pt x="1167" y="98"/>
                  <a:pt x="1165" y="96"/>
                  <a:pt x="1162" y="96"/>
                </a:cubicBezTo>
                <a:cubicBezTo>
                  <a:pt x="1160" y="96"/>
                  <a:pt x="1158" y="98"/>
                  <a:pt x="1158" y="100"/>
                </a:cubicBezTo>
                <a:close/>
                <a:moveTo>
                  <a:pt x="1155" y="91"/>
                </a:moveTo>
                <a:cubicBezTo>
                  <a:pt x="1158" y="91"/>
                  <a:pt x="1160" y="89"/>
                  <a:pt x="1160" y="87"/>
                </a:cubicBezTo>
                <a:cubicBezTo>
                  <a:pt x="1160" y="84"/>
                  <a:pt x="1158" y="82"/>
                  <a:pt x="1155" y="82"/>
                </a:cubicBezTo>
                <a:cubicBezTo>
                  <a:pt x="1153" y="82"/>
                  <a:pt x="1151" y="84"/>
                  <a:pt x="1151" y="87"/>
                </a:cubicBezTo>
                <a:cubicBezTo>
                  <a:pt x="1151" y="89"/>
                  <a:pt x="1153" y="91"/>
                  <a:pt x="1155" y="91"/>
                </a:cubicBezTo>
                <a:close/>
                <a:moveTo>
                  <a:pt x="1169" y="91"/>
                </a:moveTo>
                <a:cubicBezTo>
                  <a:pt x="1172" y="91"/>
                  <a:pt x="1174" y="89"/>
                  <a:pt x="1174" y="87"/>
                </a:cubicBezTo>
                <a:cubicBezTo>
                  <a:pt x="1174" y="84"/>
                  <a:pt x="1172" y="82"/>
                  <a:pt x="1169" y="82"/>
                </a:cubicBezTo>
                <a:cubicBezTo>
                  <a:pt x="1167" y="82"/>
                  <a:pt x="1165" y="84"/>
                  <a:pt x="1165" y="87"/>
                </a:cubicBezTo>
                <a:cubicBezTo>
                  <a:pt x="1165" y="89"/>
                  <a:pt x="1167" y="91"/>
                  <a:pt x="1169" y="91"/>
                </a:cubicBezTo>
                <a:close/>
                <a:moveTo>
                  <a:pt x="1142" y="64"/>
                </a:moveTo>
                <a:cubicBezTo>
                  <a:pt x="1144" y="64"/>
                  <a:pt x="1146" y="62"/>
                  <a:pt x="1146" y="59"/>
                </a:cubicBezTo>
                <a:cubicBezTo>
                  <a:pt x="1146" y="57"/>
                  <a:pt x="1144" y="55"/>
                  <a:pt x="1142" y="55"/>
                </a:cubicBezTo>
                <a:cubicBezTo>
                  <a:pt x="1139" y="55"/>
                  <a:pt x="1137" y="57"/>
                  <a:pt x="1137" y="59"/>
                </a:cubicBezTo>
                <a:cubicBezTo>
                  <a:pt x="1137" y="62"/>
                  <a:pt x="1139" y="64"/>
                  <a:pt x="1142" y="64"/>
                </a:cubicBezTo>
                <a:close/>
                <a:moveTo>
                  <a:pt x="1144" y="100"/>
                </a:moveTo>
                <a:cubicBezTo>
                  <a:pt x="1144" y="103"/>
                  <a:pt x="1146" y="105"/>
                  <a:pt x="1149" y="105"/>
                </a:cubicBezTo>
                <a:cubicBezTo>
                  <a:pt x="1151" y="105"/>
                  <a:pt x="1153" y="103"/>
                  <a:pt x="1153" y="100"/>
                </a:cubicBezTo>
                <a:cubicBezTo>
                  <a:pt x="1153" y="98"/>
                  <a:pt x="1151" y="96"/>
                  <a:pt x="1149" y="96"/>
                </a:cubicBezTo>
                <a:cubicBezTo>
                  <a:pt x="1146" y="96"/>
                  <a:pt x="1144" y="98"/>
                  <a:pt x="1144" y="100"/>
                </a:cubicBezTo>
                <a:close/>
                <a:moveTo>
                  <a:pt x="1169" y="173"/>
                </a:moveTo>
                <a:cubicBezTo>
                  <a:pt x="1172" y="173"/>
                  <a:pt x="1174" y="171"/>
                  <a:pt x="1174" y="168"/>
                </a:cubicBezTo>
                <a:cubicBezTo>
                  <a:pt x="1174" y="166"/>
                  <a:pt x="1172" y="164"/>
                  <a:pt x="1169" y="164"/>
                </a:cubicBezTo>
                <a:cubicBezTo>
                  <a:pt x="1167" y="164"/>
                  <a:pt x="1165" y="166"/>
                  <a:pt x="1165" y="168"/>
                </a:cubicBezTo>
                <a:cubicBezTo>
                  <a:pt x="1165" y="171"/>
                  <a:pt x="1167" y="173"/>
                  <a:pt x="1169" y="173"/>
                </a:cubicBezTo>
                <a:close/>
                <a:moveTo>
                  <a:pt x="1171" y="100"/>
                </a:moveTo>
                <a:cubicBezTo>
                  <a:pt x="1171" y="103"/>
                  <a:pt x="1173" y="105"/>
                  <a:pt x="1176" y="105"/>
                </a:cubicBezTo>
                <a:cubicBezTo>
                  <a:pt x="1178" y="105"/>
                  <a:pt x="1180" y="103"/>
                  <a:pt x="1180" y="100"/>
                </a:cubicBezTo>
                <a:cubicBezTo>
                  <a:pt x="1180" y="98"/>
                  <a:pt x="1178" y="96"/>
                  <a:pt x="1176" y="96"/>
                </a:cubicBezTo>
                <a:cubicBezTo>
                  <a:pt x="1173" y="96"/>
                  <a:pt x="1171" y="98"/>
                  <a:pt x="1171" y="100"/>
                </a:cubicBezTo>
                <a:close/>
                <a:moveTo>
                  <a:pt x="1187" y="168"/>
                </a:moveTo>
                <a:cubicBezTo>
                  <a:pt x="1187" y="166"/>
                  <a:pt x="1185" y="164"/>
                  <a:pt x="1183" y="164"/>
                </a:cubicBezTo>
                <a:cubicBezTo>
                  <a:pt x="1180" y="164"/>
                  <a:pt x="1178" y="166"/>
                  <a:pt x="1178" y="168"/>
                </a:cubicBezTo>
                <a:cubicBezTo>
                  <a:pt x="1178" y="171"/>
                  <a:pt x="1180" y="173"/>
                  <a:pt x="1183" y="173"/>
                </a:cubicBezTo>
                <a:cubicBezTo>
                  <a:pt x="1185" y="173"/>
                  <a:pt x="1187" y="171"/>
                  <a:pt x="1187" y="168"/>
                </a:cubicBezTo>
                <a:close/>
                <a:moveTo>
                  <a:pt x="1187" y="141"/>
                </a:moveTo>
                <a:cubicBezTo>
                  <a:pt x="1187" y="139"/>
                  <a:pt x="1185" y="137"/>
                  <a:pt x="1183" y="137"/>
                </a:cubicBezTo>
                <a:cubicBezTo>
                  <a:pt x="1180" y="137"/>
                  <a:pt x="1178" y="139"/>
                  <a:pt x="1178" y="141"/>
                </a:cubicBezTo>
                <a:cubicBezTo>
                  <a:pt x="1178" y="144"/>
                  <a:pt x="1180" y="146"/>
                  <a:pt x="1183" y="146"/>
                </a:cubicBezTo>
                <a:cubicBezTo>
                  <a:pt x="1185" y="146"/>
                  <a:pt x="1187" y="144"/>
                  <a:pt x="1187" y="141"/>
                </a:cubicBezTo>
                <a:close/>
                <a:moveTo>
                  <a:pt x="1176" y="187"/>
                </a:moveTo>
                <a:cubicBezTo>
                  <a:pt x="1178" y="187"/>
                  <a:pt x="1180" y="185"/>
                  <a:pt x="1180" y="182"/>
                </a:cubicBezTo>
                <a:cubicBezTo>
                  <a:pt x="1180" y="179"/>
                  <a:pt x="1178" y="177"/>
                  <a:pt x="1176" y="177"/>
                </a:cubicBezTo>
                <a:cubicBezTo>
                  <a:pt x="1173" y="177"/>
                  <a:pt x="1171" y="179"/>
                  <a:pt x="1171" y="182"/>
                </a:cubicBezTo>
                <a:cubicBezTo>
                  <a:pt x="1171" y="185"/>
                  <a:pt x="1173" y="187"/>
                  <a:pt x="1176" y="187"/>
                </a:cubicBezTo>
                <a:close/>
                <a:moveTo>
                  <a:pt x="1178" y="114"/>
                </a:moveTo>
                <a:cubicBezTo>
                  <a:pt x="1178" y="116"/>
                  <a:pt x="1180" y="118"/>
                  <a:pt x="1183" y="118"/>
                </a:cubicBezTo>
                <a:cubicBezTo>
                  <a:pt x="1185" y="118"/>
                  <a:pt x="1187" y="116"/>
                  <a:pt x="1187" y="114"/>
                </a:cubicBezTo>
                <a:cubicBezTo>
                  <a:pt x="1187" y="111"/>
                  <a:pt x="1185" y="109"/>
                  <a:pt x="1183" y="109"/>
                </a:cubicBezTo>
                <a:cubicBezTo>
                  <a:pt x="1180" y="109"/>
                  <a:pt x="1178" y="111"/>
                  <a:pt x="1178" y="114"/>
                </a:cubicBezTo>
                <a:close/>
                <a:moveTo>
                  <a:pt x="1081" y="568"/>
                </a:moveTo>
                <a:cubicBezTo>
                  <a:pt x="1083" y="568"/>
                  <a:pt x="1085" y="566"/>
                  <a:pt x="1085" y="564"/>
                </a:cubicBezTo>
                <a:cubicBezTo>
                  <a:pt x="1085" y="561"/>
                  <a:pt x="1083" y="559"/>
                  <a:pt x="1081" y="559"/>
                </a:cubicBezTo>
                <a:cubicBezTo>
                  <a:pt x="1078" y="559"/>
                  <a:pt x="1076" y="561"/>
                  <a:pt x="1076" y="564"/>
                </a:cubicBezTo>
                <a:cubicBezTo>
                  <a:pt x="1076" y="566"/>
                  <a:pt x="1078" y="568"/>
                  <a:pt x="1081" y="568"/>
                </a:cubicBezTo>
                <a:close/>
                <a:moveTo>
                  <a:pt x="1190" y="105"/>
                </a:moveTo>
                <a:cubicBezTo>
                  <a:pt x="1192" y="105"/>
                  <a:pt x="1194" y="103"/>
                  <a:pt x="1194" y="100"/>
                </a:cubicBezTo>
                <a:cubicBezTo>
                  <a:pt x="1194" y="98"/>
                  <a:pt x="1192" y="96"/>
                  <a:pt x="1190" y="96"/>
                </a:cubicBezTo>
                <a:cubicBezTo>
                  <a:pt x="1187" y="96"/>
                  <a:pt x="1185" y="98"/>
                  <a:pt x="1185" y="100"/>
                </a:cubicBezTo>
                <a:cubicBezTo>
                  <a:pt x="1185" y="103"/>
                  <a:pt x="1187" y="105"/>
                  <a:pt x="1190" y="105"/>
                </a:cubicBezTo>
                <a:close/>
                <a:moveTo>
                  <a:pt x="1153" y="564"/>
                </a:moveTo>
                <a:cubicBezTo>
                  <a:pt x="1153" y="561"/>
                  <a:pt x="1151" y="559"/>
                  <a:pt x="1149" y="559"/>
                </a:cubicBezTo>
                <a:cubicBezTo>
                  <a:pt x="1146" y="559"/>
                  <a:pt x="1144" y="561"/>
                  <a:pt x="1144" y="564"/>
                </a:cubicBezTo>
                <a:cubicBezTo>
                  <a:pt x="1144" y="566"/>
                  <a:pt x="1146" y="568"/>
                  <a:pt x="1149" y="568"/>
                </a:cubicBezTo>
                <a:cubicBezTo>
                  <a:pt x="1151" y="568"/>
                  <a:pt x="1153" y="566"/>
                  <a:pt x="1153" y="564"/>
                </a:cubicBezTo>
                <a:close/>
                <a:moveTo>
                  <a:pt x="958" y="378"/>
                </a:moveTo>
                <a:cubicBezTo>
                  <a:pt x="961" y="378"/>
                  <a:pt x="963" y="375"/>
                  <a:pt x="963" y="373"/>
                </a:cubicBezTo>
                <a:cubicBezTo>
                  <a:pt x="963" y="370"/>
                  <a:pt x="961" y="368"/>
                  <a:pt x="958" y="368"/>
                </a:cubicBezTo>
                <a:cubicBezTo>
                  <a:pt x="956" y="368"/>
                  <a:pt x="954" y="370"/>
                  <a:pt x="954" y="373"/>
                </a:cubicBezTo>
                <a:cubicBezTo>
                  <a:pt x="954" y="375"/>
                  <a:pt x="956" y="378"/>
                  <a:pt x="958" y="378"/>
                </a:cubicBezTo>
                <a:close/>
                <a:moveTo>
                  <a:pt x="965" y="391"/>
                </a:moveTo>
                <a:cubicBezTo>
                  <a:pt x="967" y="391"/>
                  <a:pt x="969" y="389"/>
                  <a:pt x="969" y="387"/>
                </a:cubicBezTo>
                <a:cubicBezTo>
                  <a:pt x="969" y="384"/>
                  <a:pt x="967" y="382"/>
                  <a:pt x="965" y="382"/>
                </a:cubicBezTo>
                <a:cubicBezTo>
                  <a:pt x="962" y="382"/>
                  <a:pt x="960" y="384"/>
                  <a:pt x="960" y="387"/>
                </a:cubicBezTo>
                <a:cubicBezTo>
                  <a:pt x="960" y="389"/>
                  <a:pt x="962" y="391"/>
                  <a:pt x="965" y="391"/>
                </a:cubicBezTo>
                <a:close/>
                <a:moveTo>
                  <a:pt x="940" y="373"/>
                </a:moveTo>
                <a:cubicBezTo>
                  <a:pt x="940" y="375"/>
                  <a:pt x="942" y="378"/>
                  <a:pt x="944" y="378"/>
                </a:cubicBezTo>
                <a:cubicBezTo>
                  <a:pt x="947" y="378"/>
                  <a:pt x="949" y="375"/>
                  <a:pt x="949" y="373"/>
                </a:cubicBezTo>
                <a:cubicBezTo>
                  <a:pt x="949" y="370"/>
                  <a:pt x="947" y="368"/>
                  <a:pt x="944" y="368"/>
                </a:cubicBezTo>
                <a:cubicBezTo>
                  <a:pt x="942" y="368"/>
                  <a:pt x="940" y="370"/>
                  <a:pt x="940" y="373"/>
                </a:cubicBezTo>
                <a:close/>
                <a:moveTo>
                  <a:pt x="956" y="359"/>
                </a:moveTo>
                <a:cubicBezTo>
                  <a:pt x="956" y="357"/>
                  <a:pt x="954" y="355"/>
                  <a:pt x="951" y="355"/>
                </a:cubicBezTo>
                <a:cubicBezTo>
                  <a:pt x="949" y="355"/>
                  <a:pt x="947" y="357"/>
                  <a:pt x="947" y="359"/>
                </a:cubicBezTo>
                <a:cubicBezTo>
                  <a:pt x="947" y="362"/>
                  <a:pt x="949" y="364"/>
                  <a:pt x="951" y="364"/>
                </a:cubicBezTo>
                <a:cubicBezTo>
                  <a:pt x="954" y="364"/>
                  <a:pt x="956" y="362"/>
                  <a:pt x="956" y="359"/>
                </a:cubicBezTo>
                <a:close/>
                <a:moveTo>
                  <a:pt x="972" y="432"/>
                </a:moveTo>
                <a:cubicBezTo>
                  <a:pt x="974" y="432"/>
                  <a:pt x="976" y="430"/>
                  <a:pt x="976" y="428"/>
                </a:cubicBezTo>
                <a:cubicBezTo>
                  <a:pt x="976" y="425"/>
                  <a:pt x="974" y="423"/>
                  <a:pt x="972" y="423"/>
                </a:cubicBezTo>
                <a:cubicBezTo>
                  <a:pt x="969" y="423"/>
                  <a:pt x="967" y="425"/>
                  <a:pt x="967" y="428"/>
                </a:cubicBezTo>
                <a:cubicBezTo>
                  <a:pt x="967" y="430"/>
                  <a:pt x="969" y="432"/>
                  <a:pt x="972" y="432"/>
                </a:cubicBezTo>
                <a:close/>
                <a:moveTo>
                  <a:pt x="960" y="414"/>
                </a:moveTo>
                <a:cubicBezTo>
                  <a:pt x="960" y="416"/>
                  <a:pt x="962" y="418"/>
                  <a:pt x="965" y="418"/>
                </a:cubicBezTo>
                <a:cubicBezTo>
                  <a:pt x="967" y="418"/>
                  <a:pt x="969" y="416"/>
                  <a:pt x="969" y="414"/>
                </a:cubicBezTo>
                <a:cubicBezTo>
                  <a:pt x="969" y="411"/>
                  <a:pt x="967" y="409"/>
                  <a:pt x="965" y="409"/>
                </a:cubicBezTo>
                <a:cubicBezTo>
                  <a:pt x="962" y="409"/>
                  <a:pt x="960" y="411"/>
                  <a:pt x="960" y="414"/>
                </a:cubicBezTo>
                <a:close/>
                <a:moveTo>
                  <a:pt x="931" y="323"/>
                </a:moveTo>
                <a:cubicBezTo>
                  <a:pt x="933" y="323"/>
                  <a:pt x="935" y="321"/>
                  <a:pt x="935" y="318"/>
                </a:cubicBezTo>
                <a:cubicBezTo>
                  <a:pt x="935" y="316"/>
                  <a:pt x="933" y="314"/>
                  <a:pt x="931" y="314"/>
                </a:cubicBezTo>
                <a:cubicBezTo>
                  <a:pt x="928" y="314"/>
                  <a:pt x="926" y="316"/>
                  <a:pt x="926" y="318"/>
                </a:cubicBezTo>
                <a:cubicBezTo>
                  <a:pt x="926" y="321"/>
                  <a:pt x="928" y="323"/>
                  <a:pt x="931" y="323"/>
                </a:cubicBezTo>
                <a:close/>
                <a:moveTo>
                  <a:pt x="922" y="318"/>
                </a:moveTo>
                <a:cubicBezTo>
                  <a:pt x="922" y="316"/>
                  <a:pt x="920" y="314"/>
                  <a:pt x="917" y="314"/>
                </a:cubicBezTo>
                <a:cubicBezTo>
                  <a:pt x="915" y="314"/>
                  <a:pt x="913" y="316"/>
                  <a:pt x="913" y="318"/>
                </a:cubicBezTo>
                <a:cubicBezTo>
                  <a:pt x="913" y="321"/>
                  <a:pt x="915" y="323"/>
                  <a:pt x="917" y="323"/>
                </a:cubicBezTo>
                <a:cubicBezTo>
                  <a:pt x="920" y="323"/>
                  <a:pt x="922" y="321"/>
                  <a:pt x="922" y="318"/>
                </a:cubicBezTo>
                <a:close/>
                <a:moveTo>
                  <a:pt x="944" y="350"/>
                </a:moveTo>
                <a:cubicBezTo>
                  <a:pt x="947" y="350"/>
                  <a:pt x="949" y="348"/>
                  <a:pt x="949" y="346"/>
                </a:cubicBezTo>
                <a:cubicBezTo>
                  <a:pt x="949" y="343"/>
                  <a:pt x="947" y="341"/>
                  <a:pt x="944" y="341"/>
                </a:cubicBezTo>
                <a:cubicBezTo>
                  <a:pt x="942" y="341"/>
                  <a:pt x="940" y="343"/>
                  <a:pt x="940" y="346"/>
                </a:cubicBezTo>
                <a:cubicBezTo>
                  <a:pt x="940" y="348"/>
                  <a:pt x="942" y="350"/>
                  <a:pt x="944" y="350"/>
                </a:cubicBezTo>
                <a:close/>
                <a:moveTo>
                  <a:pt x="929" y="305"/>
                </a:moveTo>
                <a:cubicBezTo>
                  <a:pt x="929" y="302"/>
                  <a:pt x="926" y="300"/>
                  <a:pt x="924" y="300"/>
                </a:cubicBezTo>
                <a:cubicBezTo>
                  <a:pt x="921" y="300"/>
                  <a:pt x="919" y="302"/>
                  <a:pt x="919" y="305"/>
                </a:cubicBezTo>
                <a:cubicBezTo>
                  <a:pt x="919" y="307"/>
                  <a:pt x="921" y="309"/>
                  <a:pt x="924" y="309"/>
                </a:cubicBezTo>
                <a:cubicBezTo>
                  <a:pt x="926" y="309"/>
                  <a:pt x="929" y="307"/>
                  <a:pt x="929" y="305"/>
                </a:cubicBezTo>
                <a:close/>
                <a:moveTo>
                  <a:pt x="915" y="332"/>
                </a:moveTo>
                <a:cubicBezTo>
                  <a:pt x="915" y="330"/>
                  <a:pt x="913" y="328"/>
                  <a:pt x="910" y="328"/>
                </a:cubicBezTo>
                <a:cubicBezTo>
                  <a:pt x="908" y="328"/>
                  <a:pt x="906" y="330"/>
                  <a:pt x="906" y="332"/>
                </a:cubicBezTo>
                <a:cubicBezTo>
                  <a:pt x="906" y="335"/>
                  <a:pt x="908" y="337"/>
                  <a:pt x="910" y="337"/>
                </a:cubicBezTo>
                <a:cubicBezTo>
                  <a:pt x="913" y="337"/>
                  <a:pt x="915" y="335"/>
                  <a:pt x="915" y="332"/>
                </a:cubicBezTo>
                <a:close/>
                <a:moveTo>
                  <a:pt x="1078" y="550"/>
                </a:moveTo>
                <a:cubicBezTo>
                  <a:pt x="1078" y="548"/>
                  <a:pt x="1076" y="546"/>
                  <a:pt x="1074" y="546"/>
                </a:cubicBezTo>
                <a:cubicBezTo>
                  <a:pt x="1071" y="546"/>
                  <a:pt x="1069" y="548"/>
                  <a:pt x="1069" y="550"/>
                </a:cubicBezTo>
                <a:cubicBezTo>
                  <a:pt x="1069" y="553"/>
                  <a:pt x="1071" y="555"/>
                  <a:pt x="1074" y="555"/>
                </a:cubicBezTo>
                <a:cubicBezTo>
                  <a:pt x="1076" y="555"/>
                  <a:pt x="1078" y="553"/>
                  <a:pt x="1078" y="550"/>
                </a:cubicBezTo>
                <a:close/>
                <a:moveTo>
                  <a:pt x="938" y="337"/>
                </a:moveTo>
                <a:cubicBezTo>
                  <a:pt x="940" y="337"/>
                  <a:pt x="942" y="335"/>
                  <a:pt x="942" y="332"/>
                </a:cubicBezTo>
                <a:cubicBezTo>
                  <a:pt x="942" y="330"/>
                  <a:pt x="940" y="328"/>
                  <a:pt x="938" y="328"/>
                </a:cubicBezTo>
                <a:cubicBezTo>
                  <a:pt x="935" y="328"/>
                  <a:pt x="933" y="330"/>
                  <a:pt x="933" y="332"/>
                </a:cubicBezTo>
                <a:cubicBezTo>
                  <a:pt x="933" y="335"/>
                  <a:pt x="935" y="337"/>
                  <a:pt x="938" y="337"/>
                </a:cubicBezTo>
                <a:close/>
                <a:moveTo>
                  <a:pt x="978" y="446"/>
                </a:moveTo>
                <a:cubicBezTo>
                  <a:pt x="981" y="446"/>
                  <a:pt x="983" y="444"/>
                  <a:pt x="983" y="441"/>
                </a:cubicBezTo>
                <a:cubicBezTo>
                  <a:pt x="983" y="439"/>
                  <a:pt x="981" y="437"/>
                  <a:pt x="978" y="437"/>
                </a:cubicBezTo>
                <a:cubicBezTo>
                  <a:pt x="976" y="437"/>
                  <a:pt x="974" y="439"/>
                  <a:pt x="974" y="441"/>
                </a:cubicBezTo>
                <a:cubicBezTo>
                  <a:pt x="974" y="444"/>
                  <a:pt x="976" y="446"/>
                  <a:pt x="978" y="446"/>
                </a:cubicBezTo>
                <a:close/>
                <a:moveTo>
                  <a:pt x="1033" y="582"/>
                </a:moveTo>
                <a:cubicBezTo>
                  <a:pt x="1035" y="582"/>
                  <a:pt x="1037" y="580"/>
                  <a:pt x="1037" y="578"/>
                </a:cubicBezTo>
                <a:cubicBezTo>
                  <a:pt x="1037" y="575"/>
                  <a:pt x="1035" y="573"/>
                  <a:pt x="1033" y="573"/>
                </a:cubicBezTo>
                <a:cubicBezTo>
                  <a:pt x="1030" y="573"/>
                  <a:pt x="1028" y="575"/>
                  <a:pt x="1028" y="578"/>
                </a:cubicBezTo>
                <a:cubicBezTo>
                  <a:pt x="1028" y="580"/>
                  <a:pt x="1030" y="582"/>
                  <a:pt x="1033" y="582"/>
                </a:cubicBezTo>
                <a:close/>
                <a:moveTo>
                  <a:pt x="1044" y="564"/>
                </a:moveTo>
                <a:cubicBezTo>
                  <a:pt x="1044" y="561"/>
                  <a:pt x="1042" y="559"/>
                  <a:pt x="1040" y="559"/>
                </a:cubicBezTo>
                <a:cubicBezTo>
                  <a:pt x="1037" y="559"/>
                  <a:pt x="1035" y="561"/>
                  <a:pt x="1035" y="564"/>
                </a:cubicBezTo>
                <a:cubicBezTo>
                  <a:pt x="1035" y="566"/>
                  <a:pt x="1037" y="568"/>
                  <a:pt x="1040" y="568"/>
                </a:cubicBezTo>
                <a:cubicBezTo>
                  <a:pt x="1042" y="568"/>
                  <a:pt x="1044" y="566"/>
                  <a:pt x="1044" y="564"/>
                </a:cubicBezTo>
                <a:close/>
                <a:moveTo>
                  <a:pt x="1053" y="568"/>
                </a:moveTo>
                <a:cubicBezTo>
                  <a:pt x="1056" y="568"/>
                  <a:pt x="1058" y="566"/>
                  <a:pt x="1058" y="564"/>
                </a:cubicBezTo>
                <a:cubicBezTo>
                  <a:pt x="1058" y="561"/>
                  <a:pt x="1056" y="559"/>
                  <a:pt x="1053" y="559"/>
                </a:cubicBezTo>
                <a:cubicBezTo>
                  <a:pt x="1051" y="559"/>
                  <a:pt x="1049" y="561"/>
                  <a:pt x="1049" y="564"/>
                </a:cubicBezTo>
                <a:cubicBezTo>
                  <a:pt x="1049" y="566"/>
                  <a:pt x="1051" y="568"/>
                  <a:pt x="1053" y="568"/>
                </a:cubicBezTo>
                <a:close/>
                <a:moveTo>
                  <a:pt x="1051" y="550"/>
                </a:moveTo>
                <a:cubicBezTo>
                  <a:pt x="1051" y="548"/>
                  <a:pt x="1049" y="546"/>
                  <a:pt x="1047" y="546"/>
                </a:cubicBezTo>
                <a:cubicBezTo>
                  <a:pt x="1044" y="546"/>
                  <a:pt x="1042" y="548"/>
                  <a:pt x="1042" y="550"/>
                </a:cubicBezTo>
                <a:cubicBezTo>
                  <a:pt x="1042" y="553"/>
                  <a:pt x="1044" y="555"/>
                  <a:pt x="1047" y="555"/>
                </a:cubicBezTo>
                <a:cubicBezTo>
                  <a:pt x="1049" y="555"/>
                  <a:pt x="1051" y="553"/>
                  <a:pt x="1051" y="550"/>
                </a:cubicBezTo>
                <a:close/>
                <a:moveTo>
                  <a:pt x="1065" y="550"/>
                </a:moveTo>
                <a:cubicBezTo>
                  <a:pt x="1065" y="548"/>
                  <a:pt x="1063" y="546"/>
                  <a:pt x="1060" y="546"/>
                </a:cubicBezTo>
                <a:cubicBezTo>
                  <a:pt x="1058" y="546"/>
                  <a:pt x="1056" y="548"/>
                  <a:pt x="1056" y="550"/>
                </a:cubicBezTo>
                <a:cubicBezTo>
                  <a:pt x="1056" y="553"/>
                  <a:pt x="1058" y="555"/>
                  <a:pt x="1060" y="555"/>
                </a:cubicBezTo>
                <a:cubicBezTo>
                  <a:pt x="1063" y="555"/>
                  <a:pt x="1065" y="553"/>
                  <a:pt x="1065" y="550"/>
                </a:cubicBezTo>
                <a:close/>
                <a:moveTo>
                  <a:pt x="1067" y="568"/>
                </a:moveTo>
                <a:cubicBezTo>
                  <a:pt x="1070" y="568"/>
                  <a:pt x="1072" y="566"/>
                  <a:pt x="1072" y="564"/>
                </a:cubicBezTo>
                <a:cubicBezTo>
                  <a:pt x="1072" y="561"/>
                  <a:pt x="1070" y="559"/>
                  <a:pt x="1067" y="559"/>
                </a:cubicBezTo>
                <a:cubicBezTo>
                  <a:pt x="1064" y="559"/>
                  <a:pt x="1062" y="561"/>
                  <a:pt x="1062" y="564"/>
                </a:cubicBezTo>
                <a:cubicBezTo>
                  <a:pt x="1062" y="566"/>
                  <a:pt x="1064" y="568"/>
                  <a:pt x="1067" y="568"/>
                </a:cubicBezTo>
                <a:close/>
                <a:moveTo>
                  <a:pt x="994" y="455"/>
                </a:moveTo>
                <a:cubicBezTo>
                  <a:pt x="994" y="457"/>
                  <a:pt x="996" y="459"/>
                  <a:pt x="999" y="459"/>
                </a:cubicBezTo>
                <a:cubicBezTo>
                  <a:pt x="1001" y="459"/>
                  <a:pt x="1003" y="457"/>
                  <a:pt x="1003" y="455"/>
                </a:cubicBezTo>
                <a:cubicBezTo>
                  <a:pt x="1003" y="452"/>
                  <a:pt x="1001" y="450"/>
                  <a:pt x="999" y="450"/>
                </a:cubicBezTo>
                <a:cubicBezTo>
                  <a:pt x="996" y="450"/>
                  <a:pt x="994" y="452"/>
                  <a:pt x="994" y="455"/>
                </a:cubicBezTo>
                <a:close/>
                <a:moveTo>
                  <a:pt x="781" y="105"/>
                </a:moveTo>
                <a:cubicBezTo>
                  <a:pt x="784" y="105"/>
                  <a:pt x="786" y="103"/>
                  <a:pt x="786" y="100"/>
                </a:cubicBezTo>
                <a:cubicBezTo>
                  <a:pt x="786" y="98"/>
                  <a:pt x="784" y="96"/>
                  <a:pt x="781" y="96"/>
                </a:cubicBezTo>
                <a:cubicBezTo>
                  <a:pt x="778" y="96"/>
                  <a:pt x="776" y="98"/>
                  <a:pt x="776" y="100"/>
                </a:cubicBezTo>
                <a:cubicBezTo>
                  <a:pt x="776" y="103"/>
                  <a:pt x="778" y="105"/>
                  <a:pt x="781" y="105"/>
                </a:cubicBezTo>
                <a:close/>
                <a:moveTo>
                  <a:pt x="997" y="387"/>
                </a:moveTo>
                <a:cubicBezTo>
                  <a:pt x="997" y="384"/>
                  <a:pt x="995" y="382"/>
                  <a:pt x="992" y="382"/>
                </a:cubicBezTo>
                <a:cubicBezTo>
                  <a:pt x="990" y="382"/>
                  <a:pt x="988" y="384"/>
                  <a:pt x="988" y="387"/>
                </a:cubicBezTo>
                <a:cubicBezTo>
                  <a:pt x="988" y="389"/>
                  <a:pt x="990" y="391"/>
                  <a:pt x="992" y="391"/>
                </a:cubicBezTo>
                <a:cubicBezTo>
                  <a:pt x="995" y="391"/>
                  <a:pt x="997" y="389"/>
                  <a:pt x="997" y="387"/>
                </a:cubicBezTo>
                <a:close/>
                <a:moveTo>
                  <a:pt x="1010" y="441"/>
                </a:moveTo>
                <a:cubicBezTo>
                  <a:pt x="1010" y="439"/>
                  <a:pt x="1008" y="437"/>
                  <a:pt x="1006" y="437"/>
                </a:cubicBezTo>
                <a:cubicBezTo>
                  <a:pt x="1003" y="437"/>
                  <a:pt x="1001" y="439"/>
                  <a:pt x="1001" y="441"/>
                </a:cubicBezTo>
                <a:cubicBezTo>
                  <a:pt x="1001" y="444"/>
                  <a:pt x="1003" y="446"/>
                  <a:pt x="1006" y="446"/>
                </a:cubicBezTo>
                <a:cubicBezTo>
                  <a:pt x="1008" y="446"/>
                  <a:pt x="1010" y="444"/>
                  <a:pt x="1010" y="441"/>
                </a:cubicBezTo>
                <a:close/>
                <a:moveTo>
                  <a:pt x="1019" y="555"/>
                </a:moveTo>
                <a:cubicBezTo>
                  <a:pt x="1022" y="555"/>
                  <a:pt x="1024" y="553"/>
                  <a:pt x="1024" y="550"/>
                </a:cubicBezTo>
                <a:cubicBezTo>
                  <a:pt x="1024" y="548"/>
                  <a:pt x="1022" y="546"/>
                  <a:pt x="1019" y="546"/>
                </a:cubicBezTo>
                <a:cubicBezTo>
                  <a:pt x="1017" y="546"/>
                  <a:pt x="1015" y="548"/>
                  <a:pt x="1015" y="550"/>
                </a:cubicBezTo>
                <a:cubicBezTo>
                  <a:pt x="1015" y="553"/>
                  <a:pt x="1017" y="555"/>
                  <a:pt x="1019" y="555"/>
                </a:cubicBezTo>
                <a:close/>
                <a:moveTo>
                  <a:pt x="1013" y="459"/>
                </a:moveTo>
                <a:cubicBezTo>
                  <a:pt x="1015" y="459"/>
                  <a:pt x="1017" y="457"/>
                  <a:pt x="1017" y="455"/>
                </a:cubicBezTo>
                <a:cubicBezTo>
                  <a:pt x="1017" y="452"/>
                  <a:pt x="1015" y="450"/>
                  <a:pt x="1013" y="450"/>
                </a:cubicBezTo>
                <a:cubicBezTo>
                  <a:pt x="1010" y="450"/>
                  <a:pt x="1008" y="452"/>
                  <a:pt x="1008" y="455"/>
                </a:cubicBezTo>
                <a:cubicBezTo>
                  <a:pt x="1008" y="457"/>
                  <a:pt x="1010" y="459"/>
                  <a:pt x="1013" y="459"/>
                </a:cubicBezTo>
                <a:close/>
                <a:moveTo>
                  <a:pt x="1026" y="568"/>
                </a:moveTo>
                <a:cubicBezTo>
                  <a:pt x="1029" y="568"/>
                  <a:pt x="1031" y="566"/>
                  <a:pt x="1031" y="564"/>
                </a:cubicBezTo>
                <a:cubicBezTo>
                  <a:pt x="1031" y="561"/>
                  <a:pt x="1029" y="559"/>
                  <a:pt x="1026" y="559"/>
                </a:cubicBezTo>
                <a:cubicBezTo>
                  <a:pt x="1024" y="559"/>
                  <a:pt x="1022" y="561"/>
                  <a:pt x="1022" y="564"/>
                </a:cubicBezTo>
                <a:cubicBezTo>
                  <a:pt x="1022" y="566"/>
                  <a:pt x="1024" y="568"/>
                  <a:pt x="1026" y="568"/>
                </a:cubicBezTo>
                <a:close/>
                <a:moveTo>
                  <a:pt x="990" y="400"/>
                </a:moveTo>
                <a:cubicBezTo>
                  <a:pt x="990" y="398"/>
                  <a:pt x="988" y="396"/>
                  <a:pt x="985" y="396"/>
                </a:cubicBezTo>
                <a:cubicBezTo>
                  <a:pt x="983" y="396"/>
                  <a:pt x="981" y="398"/>
                  <a:pt x="981" y="400"/>
                </a:cubicBezTo>
                <a:cubicBezTo>
                  <a:pt x="981" y="403"/>
                  <a:pt x="983" y="405"/>
                  <a:pt x="985" y="405"/>
                </a:cubicBezTo>
                <a:cubicBezTo>
                  <a:pt x="988" y="405"/>
                  <a:pt x="990" y="403"/>
                  <a:pt x="990" y="400"/>
                </a:cubicBezTo>
                <a:close/>
                <a:moveTo>
                  <a:pt x="883" y="91"/>
                </a:moveTo>
                <a:cubicBezTo>
                  <a:pt x="886" y="91"/>
                  <a:pt x="888" y="89"/>
                  <a:pt x="888" y="87"/>
                </a:cubicBezTo>
                <a:cubicBezTo>
                  <a:pt x="888" y="84"/>
                  <a:pt x="886" y="82"/>
                  <a:pt x="883" y="82"/>
                </a:cubicBezTo>
                <a:cubicBezTo>
                  <a:pt x="881" y="82"/>
                  <a:pt x="879" y="84"/>
                  <a:pt x="879" y="87"/>
                </a:cubicBezTo>
                <a:cubicBezTo>
                  <a:pt x="879" y="89"/>
                  <a:pt x="881" y="91"/>
                  <a:pt x="883" y="91"/>
                </a:cubicBezTo>
                <a:close/>
                <a:moveTo>
                  <a:pt x="876" y="105"/>
                </a:moveTo>
                <a:cubicBezTo>
                  <a:pt x="879" y="105"/>
                  <a:pt x="881" y="103"/>
                  <a:pt x="881" y="100"/>
                </a:cubicBezTo>
                <a:cubicBezTo>
                  <a:pt x="881" y="98"/>
                  <a:pt x="879" y="96"/>
                  <a:pt x="876" y="96"/>
                </a:cubicBezTo>
                <a:cubicBezTo>
                  <a:pt x="874" y="96"/>
                  <a:pt x="872" y="98"/>
                  <a:pt x="872" y="100"/>
                </a:cubicBezTo>
                <a:cubicBezTo>
                  <a:pt x="872" y="103"/>
                  <a:pt x="874" y="105"/>
                  <a:pt x="876" y="105"/>
                </a:cubicBezTo>
                <a:close/>
                <a:moveTo>
                  <a:pt x="1131" y="100"/>
                </a:moveTo>
                <a:cubicBezTo>
                  <a:pt x="1131" y="103"/>
                  <a:pt x="1133" y="105"/>
                  <a:pt x="1135" y="105"/>
                </a:cubicBezTo>
                <a:cubicBezTo>
                  <a:pt x="1138" y="105"/>
                  <a:pt x="1140" y="103"/>
                  <a:pt x="1140" y="100"/>
                </a:cubicBezTo>
                <a:cubicBezTo>
                  <a:pt x="1140" y="98"/>
                  <a:pt x="1138" y="96"/>
                  <a:pt x="1135" y="96"/>
                </a:cubicBezTo>
                <a:cubicBezTo>
                  <a:pt x="1133" y="96"/>
                  <a:pt x="1131" y="98"/>
                  <a:pt x="1131" y="100"/>
                </a:cubicBezTo>
                <a:close/>
                <a:moveTo>
                  <a:pt x="863" y="77"/>
                </a:moveTo>
                <a:cubicBezTo>
                  <a:pt x="865" y="77"/>
                  <a:pt x="867" y="75"/>
                  <a:pt x="867" y="73"/>
                </a:cubicBezTo>
                <a:cubicBezTo>
                  <a:pt x="867" y="70"/>
                  <a:pt x="865" y="68"/>
                  <a:pt x="863" y="68"/>
                </a:cubicBezTo>
                <a:cubicBezTo>
                  <a:pt x="860" y="68"/>
                  <a:pt x="858" y="70"/>
                  <a:pt x="858" y="73"/>
                </a:cubicBezTo>
                <a:cubicBezTo>
                  <a:pt x="858" y="75"/>
                  <a:pt x="860" y="77"/>
                  <a:pt x="863" y="77"/>
                </a:cubicBezTo>
                <a:close/>
                <a:moveTo>
                  <a:pt x="876" y="132"/>
                </a:moveTo>
                <a:cubicBezTo>
                  <a:pt x="879" y="132"/>
                  <a:pt x="881" y="130"/>
                  <a:pt x="881" y="127"/>
                </a:cubicBezTo>
                <a:cubicBezTo>
                  <a:pt x="881" y="125"/>
                  <a:pt x="879" y="123"/>
                  <a:pt x="876" y="123"/>
                </a:cubicBezTo>
                <a:cubicBezTo>
                  <a:pt x="874" y="123"/>
                  <a:pt x="872" y="125"/>
                  <a:pt x="872" y="127"/>
                </a:cubicBezTo>
                <a:cubicBezTo>
                  <a:pt x="872" y="130"/>
                  <a:pt x="874" y="132"/>
                  <a:pt x="876" y="132"/>
                </a:cubicBezTo>
                <a:close/>
                <a:moveTo>
                  <a:pt x="865" y="141"/>
                </a:moveTo>
                <a:cubicBezTo>
                  <a:pt x="865" y="144"/>
                  <a:pt x="867" y="146"/>
                  <a:pt x="869" y="146"/>
                </a:cubicBezTo>
                <a:cubicBezTo>
                  <a:pt x="872" y="146"/>
                  <a:pt x="874" y="144"/>
                  <a:pt x="874" y="141"/>
                </a:cubicBezTo>
                <a:cubicBezTo>
                  <a:pt x="874" y="139"/>
                  <a:pt x="872" y="137"/>
                  <a:pt x="869" y="137"/>
                </a:cubicBezTo>
                <a:cubicBezTo>
                  <a:pt x="867" y="137"/>
                  <a:pt x="865" y="139"/>
                  <a:pt x="865" y="141"/>
                </a:cubicBezTo>
                <a:close/>
                <a:moveTo>
                  <a:pt x="892" y="87"/>
                </a:moveTo>
                <a:cubicBezTo>
                  <a:pt x="892" y="89"/>
                  <a:pt x="894" y="91"/>
                  <a:pt x="897" y="91"/>
                </a:cubicBezTo>
                <a:cubicBezTo>
                  <a:pt x="899" y="91"/>
                  <a:pt x="901" y="89"/>
                  <a:pt x="901" y="87"/>
                </a:cubicBezTo>
                <a:cubicBezTo>
                  <a:pt x="901" y="84"/>
                  <a:pt x="899" y="82"/>
                  <a:pt x="897" y="82"/>
                </a:cubicBezTo>
                <a:cubicBezTo>
                  <a:pt x="894" y="82"/>
                  <a:pt x="892" y="84"/>
                  <a:pt x="892" y="87"/>
                </a:cubicBezTo>
                <a:close/>
                <a:moveTo>
                  <a:pt x="904" y="77"/>
                </a:moveTo>
                <a:cubicBezTo>
                  <a:pt x="906" y="77"/>
                  <a:pt x="908" y="75"/>
                  <a:pt x="908" y="73"/>
                </a:cubicBezTo>
                <a:cubicBezTo>
                  <a:pt x="908" y="70"/>
                  <a:pt x="906" y="68"/>
                  <a:pt x="904" y="68"/>
                </a:cubicBezTo>
                <a:cubicBezTo>
                  <a:pt x="901" y="68"/>
                  <a:pt x="899" y="70"/>
                  <a:pt x="899" y="73"/>
                </a:cubicBezTo>
                <a:cubicBezTo>
                  <a:pt x="899" y="75"/>
                  <a:pt x="901" y="77"/>
                  <a:pt x="904" y="77"/>
                </a:cubicBezTo>
                <a:close/>
                <a:moveTo>
                  <a:pt x="938" y="9"/>
                </a:moveTo>
                <a:cubicBezTo>
                  <a:pt x="940" y="9"/>
                  <a:pt x="942" y="7"/>
                  <a:pt x="942" y="5"/>
                </a:cubicBezTo>
                <a:cubicBezTo>
                  <a:pt x="942" y="2"/>
                  <a:pt x="940" y="0"/>
                  <a:pt x="938" y="0"/>
                </a:cubicBezTo>
                <a:cubicBezTo>
                  <a:pt x="935" y="0"/>
                  <a:pt x="933" y="2"/>
                  <a:pt x="933" y="5"/>
                </a:cubicBezTo>
                <a:cubicBezTo>
                  <a:pt x="933" y="7"/>
                  <a:pt x="935" y="9"/>
                  <a:pt x="938" y="9"/>
                </a:cubicBezTo>
                <a:close/>
                <a:moveTo>
                  <a:pt x="311" y="282"/>
                </a:moveTo>
                <a:cubicBezTo>
                  <a:pt x="314" y="282"/>
                  <a:pt x="316" y="280"/>
                  <a:pt x="316" y="278"/>
                </a:cubicBezTo>
                <a:cubicBezTo>
                  <a:pt x="316" y="275"/>
                  <a:pt x="314" y="273"/>
                  <a:pt x="311" y="273"/>
                </a:cubicBezTo>
                <a:cubicBezTo>
                  <a:pt x="309" y="273"/>
                  <a:pt x="307" y="275"/>
                  <a:pt x="307" y="278"/>
                </a:cubicBezTo>
                <a:cubicBezTo>
                  <a:pt x="307" y="280"/>
                  <a:pt x="309" y="282"/>
                  <a:pt x="311" y="282"/>
                </a:cubicBezTo>
                <a:close/>
                <a:moveTo>
                  <a:pt x="931" y="23"/>
                </a:moveTo>
                <a:cubicBezTo>
                  <a:pt x="933" y="23"/>
                  <a:pt x="935" y="21"/>
                  <a:pt x="935" y="18"/>
                </a:cubicBezTo>
                <a:cubicBezTo>
                  <a:pt x="935" y="16"/>
                  <a:pt x="933" y="14"/>
                  <a:pt x="931" y="14"/>
                </a:cubicBezTo>
                <a:cubicBezTo>
                  <a:pt x="928" y="14"/>
                  <a:pt x="926" y="16"/>
                  <a:pt x="926" y="18"/>
                </a:cubicBezTo>
                <a:cubicBezTo>
                  <a:pt x="926" y="21"/>
                  <a:pt x="928" y="23"/>
                  <a:pt x="931" y="23"/>
                </a:cubicBezTo>
                <a:close/>
                <a:moveTo>
                  <a:pt x="906" y="87"/>
                </a:moveTo>
                <a:cubicBezTo>
                  <a:pt x="906" y="89"/>
                  <a:pt x="908" y="91"/>
                  <a:pt x="910" y="91"/>
                </a:cubicBezTo>
                <a:cubicBezTo>
                  <a:pt x="913" y="91"/>
                  <a:pt x="915" y="89"/>
                  <a:pt x="915" y="87"/>
                </a:cubicBezTo>
                <a:cubicBezTo>
                  <a:pt x="915" y="84"/>
                  <a:pt x="913" y="82"/>
                  <a:pt x="910" y="82"/>
                </a:cubicBezTo>
                <a:cubicBezTo>
                  <a:pt x="908" y="82"/>
                  <a:pt x="906" y="84"/>
                  <a:pt x="906" y="87"/>
                </a:cubicBezTo>
                <a:close/>
                <a:moveTo>
                  <a:pt x="917" y="77"/>
                </a:moveTo>
                <a:cubicBezTo>
                  <a:pt x="920" y="77"/>
                  <a:pt x="922" y="75"/>
                  <a:pt x="922" y="73"/>
                </a:cubicBezTo>
                <a:cubicBezTo>
                  <a:pt x="922" y="70"/>
                  <a:pt x="920" y="68"/>
                  <a:pt x="917" y="68"/>
                </a:cubicBezTo>
                <a:cubicBezTo>
                  <a:pt x="915" y="68"/>
                  <a:pt x="913" y="70"/>
                  <a:pt x="913" y="73"/>
                </a:cubicBezTo>
                <a:cubicBezTo>
                  <a:pt x="913" y="75"/>
                  <a:pt x="915" y="77"/>
                  <a:pt x="917" y="77"/>
                </a:cubicBezTo>
                <a:close/>
                <a:moveTo>
                  <a:pt x="795" y="77"/>
                </a:moveTo>
                <a:cubicBezTo>
                  <a:pt x="797" y="77"/>
                  <a:pt x="799" y="75"/>
                  <a:pt x="799" y="73"/>
                </a:cubicBezTo>
                <a:cubicBezTo>
                  <a:pt x="799" y="70"/>
                  <a:pt x="797" y="68"/>
                  <a:pt x="795" y="68"/>
                </a:cubicBezTo>
                <a:cubicBezTo>
                  <a:pt x="792" y="68"/>
                  <a:pt x="790" y="70"/>
                  <a:pt x="790" y="73"/>
                </a:cubicBezTo>
                <a:cubicBezTo>
                  <a:pt x="790" y="75"/>
                  <a:pt x="792" y="77"/>
                  <a:pt x="795" y="77"/>
                </a:cubicBezTo>
                <a:close/>
                <a:moveTo>
                  <a:pt x="795" y="23"/>
                </a:moveTo>
                <a:cubicBezTo>
                  <a:pt x="797" y="23"/>
                  <a:pt x="799" y="21"/>
                  <a:pt x="799" y="18"/>
                </a:cubicBezTo>
                <a:cubicBezTo>
                  <a:pt x="799" y="16"/>
                  <a:pt x="797" y="14"/>
                  <a:pt x="795" y="14"/>
                </a:cubicBezTo>
                <a:cubicBezTo>
                  <a:pt x="792" y="14"/>
                  <a:pt x="790" y="16"/>
                  <a:pt x="790" y="18"/>
                </a:cubicBezTo>
                <a:cubicBezTo>
                  <a:pt x="790" y="21"/>
                  <a:pt x="792" y="23"/>
                  <a:pt x="795" y="23"/>
                </a:cubicBezTo>
                <a:close/>
                <a:moveTo>
                  <a:pt x="940" y="18"/>
                </a:moveTo>
                <a:cubicBezTo>
                  <a:pt x="940" y="21"/>
                  <a:pt x="942" y="23"/>
                  <a:pt x="944" y="23"/>
                </a:cubicBezTo>
                <a:cubicBezTo>
                  <a:pt x="947" y="23"/>
                  <a:pt x="949" y="21"/>
                  <a:pt x="949" y="18"/>
                </a:cubicBezTo>
                <a:cubicBezTo>
                  <a:pt x="949" y="16"/>
                  <a:pt x="947" y="14"/>
                  <a:pt x="944" y="14"/>
                </a:cubicBezTo>
                <a:cubicBezTo>
                  <a:pt x="942" y="14"/>
                  <a:pt x="940" y="16"/>
                  <a:pt x="940" y="18"/>
                </a:cubicBezTo>
                <a:close/>
                <a:moveTo>
                  <a:pt x="851" y="87"/>
                </a:moveTo>
                <a:cubicBezTo>
                  <a:pt x="851" y="89"/>
                  <a:pt x="853" y="91"/>
                  <a:pt x="856" y="91"/>
                </a:cubicBezTo>
                <a:cubicBezTo>
                  <a:pt x="858" y="91"/>
                  <a:pt x="860" y="89"/>
                  <a:pt x="860" y="87"/>
                </a:cubicBezTo>
                <a:cubicBezTo>
                  <a:pt x="860" y="84"/>
                  <a:pt x="858" y="82"/>
                  <a:pt x="856" y="82"/>
                </a:cubicBezTo>
                <a:cubicBezTo>
                  <a:pt x="853" y="82"/>
                  <a:pt x="851" y="84"/>
                  <a:pt x="851" y="87"/>
                </a:cubicBezTo>
                <a:close/>
                <a:moveTo>
                  <a:pt x="801" y="9"/>
                </a:moveTo>
                <a:cubicBezTo>
                  <a:pt x="804" y="9"/>
                  <a:pt x="806" y="7"/>
                  <a:pt x="806" y="5"/>
                </a:cubicBezTo>
                <a:cubicBezTo>
                  <a:pt x="806" y="2"/>
                  <a:pt x="804" y="0"/>
                  <a:pt x="801" y="0"/>
                </a:cubicBezTo>
                <a:cubicBezTo>
                  <a:pt x="799" y="0"/>
                  <a:pt x="797" y="2"/>
                  <a:pt x="797" y="5"/>
                </a:cubicBezTo>
                <a:cubicBezTo>
                  <a:pt x="797" y="7"/>
                  <a:pt x="799" y="9"/>
                  <a:pt x="801" y="9"/>
                </a:cubicBezTo>
                <a:close/>
                <a:moveTo>
                  <a:pt x="783" y="87"/>
                </a:moveTo>
                <a:cubicBezTo>
                  <a:pt x="783" y="89"/>
                  <a:pt x="785" y="91"/>
                  <a:pt x="788" y="91"/>
                </a:cubicBezTo>
                <a:cubicBezTo>
                  <a:pt x="790" y="91"/>
                  <a:pt x="792" y="89"/>
                  <a:pt x="792" y="87"/>
                </a:cubicBezTo>
                <a:cubicBezTo>
                  <a:pt x="792" y="84"/>
                  <a:pt x="790" y="82"/>
                  <a:pt x="788" y="82"/>
                </a:cubicBezTo>
                <a:cubicBezTo>
                  <a:pt x="785" y="82"/>
                  <a:pt x="783" y="84"/>
                  <a:pt x="783" y="87"/>
                </a:cubicBezTo>
                <a:close/>
                <a:moveTo>
                  <a:pt x="781" y="23"/>
                </a:moveTo>
                <a:cubicBezTo>
                  <a:pt x="784" y="23"/>
                  <a:pt x="786" y="21"/>
                  <a:pt x="786" y="18"/>
                </a:cubicBezTo>
                <a:cubicBezTo>
                  <a:pt x="786" y="16"/>
                  <a:pt x="784" y="14"/>
                  <a:pt x="781" y="14"/>
                </a:cubicBezTo>
                <a:cubicBezTo>
                  <a:pt x="778" y="14"/>
                  <a:pt x="776" y="16"/>
                  <a:pt x="776" y="18"/>
                </a:cubicBezTo>
                <a:cubicBezTo>
                  <a:pt x="776" y="21"/>
                  <a:pt x="778" y="23"/>
                  <a:pt x="781" y="23"/>
                </a:cubicBezTo>
                <a:close/>
                <a:moveTo>
                  <a:pt x="804" y="18"/>
                </a:moveTo>
                <a:cubicBezTo>
                  <a:pt x="804" y="21"/>
                  <a:pt x="806" y="23"/>
                  <a:pt x="808" y="23"/>
                </a:cubicBezTo>
                <a:cubicBezTo>
                  <a:pt x="811" y="23"/>
                  <a:pt x="813" y="21"/>
                  <a:pt x="813" y="18"/>
                </a:cubicBezTo>
                <a:cubicBezTo>
                  <a:pt x="813" y="16"/>
                  <a:pt x="811" y="14"/>
                  <a:pt x="808" y="14"/>
                </a:cubicBezTo>
                <a:cubicBezTo>
                  <a:pt x="806" y="14"/>
                  <a:pt x="804" y="16"/>
                  <a:pt x="804" y="18"/>
                </a:cubicBezTo>
                <a:close/>
                <a:moveTo>
                  <a:pt x="842" y="9"/>
                </a:moveTo>
                <a:cubicBezTo>
                  <a:pt x="845" y="9"/>
                  <a:pt x="847" y="7"/>
                  <a:pt x="847" y="5"/>
                </a:cubicBezTo>
                <a:cubicBezTo>
                  <a:pt x="847" y="2"/>
                  <a:pt x="845" y="0"/>
                  <a:pt x="842" y="0"/>
                </a:cubicBezTo>
                <a:cubicBezTo>
                  <a:pt x="840" y="0"/>
                  <a:pt x="838" y="2"/>
                  <a:pt x="838" y="5"/>
                </a:cubicBezTo>
                <a:cubicBezTo>
                  <a:pt x="838" y="7"/>
                  <a:pt x="840" y="9"/>
                  <a:pt x="842" y="9"/>
                </a:cubicBezTo>
                <a:close/>
                <a:moveTo>
                  <a:pt x="815" y="9"/>
                </a:moveTo>
                <a:cubicBezTo>
                  <a:pt x="818" y="9"/>
                  <a:pt x="820" y="7"/>
                  <a:pt x="820" y="5"/>
                </a:cubicBezTo>
                <a:cubicBezTo>
                  <a:pt x="820" y="2"/>
                  <a:pt x="818" y="0"/>
                  <a:pt x="815" y="0"/>
                </a:cubicBezTo>
                <a:cubicBezTo>
                  <a:pt x="813" y="0"/>
                  <a:pt x="810" y="2"/>
                  <a:pt x="810" y="5"/>
                </a:cubicBezTo>
                <a:cubicBezTo>
                  <a:pt x="810" y="7"/>
                  <a:pt x="813" y="9"/>
                  <a:pt x="815" y="9"/>
                </a:cubicBezTo>
                <a:close/>
                <a:moveTo>
                  <a:pt x="845" y="46"/>
                </a:moveTo>
                <a:cubicBezTo>
                  <a:pt x="845" y="48"/>
                  <a:pt x="847" y="50"/>
                  <a:pt x="849" y="50"/>
                </a:cubicBezTo>
                <a:cubicBezTo>
                  <a:pt x="852" y="50"/>
                  <a:pt x="854" y="48"/>
                  <a:pt x="854" y="46"/>
                </a:cubicBezTo>
                <a:cubicBezTo>
                  <a:pt x="854" y="43"/>
                  <a:pt x="852" y="41"/>
                  <a:pt x="849" y="41"/>
                </a:cubicBezTo>
                <a:cubicBezTo>
                  <a:pt x="847" y="41"/>
                  <a:pt x="845" y="43"/>
                  <a:pt x="845" y="46"/>
                </a:cubicBezTo>
                <a:close/>
                <a:moveTo>
                  <a:pt x="831" y="100"/>
                </a:moveTo>
                <a:cubicBezTo>
                  <a:pt x="831" y="103"/>
                  <a:pt x="833" y="105"/>
                  <a:pt x="835" y="105"/>
                </a:cubicBezTo>
                <a:cubicBezTo>
                  <a:pt x="838" y="105"/>
                  <a:pt x="840" y="103"/>
                  <a:pt x="840" y="100"/>
                </a:cubicBezTo>
                <a:cubicBezTo>
                  <a:pt x="840" y="98"/>
                  <a:pt x="838" y="96"/>
                  <a:pt x="835" y="96"/>
                </a:cubicBezTo>
                <a:cubicBezTo>
                  <a:pt x="833" y="96"/>
                  <a:pt x="831" y="98"/>
                  <a:pt x="831" y="100"/>
                </a:cubicBezTo>
                <a:close/>
                <a:moveTo>
                  <a:pt x="817" y="18"/>
                </a:moveTo>
                <a:cubicBezTo>
                  <a:pt x="817" y="21"/>
                  <a:pt x="819" y="23"/>
                  <a:pt x="822" y="23"/>
                </a:cubicBezTo>
                <a:cubicBezTo>
                  <a:pt x="824" y="23"/>
                  <a:pt x="826" y="21"/>
                  <a:pt x="826" y="18"/>
                </a:cubicBezTo>
                <a:cubicBezTo>
                  <a:pt x="826" y="16"/>
                  <a:pt x="824" y="14"/>
                  <a:pt x="822" y="14"/>
                </a:cubicBezTo>
                <a:cubicBezTo>
                  <a:pt x="819" y="14"/>
                  <a:pt x="817" y="16"/>
                  <a:pt x="817" y="18"/>
                </a:cubicBezTo>
                <a:close/>
                <a:moveTo>
                  <a:pt x="829" y="9"/>
                </a:moveTo>
                <a:cubicBezTo>
                  <a:pt x="831" y="9"/>
                  <a:pt x="833" y="7"/>
                  <a:pt x="833" y="5"/>
                </a:cubicBezTo>
                <a:cubicBezTo>
                  <a:pt x="833" y="2"/>
                  <a:pt x="831" y="0"/>
                  <a:pt x="829" y="0"/>
                </a:cubicBezTo>
                <a:cubicBezTo>
                  <a:pt x="826" y="0"/>
                  <a:pt x="824" y="2"/>
                  <a:pt x="824" y="5"/>
                </a:cubicBezTo>
                <a:cubicBezTo>
                  <a:pt x="824" y="7"/>
                  <a:pt x="826" y="9"/>
                  <a:pt x="829" y="9"/>
                </a:cubicBezTo>
                <a:close/>
                <a:moveTo>
                  <a:pt x="890" y="77"/>
                </a:moveTo>
                <a:cubicBezTo>
                  <a:pt x="892" y="77"/>
                  <a:pt x="894" y="75"/>
                  <a:pt x="894" y="73"/>
                </a:cubicBezTo>
                <a:cubicBezTo>
                  <a:pt x="894" y="70"/>
                  <a:pt x="892" y="68"/>
                  <a:pt x="890" y="68"/>
                </a:cubicBezTo>
                <a:cubicBezTo>
                  <a:pt x="887" y="68"/>
                  <a:pt x="885" y="70"/>
                  <a:pt x="885" y="73"/>
                </a:cubicBezTo>
                <a:cubicBezTo>
                  <a:pt x="885" y="75"/>
                  <a:pt x="887" y="77"/>
                  <a:pt x="890" y="77"/>
                </a:cubicBezTo>
                <a:close/>
                <a:moveTo>
                  <a:pt x="1076" y="100"/>
                </a:moveTo>
                <a:cubicBezTo>
                  <a:pt x="1076" y="103"/>
                  <a:pt x="1078" y="105"/>
                  <a:pt x="1081" y="105"/>
                </a:cubicBezTo>
                <a:cubicBezTo>
                  <a:pt x="1083" y="105"/>
                  <a:pt x="1085" y="103"/>
                  <a:pt x="1085" y="100"/>
                </a:cubicBezTo>
                <a:cubicBezTo>
                  <a:pt x="1085" y="98"/>
                  <a:pt x="1083" y="96"/>
                  <a:pt x="1081" y="96"/>
                </a:cubicBezTo>
                <a:cubicBezTo>
                  <a:pt x="1078" y="96"/>
                  <a:pt x="1076" y="98"/>
                  <a:pt x="1076" y="100"/>
                </a:cubicBezTo>
                <a:close/>
                <a:moveTo>
                  <a:pt x="1062" y="100"/>
                </a:moveTo>
                <a:cubicBezTo>
                  <a:pt x="1062" y="103"/>
                  <a:pt x="1064" y="105"/>
                  <a:pt x="1067" y="105"/>
                </a:cubicBezTo>
                <a:cubicBezTo>
                  <a:pt x="1070" y="105"/>
                  <a:pt x="1072" y="103"/>
                  <a:pt x="1072" y="100"/>
                </a:cubicBezTo>
                <a:cubicBezTo>
                  <a:pt x="1072" y="98"/>
                  <a:pt x="1070" y="96"/>
                  <a:pt x="1067" y="96"/>
                </a:cubicBezTo>
                <a:cubicBezTo>
                  <a:pt x="1064" y="96"/>
                  <a:pt x="1062" y="98"/>
                  <a:pt x="1062" y="100"/>
                </a:cubicBezTo>
                <a:close/>
                <a:moveTo>
                  <a:pt x="1087" y="91"/>
                </a:moveTo>
                <a:cubicBezTo>
                  <a:pt x="1090" y="91"/>
                  <a:pt x="1092" y="89"/>
                  <a:pt x="1092" y="87"/>
                </a:cubicBezTo>
                <a:cubicBezTo>
                  <a:pt x="1092" y="84"/>
                  <a:pt x="1090" y="82"/>
                  <a:pt x="1087" y="82"/>
                </a:cubicBezTo>
                <a:cubicBezTo>
                  <a:pt x="1085" y="82"/>
                  <a:pt x="1083" y="84"/>
                  <a:pt x="1083" y="87"/>
                </a:cubicBezTo>
                <a:cubicBezTo>
                  <a:pt x="1083" y="89"/>
                  <a:pt x="1085" y="91"/>
                  <a:pt x="1087" y="91"/>
                </a:cubicBezTo>
                <a:close/>
                <a:moveTo>
                  <a:pt x="1053" y="77"/>
                </a:moveTo>
                <a:cubicBezTo>
                  <a:pt x="1056" y="77"/>
                  <a:pt x="1058" y="75"/>
                  <a:pt x="1058" y="73"/>
                </a:cubicBezTo>
                <a:cubicBezTo>
                  <a:pt x="1058" y="70"/>
                  <a:pt x="1056" y="68"/>
                  <a:pt x="1053" y="68"/>
                </a:cubicBezTo>
                <a:cubicBezTo>
                  <a:pt x="1051" y="68"/>
                  <a:pt x="1049" y="70"/>
                  <a:pt x="1049" y="73"/>
                </a:cubicBezTo>
                <a:cubicBezTo>
                  <a:pt x="1049" y="75"/>
                  <a:pt x="1051" y="77"/>
                  <a:pt x="1053" y="77"/>
                </a:cubicBezTo>
                <a:close/>
                <a:moveTo>
                  <a:pt x="1090" y="100"/>
                </a:moveTo>
                <a:cubicBezTo>
                  <a:pt x="1090" y="103"/>
                  <a:pt x="1092" y="105"/>
                  <a:pt x="1094" y="105"/>
                </a:cubicBezTo>
                <a:cubicBezTo>
                  <a:pt x="1097" y="105"/>
                  <a:pt x="1099" y="103"/>
                  <a:pt x="1099" y="100"/>
                </a:cubicBezTo>
                <a:cubicBezTo>
                  <a:pt x="1099" y="98"/>
                  <a:pt x="1097" y="96"/>
                  <a:pt x="1094" y="96"/>
                </a:cubicBezTo>
                <a:cubicBezTo>
                  <a:pt x="1092" y="96"/>
                  <a:pt x="1090" y="98"/>
                  <a:pt x="1090" y="100"/>
                </a:cubicBezTo>
                <a:close/>
                <a:moveTo>
                  <a:pt x="1056" y="87"/>
                </a:moveTo>
                <a:cubicBezTo>
                  <a:pt x="1056" y="89"/>
                  <a:pt x="1058" y="91"/>
                  <a:pt x="1060" y="91"/>
                </a:cubicBezTo>
                <a:cubicBezTo>
                  <a:pt x="1063" y="91"/>
                  <a:pt x="1065" y="89"/>
                  <a:pt x="1065" y="87"/>
                </a:cubicBezTo>
                <a:cubicBezTo>
                  <a:pt x="1065" y="84"/>
                  <a:pt x="1063" y="82"/>
                  <a:pt x="1060" y="82"/>
                </a:cubicBezTo>
                <a:cubicBezTo>
                  <a:pt x="1058" y="82"/>
                  <a:pt x="1056" y="84"/>
                  <a:pt x="1056" y="87"/>
                </a:cubicBezTo>
                <a:close/>
                <a:moveTo>
                  <a:pt x="1115" y="64"/>
                </a:moveTo>
                <a:cubicBezTo>
                  <a:pt x="1117" y="64"/>
                  <a:pt x="1119" y="62"/>
                  <a:pt x="1119" y="59"/>
                </a:cubicBezTo>
                <a:cubicBezTo>
                  <a:pt x="1119" y="57"/>
                  <a:pt x="1117" y="55"/>
                  <a:pt x="1115" y="55"/>
                </a:cubicBezTo>
                <a:cubicBezTo>
                  <a:pt x="1112" y="55"/>
                  <a:pt x="1110" y="57"/>
                  <a:pt x="1110" y="59"/>
                </a:cubicBezTo>
                <a:cubicBezTo>
                  <a:pt x="1110" y="62"/>
                  <a:pt x="1112" y="64"/>
                  <a:pt x="1115" y="64"/>
                </a:cubicBezTo>
                <a:close/>
                <a:moveTo>
                  <a:pt x="1117" y="73"/>
                </a:moveTo>
                <a:cubicBezTo>
                  <a:pt x="1117" y="75"/>
                  <a:pt x="1119" y="77"/>
                  <a:pt x="1121" y="77"/>
                </a:cubicBezTo>
                <a:cubicBezTo>
                  <a:pt x="1124" y="77"/>
                  <a:pt x="1126" y="75"/>
                  <a:pt x="1126" y="73"/>
                </a:cubicBezTo>
                <a:cubicBezTo>
                  <a:pt x="1126" y="70"/>
                  <a:pt x="1124" y="68"/>
                  <a:pt x="1121" y="68"/>
                </a:cubicBezTo>
                <a:cubicBezTo>
                  <a:pt x="1119" y="68"/>
                  <a:pt x="1117" y="70"/>
                  <a:pt x="1117" y="73"/>
                </a:cubicBezTo>
                <a:close/>
                <a:moveTo>
                  <a:pt x="1042" y="87"/>
                </a:moveTo>
                <a:cubicBezTo>
                  <a:pt x="1042" y="89"/>
                  <a:pt x="1044" y="91"/>
                  <a:pt x="1047" y="91"/>
                </a:cubicBezTo>
                <a:cubicBezTo>
                  <a:pt x="1049" y="91"/>
                  <a:pt x="1051" y="89"/>
                  <a:pt x="1051" y="87"/>
                </a:cubicBezTo>
                <a:cubicBezTo>
                  <a:pt x="1051" y="84"/>
                  <a:pt x="1049" y="82"/>
                  <a:pt x="1047" y="82"/>
                </a:cubicBezTo>
                <a:cubicBezTo>
                  <a:pt x="1044" y="82"/>
                  <a:pt x="1042" y="84"/>
                  <a:pt x="1042" y="87"/>
                </a:cubicBezTo>
                <a:close/>
                <a:moveTo>
                  <a:pt x="1128" y="64"/>
                </a:moveTo>
                <a:cubicBezTo>
                  <a:pt x="1131" y="64"/>
                  <a:pt x="1133" y="62"/>
                  <a:pt x="1133" y="59"/>
                </a:cubicBezTo>
                <a:cubicBezTo>
                  <a:pt x="1133" y="57"/>
                  <a:pt x="1131" y="55"/>
                  <a:pt x="1128" y="55"/>
                </a:cubicBezTo>
                <a:cubicBezTo>
                  <a:pt x="1126" y="55"/>
                  <a:pt x="1124" y="57"/>
                  <a:pt x="1124" y="59"/>
                </a:cubicBezTo>
                <a:cubicBezTo>
                  <a:pt x="1124" y="62"/>
                  <a:pt x="1126" y="64"/>
                  <a:pt x="1128" y="64"/>
                </a:cubicBezTo>
                <a:close/>
                <a:moveTo>
                  <a:pt x="1101" y="91"/>
                </a:moveTo>
                <a:cubicBezTo>
                  <a:pt x="1104" y="91"/>
                  <a:pt x="1106" y="89"/>
                  <a:pt x="1106" y="87"/>
                </a:cubicBezTo>
                <a:cubicBezTo>
                  <a:pt x="1106" y="84"/>
                  <a:pt x="1104" y="82"/>
                  <a:pt x="1101" y="82"/>
                </a:cubicBezTo>
                <a:cubicBezTo>
                  <a:pt x="1099" y="82"/>
                  <a:pt x="1096" y="84"/>
                  <a:pt x="1096" y="87"/>
                </a:cubicBezTo>
                <a:cubicBezTo>
                  <a:pt x="1096" y="89"/>
                  <a:pt x="1099" y="91"/>
                  <a:pt x="1101" y="91"/>
                </a:cubicBezTo>
                <a:close/>
                <a:moveTo>
                  <a:pt x="1103" y="73"/>
                </a:moveTo>
                <a:cubicBezTo>
                  <a:pt x="1103" y="75"/>
                  <a:pt x="1105" y="77"/>
                  <a:pt x="1108" y="77"/>
                </a:cubicBezTo>
                <a:cubicBezTo>
                  <a:pt x="1110" y="77"/>
                  <a:pt x="1112" y="75"/>
                  <a:pt x="1112" y="73"/>
                </a:cubicBezTo>
                <a:cubicBezTo>
                  <a:pt x="1112" y="70"/>
                  <a:pt x="1110" y="68"/>
                  <a:pt x="1108" y="68"/>
                </a:cubicBezTo>
                <a:cubicBezTo>
                  <a:pt x="1105" y="68"/>
                  <a:pt x="1103" y="70"/>
                  <a:pt x="1103" y="73"/>
                </a:cubicBezTo>
                <a:close/>
                <a:moveTo>
                  <a:pt x="1101" y="64"/>
                </a:moveTo>
                <a:cubicBezTo>
                  <a:pt x="1104" y="64"/>
                  <a:pt x="1106" y="62"/>
                  <a:pt x="1106" y="59"/>
                </a:cubicBezTo>
                <a:cubicBezTo>
                  <a:pt x="1106" y="57"/>
                  <a:pt x="1104" y="55"/>
                  <a:pt x="1101" y="55"/>
                </a:cubicBezTo>
                <a:cubicBezTo>
                  <a:pt x="1099" y="55"/>
                  <a:pt x="1096" y="57"/>
                  <a:pt x="1096" y="59"/>
                </a:cubicBezTo>
                <a:cubicBezTo>
                  <a:pt x="1096" y="62"/>
                  <a:pt x="1099" y="64"/>
                  <a:pt x="1101" y="64"/>
                </a:cubicBezTo>
                <a:close/>
                <a:moveTo>
                  <a:pt x="1015" y="87"/>
                </a:moveTo>
                <a:cubicBezTo>
                  <a:pt x="1015" y="89"/>
                  <a:pt x="1017" y="91"/>
                  <a:pt x="1019" y="91"/>
                </a:cubicBezTo>
                <a:cubicBezTo>
                  <a:pt x="1022" y="91"/>
                  <a:pt x="1024" y="89"/>
                  <a:pt x="1024" y="87"/>
                </a:cubicBezTo>
                <a:cubicBezTo>
                  <a:pt x="1024" y="84"/>
                  <a:pt x="1022" y="82"/>
                  <a:pt x="1019" y="82"/>
                </a:cubicBezTo>
                <a:cubicBezTo>
                  <a:pt x="1017" y="82"/>
                  <a:pt x="1015" y="84"/>
                  <a:pt x="1015" y="87"/>
                </a:cubicBezTo>
                <a:close/>
                <a:moveTo>
                  <a:pt x="978" y="37"/>
                </a:moveTo>
                <a:cubicBezTo>
                  <a:pt x="981" y="37"/>
                  <a:pt x="983" y="34"/>
                  <a:pt x="983" y="32"/>
                </a:cubicBezTo>
                <a:cubicBezTo>
                  <a:pt x="983" y="29"/>
                  <a:pt x="981" y="27"/>
                  <a:pt x="978" y="27"/>
                </a:cubicBezTo>
                <a:cubicBezTo>
                  <a:pt x="976" y="27"/>
                  <a:pt x="974" y="29"/>
                  <a:pt x="974" y="32"/>
                </a:cubicBezTo>
                <a:cubicBezTo>
                  <a:pt x="974" y="34"/>
                  <a:pt x="976" y="37"/>
                  <a:pt x="978" y="37"/>
                </a:cubicBezTo>
                <a:close/>
                <a:moveTo>
                  <a:pt x="981" y="46"/>
                </a:moveTo>
                <a:cubicBezTo>
                  <a:pt x="981" y="48"/>
                  <a:pt x="983" y="50"/>
                  <a:pt x="985" y="50"/>
                </a:cubicBezTo>
                <a:cubicBezTo>
                  <a:pt x="988" y="50"/>
                  <a:pt x="990" y="48"/>
                  <a:pt x="990" y="46"/>
                </a:cubicBezTo>
                <a:cubicBezTo>
                  <a:pt x="990" y="43"/>
                  <a:pt x="988" y="41"/>
                  <a:pt x="985" y="41"/>
                </a:cubicBezTo>
                <a:cubicBezTo>
                  <a:pt x="983" y="41"/>
                  <a:pt x="981" y="43"/>
                  <a:pt x="981" y="46"/>
                </a:cubicBezTo>
                <a:close/>
                <a:moveTo>
                  <a:pt x="967" y="46"/>
                </a:moveTo>
                <a:cubicBezTo>
                  <a:pt x="967" y="48"/>
                  <a:pt x="969" y="50"/>
                  <a:pt x="972" y="50"/>
                </a:cubicBezTo>
                <a:cubicBezTo>
                  <a:pt x="974" y="50"/>
                  <a:pt x="976" y="48"/>
                  <a:pt x="976" y="46"/>
                </a:cubicBezTo>
                <a:cubicBezTo>
                  <a:pt x="976" y="43"/>
                  <a:pt x="974" y="41"/>
                  <a:pt x="972" y="41"/>
                </a:cubicBezTo>
                <a:cubicBezTo>
                  <a:pt x="969" y="41"/>
                  <a:pt x="967" y="43"/>
                  <a:pt x="967" y="46"/>
                </a:cubicBezTo>
                <a:close/>
                <a:moveTo>
                  <a:pt x="954" y="18"/>
                </a:moveTo>
                <a:cubicBezTo>
                  <a:pt x="954" y="21"/>
                  <a:pt x="956" y="23"/>
                  <a:pt x="958" y="23"/>
                </a:cubicBezTo>
                <a:cubicBezTo>
                  <a:pt x="961" y="23"/>
                  <a:pt x="963" y="21"/>
                  <a:pt x="963" y="18"/>
                </a:cubicBezTo>
                <a:cubicBezTo>
                  <a:pt x="963" y="16"/>
                  <a:pt x="961" y="14"/>
                  <a:pt x="958" y="14"/>
                </a:cubicBezTo>
                <a:cubicBezTo>
                  <a:pt x="956" y="14"/>
                  <a:pt x="954" y="16"/>
                  <a:pt x="954" y="18"/>
                </a:cubicBezTo>
                <a:close/>
                <a:moveTo>
                  <a:pt x="988" y="59"/>
                </a:moveTo>
                <a:cubicBezTo>
                  <a:pt x="988" y="62"/>
                  <a:pt x="990" y="64"/>
                  <a:pt x="992" y="64"/>
                </a:cubicBezTo>
                <a:cubicBezTo>
                  <a:pt x="995" y="64"/>
                  <a:pt x="997" y="62"/>
                  <a:pt x="997" y="59"/>
                </a:cubicBezTo>
                <a:cubicBezTo>
                  <a:pt x="997" y="57"/>
                  <a:pt x="995" y="55"/>
                  <a:pt x="992" y="55"/>
                </a:cubicBezTo>
                <a:cubicBezTo>
                  <a:pt x="990" y="55"/>
                  <a:pt x="988" y="57"/>
                  <a:pt x="988" y="59"/>
                </a:cubicBezTo>
                <a:close/>
                <a:moveTo>
                  <a:pt x="960" y="32"/>
                </a:moveTo>
                <a:cubicBezTo>
                  <a:pt x="960" y="34"/>
                  <a:pt x="962" y="37"/>
                  <a:pt x="965" y="37"/>
                </a:cubicBezTo>
                <a:cubicBezTo>
                  <a:pt x="967" y="37"/>
                  <a:pt x="969" y="34"/>
                  <a:pt x="969" y="32"/>
                </a:cubicBezTo>
                <a:cubicBezTo>
                  <a:pt x="969" y="29"/>
                  <a:pt x="967" y="27"/>
                  <a:pt x="965" y="27"/>
                </a:cubicBezTo>
                <a:cubicBezTo>
                  <a:pt x="962" y="27"/>
                  <a:pt x="960" y="29"/>
                  <a:pt x="960" y="32"/>
                </a:cubicBezTo>
                <a:close/>
                <a:moveTo>
                  <a:pt x="1001" y="59"/>
                </a:moveTo>
                <a:cubicBezTo>
                  <a:pt x="1001" y="62"/>
                  <a:pt x="1003" y="64"/>
                  <a:pt x="1006" y="64"/>
                </a:cubicBezTo>
                <a:cubicBezTo>
                  <a:pt x="1008" y="64"/>
                  <a:pt x="1010" y="62"/>
                  <a:pt x="1010" y="59"/>
                </a:cubicBezTo>
                <a:cubicBezTo>
                  <a:pt x="1010" y="57"/>
                  <a:pt x="1008" y="55"/>
                  <a:pt x="1006" y="55"/>
                </a:cubicBezTo>
                <a:cubicBezTo>
                  <a:pt x="1003" y="55"/>
                  <a:pt x="1001" y="57"/>
                  <a:pt x="1001" y="59"/>
                </a:cubicBezTo>
                <a:close/>
                <a:moveTo>
                  <a:pt x="1026" y="77"/>
                </a:moveTo>
                <a:cubicBezTo>
                  <a:pt x="1029" y="77"/>
                  <a:pt x="1031" y="75"/>
                  <a:pt x="1031" y="73"/>
                </a:cubicBezTo>
                <a:cubicBezTo>
                  <a:pt x="1031" y="70"/>
                  <a:pt x="1029" y="68"/>
                  <a:pt x="1026" y="68"/>
                </a:cubicBezTo>
                <a:cubicBezTo>
                  <a:pt x="1024" y="68"/>
                  <a:pt x="1022" y="70"/>
                  <a:pt x="1022" y="73"/>
                </a:cubicBezTo>
                <a:cubicBezTo>
                  <a:pt x="1022" y="75"/>
                  <a:pt x="1024" y="77"/>
                  <a:pt x="1026" y="77"/>
                </a:cubicBezTo>
                <a:close/>
                <a:moveTo>
                  <a:pt x="1028" y="87"/>
                </a:moveTo>
                <a:cubicBezTo>
                  <a:pt x="1028" y="89"/>
                  <a:pt x="1030" y="91"/>
                  <a:pt x="1033" y="91"/>
                </a:cubicBezTo>
                <a:cubicBezTo>
                  <a:pt x="1035" y="91"/>
                  <a:pt x="1037" y="89"/>
                  <a:pt x="1037" y="87"/>
                </a:cubicBezTo>
                <a:cubicBezTo>
                  <a:pt x="1037" y="84"/>
                  <a:pt x="1035" y="82"/>
                  <a:pt x="1033" y="82"/>
                </a:cubicBezTo>
                <a:cubicBezTo>
                  <a:pt x="1030" y="82"/>
                  <a:pt x="1028" y="84"/>
                  <a:pt x="1028" y="87"/>
                </a:cubicBezTo>
                <a:close/>
                <a:moveTo>
                  <a:pt x="951" y="9"/>
                </a:moveTo>
                <a:cubicBezTo>
                  <a:pt x="954" y="9"/>
                  <a:pt x="956" y="7"/>
                  <a:pt x="956" y="5"/>
                </a:cubicBezTo>
                <a:cubicBezTo>
                  <a:pt x="956" y="2"/>
                  <a:pt x="954" y="0"/>
                  <a:pt x="951" y="0"/>
                </a:cubicBezTo>
                <a:cubicBezTo>
                  <a:pt x="949" y="0"/>
                  <a:pt x="947" y="2"/>
                  <a:pt x="947" y="5"/>
                </a:cubicBezTo>
                <a:cubicBezTo>
                  <a:pt x="947" y="7"/>
                  <a:pt x="949" y="9"/>
                  <a:pt x="951" y="9"/>
                </a:cubicBezTo>
                <a:close/>
                <a:moveTo>
                  <a:pt x="1040" y="77"/>
                </a:moveTo>
                <a:cubicBezTo>
                  <a:pt x="1042" y="77"/>
                  <a:pt x="1044" y="75"/>
                  <a:pt x="1044" y="73"/>
                </a:cubicBezTo>
                <a:cubicBezTo>
                  <a:pt x="1044" y="70"/>
                  <a:pt x="1042" y="68"/>
                  <a:pt x="1040" y="68"/>
                </a:cubicBezTo>
                <a:cubicBezTo>
                  <a:pt x="1037" y="68"/>
                  <a:pt x="1035" y="70"/>
                  <a:pt x="1035" y="73"/>
                </a:cubicBezTo>
                <a:cubicBezTo>
                  <a:pt x="1035" y="75"/>
                  <a:pt x="1037" y="77"/>
                  <a:pt x="1040" y="77"/>
                </a:cubicBezTo>
                <a:close/>
                <a:moveTo>
                  <a:pt x="1008" y="73"/>
                </a:moveTo>
                <a:cubicBezTo>
                  <a:pt x="1008" y="75"/>
                  <a:pt x="1010" y="77"/>
                  <a:pt x="1013" y="77"/>
                </a:cubicBezTo>
                <a:cubicBezTo>
                  <a:pt x="1015" y="77"/>
                  <a:pt x="1017" y="75"/>
                  <a:pt x="1017" y="73"/>
                </a:cubicBezTo>
                <a:cubicBezTo>
                  <a:pt x="1017" y="70"/>
                  <a:pt x="1015" y="68"/>
                  <a:pt x="1013" y="68"/>
                </a:cubicBezTo>
                <a:cubicBezTo>
                  <a:pt x="1010" y="68"/>
                  <a:pt x="1008" y="70"/>
                  <a:pt x="1008" y="73"/>
                </a:cubicBezTo>
                <a:close/>
                <a:moveTo>
                  <a:pt x="999" y="50"/>
                </a:moveTo>
                <a:cubicBezTo>
                  <a:pt x="1001" y="50"/>
                  <a:pt x="1003" y="48"/>
                  <a:pt x="1003" y="46"/>
                </a:cubicBezTo>
                <a:cubicBezTo>
                  <a:pt x="1003" y="43"/>
                  <a:pt x="1001" y="41"/>
                  <a:pt x="999" y="41"/>
                </a:cubicBezTo>
                <a:cubicBezTo>
                  <a:pt x="996" y="41"/>
                  <a:pt x="994" y="43"/>
                  <a:pt x="994" y="46"/>
                </a:cubicBezTo>
                <a:cubicBezTo>
                  <a:pt x="994" y="48"/>
                  <a:pt x="996" y="50"/>
                  <a:pt x="999" y="50"/>
                </a:cubicBezTo>
                <a:close/>
                <a:moveTo>
                  <a:pt x="924" y="64"/>
                </a:moveTo>
                <a:cubicBezTo>
                  <a:pt x="926" y="64"/>
                  <a:pt x="929" y="62"/>
                  <a:pt x="929" y="59"/>
                </a:cubicBezTo>
                <a:cubicBezTo>
                  <a:pt x="929" y="57"/>
                  <a:pt x="926" y="55"/>
                  <a:pt x="924" y="55"/>
                </a:cubicBezTo>
                <a:cubicBezTo>
                  <a:pt x="921" y="55"/>
                  <a:pt x="919" y="57"/>
                  <a:pt x="919" y="59"/>
                </a:cubicBezTo>
                <a:cubicBezTo>
                  <a:pt x="919" y="62"/>
                  <a:pt x="921" y="64"/>
                  <a:pt x="924" y="64"/>
                </a:cubicBezTo>
                <a:close/>
                <a:moveTo>
                  <a:pt x="447" y="473"/>
                </a:moveTo>
                <a:cubicBezTo>
                  <a:pt x="450" y="473"/>
                  <a:pt x="452" y="471"/>
                  <a:pt x="452" y="468"/>
                </a:cubicBezTo>
                <a:cubicBezTo>
                  <a:pt x="452" y="466"/>
                  <a:pt x="450" y="464"/>
                  <a:pt x="447" y="464"/>
                </a:cubicBezTo>
                <a:cubicBezTo>
                  <a:pt x="445" y="464"/>
                  <a:pt x="443" y="466"/>
                  <a:pt x="443" y="468"/>
                </a:cubicBezTo>
                <a:cubicBezTo>
                  <a:pt x="443" y="471"/>
                  <a:pt x="445" y="473"/>
                  <a:pt x="447" y="473"/>
                </a:cubicBezTo>
                <a:close/>
                <a:moveTo>
                  <a:pt x="445" y="155"/>
                </a:moveTo>
                <a:cubicBezTo>
                  <a:pt x="445" y="152"/>
                  <a:pt x="443" y="150"/>
                  <a:pt x="441" y="150"/>
                </a:cubicBezTo>
                <a:cubicBezTo>
                  <a:pt x="438" y="150"/>
                  <a:pt x="436" y="152"/>
                  <a:pt x="436" y="155"/>
                </a:cubicBezTo>
                <a:cubicBezTo>
                  <a:pt x="436" y="157"/>
                  <a:pt x="438" y="159"/>
                  <a:pt x="441" y="159"/>
                </a:cubicBezTo>
                <a:cubicBezTo>
                  <a:pt x="443" y="159"/>
                  <a:pt x="445" y="157"/>
                  <a:pt x="445" y="155"/>
                </a:cubicBezTo>
                <a:close/>
                <a:moveTo>
                  <a:pt x="438" y="468"/>
                </a:moveTo>
                <a:cubicBezTo>
                  <a:pt x="438" y="466"/>
                  <a:pt x="436" y="464"/>
                  <a:pt x="434" y="464"/>
                </a:cubicBezTo>
                <a:cubicBezTo>
                  <a:pt x="431" y="464"/>
                  <a:pt x="429" y="466"/>
                  <a:pt x="429" y="468"/>
                </a:cubicBezTo>
                <a:cubicBezTo>
                  <a:pt x="429" y="471"/>
                  <a:pt x="431" y="473"/>
                  <a:pt x="434" y="473"/>
                </a:cubicBezTo>
                <a:cubicBezTo>
                  <a:pt x="436" y="473"/>
                  <a:pt x="438" y="471"/>
                  <a:pt x="438" y="468"/>
                </a:cubicBezTo>
                <a:close/>
                <a:moveTo>
                  <a:pt x="431" y="482"/>
                </a:moveTo>
                <a:cubicBezTo>
                  <a:pt x="431" y="480"/>
                  <a:pt x="429" y="478"/>
                  <a:pt x="427" y="478"/>
                </a:cubicBezTo>
                <a:cubicBezTo>
                  <a:pt x="424" y="478"/>
                  <a:pt x="422" y="480"/>
                  <a:pt x="422" y="482"/>
                </a:cubicBezTo>
                <a:cubicBezTo>
                  <a:pt x="422" y="485"/>
                  <a:pt x="424" y="487"/>
                  <a:pt x="427" y="487"/>
                </a:cubicBezTo>
                <a:cubicBezTo>
                  <a:pt x="429" y="487"/>
                  <a:pt x="431" y="485"/>
                  <a:pt x="431" y="482"/>
                </a:cubicBezTo>
                <a:close/>
                <a:moveTo>
                  <a:pt x="459" y="155"/>
                </a:moveTo>
                <a:cubicBezTo>
                  <a:pt x="459" y="152"/>
                  <a:pt x="457" y="150"/>
                  <a:pt x="454" y="150"/>
                </a:cubicBezTo>
                <a:cubicBezTo>
                  <a:pt x="452" y="150"/>
                  <a:pt x="450" y="152"/>
                  <a:pt x="450" y="155"/>
                </a:cubicBezTo>
                <a:cubicBezTo>
                  <a:pt x="450" y="157"/>
                  <a:pt x="452" y="159"/>
                  <a:pt x="454" y="159"/>
                </a:cubicBezTo>
                <a:cubicBezTo>
                  <a:pt x="457" y="159"/>
                  <a:pt x="459" y="157"/>
                  <a:pt x="459" y="155"/>
                </a:cubicBezTo>
                <a:close/>
                <a:moveTo>
                  <a:pt x="459" y="100"/>
                </a:moveTo>
                <a:cubicBezTo>
                  <a:pt x="459" y="98"/>
                  <a:pt x="457" y="96"/>
                  <a:pt x="454" y="96"/>
                </a:cubicBezTo>
                <a:cubicBezTo>
                  <a:pt x="452" y="96"/>
                  <a:pt x="450" y="98"/>
                  <a:pt x="450" y="100"/>
                </a:cubicBezTo>
                <a:cubicBezTo>
                  <a:pt x="450" y="103"/>
                  <a:pt x="452" y="105"/>
                  <a:pt x="454" y="105"/>
                </a:cubicBezTo>
                <a:cubicBezTo>
                  <a:pt x="457" y="105"/>
                  <a:pt x="459" y="103"/>
                  <a:pt x="459" y="100"/>
                </a:cubicBezTo>
                <a:close/>
                <a:moveTo>
                  <a:pt x="361" y="141"/>
                </a:moveTo>
                <a:cubicBezTo>
                  <a:pt x="361" y="144"/>
                  <a:pt x="363" y="146"/>
                  <a:pt x="366" y="146"/>
                </a:cubicBezTo>
                <a:cubicBezTo>
                  <a:pt x="368" y="146"/>
                  <a:pt x="370" y="144"/>
                  <a:pt x="370" y="141"/>
                </a:cubicBezTo>
                <a:cubicBezTo>
                  <a:pt x="370" y="139"/>
                  <a:pt x="368" y="137"/>
                  <a:pt x="366" y="137"/>
                </a:cubicBezTo>
                <a:cubicBezTo>
                  <a:pt x="363" y="137"/>
                  <a:pt x="361" y="139"/>
                  <a:pt x="361" y="141"/>
                </a:cubicBezTo>
                <a:close/>
                <a:moveTo>
                  <a:pt x="418" y="509"/>
                </a:moveTo>
                <a:cubicBezTo>
                  <a:pt x="418" y="507"/>
                  <a:pt x="416" y="505"/>
                  <a:pt x="413" y="505"/>
                </a:cubicBezTo>
                <a:cubicBezTo>
                  <a:pt x="411" y="505"/>
                  <a:pt x="409" y="507"/>
                  <a:pt x="409" y="509"/>
                </a:cubicBezTo>
                <a:cubicBezTo>
                  <a:pt x="409" y="512"/>
                  <a:pt x="411" y="514"/>
                  <a:pt x="413" y="514"/>
                </a:cubicBezTo>
                <a:cubicBezTo>
                  <a:pt x="416" y="514"/>
                  <a:pt x="418" y="512"/>
                  <a:pt x="418" y="509"/>
                </a:cubicBezTo>
                <a:close/>
                <a:moveTo>
                  <a:pt x="397" y="523"/>
                </a:moveTo>
                <a:cubicBezTo>
                  <a:pt x="397" y="521"/>
                  <a:pt x="395" y="519"/>
                  <a:pt x="393" y="519"/>
                </a:cubicBezTo>
                <a:cubicBezTo>
                  <a:pt x="390" y="519"/>
                  <a:pt x="388" y="521"/>
                  <a:pt x="388" y="523"/>
                </a:cubicBezTo>
                <a:cubicBezTo>
                  <a:pt x="388" y="526"/>
                  <a:pt x="390" y="528"/>
                  <a:pt x="393" y="528"/>
                </a:cubicBezTo>
                <a:cubicBezTo>
                  <a:pt x="395" y="528"/>
                  <a:pt x="397" y="526"/>
                  <a:pt x="397" y="523"/>
                </a:cubicBezTo>
                <a:close/>
                <a:moveTo>
                  <a:pt x="404" y="509"/>
                </a:moveTo>
                <a:cubicBezTo>
                  <a:pt x="404" y="507"/>
                  <a:pt x="402" y="505"/>
                  <a:pt x="400" y="505"/>
                </a:cubicBezTo>
                <a:cubicBezTo>
                  <a:pt x="397" y="505"/>
                  <a:pt x="395" y="507"/>
                  <a:pt x="395" y="509"/>
                </a:cubicBezTo>
                <a:cubicBezTo>
                  <a:pt x="395" y="512"/>
                  <a:pt x="397" y="514"/>
                  <a:pt x="400" y="514"/>
                </a:cubicBezTo>
                <a:cubicBezTo>
                  <a:pt x="402" y="514"/>
                  <a:pt x="404" y="512"/>
                  <a:pt x="404" y="509"/>
                </a:cubicBezTo>
                <a:close/>
                <a:moveTo>
                  <a:pt x="391" y="537"/>
                </a:moveTo>
                <a:cubicBezTo>
                  <a:pt x="391" y="534"/>
                  <a:pt x="389" y="532"/>
                  <a:pt x="386" y="532"/>
                </a:cubicBezTo>
                <a:cubicBezTo>
                  <a:pt x="384" y="532"/>
                  <a:pt x="381" y="534"/>
                  <a:pt x="381" y="537"/>
                </a:cubicBezTo>
                <a:cubicBezTo>
                  <a:pt x="381" y="539"/>
                  <a:pt x="384" y="541"/>
                  <a:pt x="386" y="541"/>
                </a:cubicBezTo>
                <a:cubicBezTo>
                  <a:pt x="389" y="541"/>
                  <a:pt x="391" y="539"/>
                  <a:pt x="391" y="537"/>
                </a:cubicBezTo>
                <a:close/>
                <a:moveTo>
                  <a:pt x="406" y="528"/>
                </a:moveTo>
                <a:cubicBezTo>
                  <a:pt x="409" y="528"/>
                  <a:pt x="411" y="526"/>
                  <a:pt x="411" y="523"/>
                </a:cubicBezTo>
                <a:cubicBezTo>
                  <a:pt x="411" y="521"/>
                  <a:pt x="409" y="519"/>
                  <a:pt x="406" y="519"/>
                </a:cubicBezTo>
                <a:cubicBezTo>
                  <a:pt x="404" y="519"/>
                  <a:pt x="402" y="521"/>
                  <a:pt x="402" y="523"/>
                </a:cubicBezTo>
                <a:cubicBezTo>
                  <a:pt x="402" y="526"/>
                  <a:pt x="404" y="528"/>
                  <a:pt x="406" y="528"/>
                </a:cubicBezTo>
                <a:close/>
                <a:moveTo>
                  <a:pt x="447" y="55"/>
                </a:moveTo>
                <a:cubicBezTo>
                  <a:pt x="445" y="55"/>
                  <a:pt x="443" y="57"/>
                  <a:pt x="443" y="59"/>
                </a:cubicBezTo>
                <a:cubicBezTo>
                  <a:pt x="443" y="62"/>
                  <a:pt x="445" y="64"/>
                  <a:pt x="447" y="64"/>
                </a:cubicBezTo>
                <a:cubicBezTo>
                  <a:pt x="450" y="64"/>
                  <a:pt x="452" y="62"/>
                  <a:pt x="452" y="59"/>
                </a:cubicBezTo>
                <a:cubicBezTo>
                  <a:pt x="452" y="57"/>
                  <a:pt x="450" y="55"/>
                  <a:pt x="447" y="55"/>
                </a:cubicBezTo>
                <a:close/>
                <a:moveTo>
                  <a:pt x="425" y="496"/>
                </a:moveTo>
                <a:cubicBezTo>
                  <a:pt x="425" y="493"/>
                  <a:pt x="423" y="491"/>
                  <a:pt x="420" y="491"/>
                </a:cubicBezTo>
                <a:cubicBezTo>
                  <a:pt x="418" y="491"/>
                  <a:pt x="416" y="493"/>
                  <a:pt x="416" y="496"/>
                </a:cubicBezTo>
                <a:cubicBezTo>
                  <a:pt x="416" y="498"/>
                  <a:pt x="418" y="500"/>
                  <a:pt x="420" y="500"/>
                </a:cubicBezTo>
                <a:cubicBezTo>
                  <a:pt x="423" y="500"/>
                  <a:pt x="425" y="498"/>
                  <a:pt x="425" y="496"/>
                </a:cubicBezTo>
                <a:close/>
                <a:moveTo>
                  <a:pt x="375" y="223"/>
                </a:moveTo>
                <a:cubicBezTo>
                  <a:pt x="375" y="225"/>
                  <a:pt x="377" y="227"/>
                  <a:pt x="379" y="227"/>
                </a:cubicBezTo>
                <a:cubicBezTo>
                  <a:pt x="382" y="227"/>
                  <a:pt x="384" y="225"/>
                  <a:pt x="384" y="223"/>
                </a:cubicBezTo>
                <a:cubicBezTo>
                  <a:pt x="384" y="220"/>
                  <a:pt x="382" y="218"/>
                  <a:pt x="379" y="218"/>
                </a:cubicBezTo>
                <a:cubicBezTo>
                  <a:pt x="377" y="218"/>
                  <a:pt x="375" y="220"/>
                  <a:pt x="375" y="223"/>
                </a:cubicBezTo>
                <a:close/>
                <a:moveTo>
                  <a:pt x="384" y="550"/>
                </a:moveTo>
                <a:cubicBezTo>
                  <a:pt x="384" y="548"/>
                  <a:pt x="382" y="546"/>
                  <a:pt x="379" y="546"/>
                </a:cubicBezTo>
                <a:cubicBezTo>
                  <a:pt x="377" y="546"/>
                  <a:pt x="375" y="548"/>
                  <a:pt x="375" y="550"/>
                </a:cubicBezTo>
                <a:cubicBezTo>
                  <a:pt x="375" y="553"/>
                  <a:pt x="377" y="555"/>
                  <a:pt x="379" y="555"/>
                </a:cubicBezTo>
                <a:cubicBezTo>
                  <a:pt x="382" y="555"/>
                  <a:pt x="384" y="553"/>
                  <a:pt x="384" y="550"/>
                </a:cubicBezTo>
                <a:close/>
                <a:moveTo>
                  <a:pt x="372" y="205"/>
                </a:moveTo>
                <a:cubicBezTo>
                  <a:pt x="370" y="205"/>
                  <a:pt x="368" y="207"/>
                  <a:pt x="368" y="209"/>
                </a:cubicBezTo>
                <a:cubicBezTo>
                  <a:pt x="368" y="212"/>
                  <a:pt x="370" y="214"/>
                  <a:pt x="372" y="214"/>
                </a:cubicBezTo>
                <a:cubicBezTo>
                  <a:pt x="375" y="214"/>
                  <a:pt x="377" y="212"/>
                  <a:pt x="377" y="209"/>
                </a:cubicBezTo>
                <a:cubicBezTo>
                  <a:pt x="377" y="207"/>
                  <a:pt x="375" y="205"/>
                  <a:pt x="372" y="205"/>
                </a:cubicBezTo>
                <a:close/>
                <a:moveTo>
                  <a:pt x="436" y="73"/>
                </a:moveTo>
                <a:cubicBezTo>
                  <a:pt x="436" y="75"/>
                  <a:pt x="438" y="77"/>
                  <a:pt x="441" y="77"/>
                </a:cubicBezTo>
                <a:cubicBezTo>
                  <a:pt x="443" y="77"/>
                  <a:pt x="445" y="75"/>
                  <a:pt x="445" y="73"/>
                </a:cubicBezTo>
                <a:cubicBezTo>
                  <a:pt x="445" y="70"/>
                  <a:pt x="443" y="68"/>
                  <a:pt x="441" y="68"/>
                </a:cubicBezTo>
                <a:cubicBezTo>
                  <a:pt x="438" y="68"/>
                  <a:pt x="436" y="70"/>
                  <a:pt x="436" y="73"/>
                </a:cubicBezTo>
                <a:close/>
                <a:moveTo>
                  <a:pt x="372" y="123"/>
                </a:moveTo>
                <a:cubicBezTo>
                  <a:pt x="370" y="123"/>
                  <a:pt x="368" y="125"/>
                  <a:pt x="368" y="127"/>
                </a:cubicBezTo>
                <a:cubicBezTo>
                  <a:pt x="368" y="130"/>
                  <a:pt x="370" y="132"/>
                  <a:pt x="372" y="132"/>
                </a:cubicBezTo>
                <a:cubicBezTo>
                  <a:pt x="375" y="132"/>
                  <a:pt x="377" y="130"/>
                  <a:pt x="377" y="127"/>
                </a:cubicBezTo>
                <a:cubicBezTo>
                  <a:pt x="377" y="125"/>
                  <a:pt x="375" y="123"/>
                  <a:pt x="372" y="123"/>
                </a:cubicBezTo>
                <a:close/>
                <a:moveTo>
                  <a:pt x="388" y="196"/>
                </a:moveTo>
                <a:cubicBezTo>
                  <a:pt x="388" y="198"/>
                  <a:pt x="390" y="200"/>
                  <a:pt x="393" y="200"/>
                </a:cubicBezTo>
                <a:cubicBezTo>
                  <a:pt x="395" y="200"/>
                  <a:pt x="397" y="198"/>
                  <a:pt x="397" y="196"/>
                </a:cubicBezTo>
                <a:cubicBezTo>
                  <a:pt x="397" y="193"/>
                  <a:pt x="395" y="191"/>
                  <a:pt x="393" y="191"/>
                </a:cubicBezTo>
                <a:cubicBezTo>
                  <a:pt x="390" y="191"/>
                  <a:pt x="388" y="193"/>
                  <a:pt x="388" y="196"/>
                </a:cubicBezTo>
                <a:close/>
                <a:moveTo>
                  <a:pt x="377" y="182"/>
                </a:moveTo>
                <a:cubicBezTo>
                  <a:pt x="377" y="179"/>
                  <a:pt x="375" y="177"/>
                  <a:pt x="372" y="177"/>
                </a:cubicBezTo>
                <a:cubicBezTo>
                  <a:pt x="370" y="177"/>
                  <a:pt x="368" y="179"/>
                  <a:pt x="368" y="182"/>
                </a:cubicBezTo>
                <a:cubicBezTo>
                  <a:pt x="368" y="185"/>
                  <a:pt x="370" y="187"/>
                  <a:pt x="372" y="187"/>
                </a:cubicBezTo>
                <a:cubicBezTo>
                  <a:pt x="375" y="187"/>
                  <a:pt x="377" y="185"/>
                  <a:pt x="377" y="182"/>
                </a:cubicBezTo>
                <a:close/>
                <a:moveTo>
                  <a:pt x="381" y="209"/>
                </a:moveTo>
                <a:cubicBezTo>
                  <a:pt x="381" y="212"/>
                  <a:pt x="384" y="214"/>
                  <a:pt x="386" y="214"/>
                </a:cubicBezTo>
                <a:cubicBezTo>
                  <a:pt x="389" y="214"/>
                  <a:pt x="391" y="212"/>
                  <a:pt x="391" y="209"/>
                </a:cubicBezTo>
                <a:cubicBezTo>
                  <a:pt x="391" y="207"/>
                  <a:pt x="389" y="205"/>
                  <a:pt x="386" y="205"/>
                </a:cubicBezTo>
                <a:cubicBezTo>
                  <a:pt x="384" y="205"/>
                  <a:pt x="381" y="207"/>
                  <a:pt x="381" y="209"/>
                </a:cubicBezTo>
                <a:close/>
                <a:moveTo>
                  <a:pt x="416" y="87"/>
                </a:moveTo>
                <a:cubicBezTo>
                  <a:pt x="416" y="89"/>
                  <a:pt x="418" y="91"/>
                  <a:pt x="420" y="91"/>
                </a:cubicBezTo>
                <a:cubicBezTo>
                  <a:pt x="423" y="91"/>
                  <a:pt x="425" y="89"/>
                  <a:pt x="425" y="87"/>
                </a:cubicBezTo>
                <a:cubicBezTo>
                  <a:pt x="425" y="84"/>
                  <a:pt x="423" y="82"/>
                  <a:pt x="420" y="82"/>
                </a:cubicBezTo>
                <a:cubicBezTo>
                  <a:pt x="418" y="82"/>
                  <a:pt x="416" y="84"/>
                  <a:pt x="416" y="87"/>
                </a:cubicBezTo>
                <a:close/>
                <a:moveTo>
                  <a:pt x="422" y="73"/>
                </a:moveTo>
                <a:cubicBezTo>
                  <a:pt x="422" y="75"/>
                  <a:pt x="424" y="77"/>
                  <a:pt x="427" y="77"/>
                </a:cubicBezTo>
                <a:cubicBezTo>
                  <a:pt x="429" y="77"/>
                  <a:pt x="431" y="75"/>
                  <a:pt x="431" y="73"/>
                </a:cubicBezTo>
                <a:cubicBezTo>
                  <a:pt x="431" y="70"/>
                  <a:pt x="429" y="68"/>
                  <a:pt x="427" y="68"/>
                </a:cubicBezTo>
                <a:cubicBezTo>
                  <a:pt x="424" y="68"/>
                  <a:pt x="422" y="70"/>
                  <a:pt x="422" y="73"/>
                </a:cubicBezTo>
                <a:close/>
                <a:moveTo>
                  <a:pt x="434" y="55"/>
                </a:moveTo>
                <a:cubicBezTo>
                  <a:pt x="431" y="55"/>
                  <a:pt x="429" y="57"/>
                  <a:pt x="429" y="59"/>
                </a:cubicBezTo>
                <a:cubicBezTo>
                  <a:pt x="429" y="62"/>
                  <a:pt x="431" y="64"/>
                  <a:pt x="434" y="64"/>
                </a:cubicBezTo>
                <a:cubicBezTo>
                  <a:pt x="436" y="64"/>
                  <a:pt x="438" y="62"/>
                  <a:pt x="438" y="59"/>
                </a:cubicBezTo>
                <a:cubicBezTo>
                  <a:pt x="438" y="57"/>
                  <a:pt x="436" y="55"/>
                  <a:pt x="434" y="55"/>
                </a:cubicBezTo>
                <a:close/>
                <a:moveTo>
                  <a:pt x="402" y="87"/>
                </a:moveTo>
                <a:cubicBezTo>
                  <a:pt x="402" y="89"/>
                  <a:pt x="404" y="91"/>
                  <a:pt x="406" y="91"/>
                </a:cubicBezTo>
                <a:cubicBezTo>
                  <a:pt x="409" y="91"/>
                  <a:pt x="411" y="89"/>
                  <a:pt x="411" y="87"/>
                </a:cubicBezTo>
                <a:cubicBezTo>
                  <a:pt x="411" y="84"/>
                  <a:pt x="409" y="82"/>
                  <a:pt x="406" y="82"/>
                </a:cubicBezTo>
                <a:cubicBezTo>
                  <a:pt x="404" y="82"/>
                  <a:pt x="402" y="84"/>
                  <a:pt x="402" y="87"/>
                </a:cubicBezTo>
                <a:close/>
                <a:moveTo>
                  <a:pt x="413" y="68"/>
                </a:moveTo>
                <a:cubicBezTo>
                  <a:pt x="411" y="68"/>
                  <a:pt x="409" y="70"/>
                  <a:pt x="409" y="73"/>
                </a:cubicBezTo>
                <a:cubicBezTo>
                  <a:pt x="409" y="75"/>
                  <a:pt x="411" y="77"/>
                  <a:pt x="413" y="77"/>
                </a:cubicBezTo>
                <a:cubicBezTo>
                  <a:pt x="416" y="77"/>
                  <a:pt x="418" y="75"/>
                  <a:pt x="418" y="73"/>
                </a:cubicBezTo>
                <a:cubicBezTo>
                  <a:pt x="418" y="70"/>
                  <a:pt x="416" y="68"/>
                  <a:pt x="413" y="68"/>
                </a:cubicBezTo>
                <a:close/>
                <a:moveTo>
                  <a:pt x="400" y="68"/>
                </a:moveTo>
                <a:cubicBezTo>
                  <a:pt x="397" y="68"/>
                  <a:pt x="395" y="70"/>
                  <a:pt x="395" y="73"/>
                </a:cubicBezTo>
                <a:cubicBezTo>
                  <a:pt x="395" y="75"/>
                  <a:pt x="397" y="77"/>
                  <a:pt x="400" y="77"/>
                </a:cubicBezTo>
                <a:cubicBezTo>
                  <a:pt x="402" y="77"/>
                  <a:pt x="404" y="75"/>
                  <a:pt x="404" y="73"/>
                </a:cubicBezTo>
                <a:cubicBezTo>
                  <a:pt x="404" y="70"/>
                  <a:pt x="402" y="68"/>
                  <a:pt x="400" y="68"/>
                </a:cubicBezTo>
                <a:close/>
                <a:moveTo>
                  <a:pt x="454" y="123"/>
                </a:moveTo>
                <a:cubicBezTo>
                  <a:pt x="452" y="123"/>
                  <a:pt x="450" y="125"/>
                  <a:pt x="450" y="127"/>
                </a:cubicBezTo>
                <a:cubicBezTo>
                  <a:pt x="450" y="130"/>
                  <a:pt x="452" y="132"/>
                  <a:pt x="454" y="132"/>
                </a:cubicBezTo>
                <a:cubicBezTo>
                  <a:pt x="457" y="132"/>
                  <a:pt x="459" y="130"/>
                  <a:pt x="459" y="127"/>
                </a:cubicBezTo>
                <a:cubicBezTo>
                  <a:pt x="459" y="125"/>
                  <a:pt x="457" y="123"/>
                  <a:pt x="454" y="123"/>
                </a:cubicBezTo>
                <a:close/>
                <a:moveTo>
                  <a:pt x="309" y="209"/>
                </a:moveTo>
                <a:cubicBezTo>
                  <a:pt x="309" y="207"/>
                  <a:pt x="307" y="205"/>
                  <a:pt x="304" y="205"/>
                </a:cubicBezTo>
                <a:cubicBezTo>
                  <a:pt x="302" y="205"/>
                  <a:pt x="300" y="207"/>
                  <a:pt x="300" y="209"/>
                </a:cubicBezTo>
                <a:cubicBezTo>
                  <a:pt x="300" y="212"/>
                  <a:pt x="302" y="214"/>
                  <a:pt x="304" y="214"/>
                </a:cubicBezTo>
                <a:cubicBezTo>
                  <a:pt x="307" y="214"/>
                  <a:pt x="309" y="212"/>
                  <a:pt x="309" y="209"/>
                </a:cubicBezTo>
                <a:close/>
                <a:moveTo>
                  <a:pt x="311" y="255"/>
                </a:moveTo>
                <a:cubicBezTo>
                  <a:pt x="314" y="255"/>
                  <a:pt x="316" y="253"/>
                  <a:pt x="316" y="250"/>
                </a:cubicBezTo>
                <a:cubicBezTo>
                  <a:pt x="316" y="248"/>
                  <a:pt x="314" y="246"/>
                  <a:pt x="311" y="246"/>
                </a:cubicBezTo>
                <a:cubicBezTo>
                  <a:pt x="309" y="246"/>
                  <a:pt x="307" y="248"/>
                  <a:pt x="307" y="250"/>
                </a:cubicBezTo>
                <a:cubicBezTo>
                  <a:pt x="307" y="253"/>
                  <a:pt x="309" y="255"/>
                  <a:pt x="311" y="255"/>
                </a:cubicBezTo>
                <a:close/>
                <a:moveTo>
                  <a:pt x="297" y="218"/>
                </a:moveTo>
                <a:cubicBezTo>
                  <a:pt x="295" y="218"/>
                  <a:pt x="293" y="220"/>
                  <a:pt x="293" y="223"/>
                </a:cubicBezTo>
                <a:cubicBezTo>
                  <a:pt x="293" y="225"/>
                  <a:pt x="295" y="227"/>
                  <a:pt x="297" y="227"/>
                </a:cubicBezTo>
                <a:cubicBezTo>
                  <a:pt x="300" y="227"/>
                  <a:pt x="302" y="225"/>
                  <a:pt x="302" y="223"/>
                </a:cubicBezTo>
                <a:cubicBezTo>
                  <a:pt x="302" y="220"/>
                  <a:pt x="300" y="218"/>
                  <a:pt x="297" y="218"/>
                </a:cubicBezTo>
                <a:close/>
                <a:moveTo>
                  <a:pt x="302" y="250"/>
                </a:moveTo>
                <a:cubicBezTo>
                  <a:pt x="302" y="248"/>
                  <a:pt x="300" y="246"/>
                  <a:pt x="297" y="246"/>
                </a:cubicBezTo>
                <a:cubicBezTo>
                  <a:pt x="295" y="246"/>
                  <a:pt x="293" y="248"/>
                  <a:pt x="293" y="250"/>
                </a:cubicBezTo>
                <a:cubicBezTo>
                  <a:pt x="293" y="253"/>
                  <a:pt x="295" y="255"/>
                  <a:pt x="297" y="255"/>
                </a:cubicBezTo>
                <a:cubicBezTo>
                  <a:pt x="300" y="255"/>
                  <a:pt x="302" y="253"/>
                  <a:pt x="302" y="250"/>
                </a:cubicBezTo>
                <a:close/>
                <a:moveTo>
                  <a:pt x="338" y="418"/>
                </a:moveTo>
                <a:cubicBezTo>
                  <a:pt x="341" y="418"/>
                  <a:pt x="343" y="416"/>
                  <a:pt x="343" y="414"/>
                </a:cubicBezTo>
                <a:cubicBezTo>
                  <a:pt x="343" y="411"/>
                  <a:pt x="341" y="409"/>
                  <a:pt x="338" y="409"/>
                </a:cubicBezTo>
                <a:cubicBezTo>
                  <a:pt x="336" y="409"/>
                  <a:pt x="334" y="411"/>
                  <a:pt x="334" y="414"/>
                </a:cubicBezTo>
                <a:cubicBezTo>
                  <a:pt x="334" y="416"/>
                  <a:pt x="336" y="418"/>
                  <a:pt x="338" y="418"/>
                </a:cubicBezTo>
                <a:close/>
                <a:moveTo>
                  <a:pt x="325" y="282"/>
                </a:moveTo>
                <a:cubicBezTo>
                  <a:pt x="327" y="282"/>
                  <a:pt x="329" y="280"/>
                  <a:pt x="329" y="278"/>
                </a:cubicBezTo>
                <a:cubicBezTo>
                  <a:pt x="329" y="275"/>
                  <a:pt x="327" y="273"/>
                  <a:pt x="325" y="273"/>
                </a:cubicBezTo>
                <a:cubicBezTo>
                  <a:pt x="322" y="273"/>
                  <a:pt x="320" y="275"/>
                  <a:pt x="320" y="278"/>
                </a:cubicBezTo>
                <a:cubicBezTo>
                  <a:pt x="320" y="280"/>
                  <a:pt x="322" y="282"/>
                  <a:pt x="325" y="282"/>
                </a:cubicBezTo>
                <a:close/>
                <a:moveTo>
                  <a:pt x="261" y="223"/>
                </a:moveTo>
                <a:cubicBezTo>
                  <a:pt x="261" y="220"/>
                  <a:pt x="259" y="218"/>
                  <a:pt x="257" y="218"/>
                </a:cubicBezTo>
                <a:cubicBezTo>
                  <a:pt x="254" y="218"/>
                  <a:pt x="252" y="220"/>
                  <a:pt x="252" y="223"/>
                </a:cubicBezTo>
                <a:cubicBezTo>
                  <a:pt x="252" y="225"/>
                  <a:pt x="254" y="227"/>
                  <a:pt x="257" y="227"/>
                </a:cubicBezTo>
                <a:cubicBezTo>
                  <a:pt x="259" y="227"/>
                  <a:pt x="261" y="225"/>
                  <a:pt x="261" y="223"/>
                </a:cubicBezTo>
                <a:close/>
                <a:moveTo>
                  <a:pt x="270" y="255"/>
                </a:moveTo>
                <a:cubicBezTo>
                  <a:pt x="273" y="255"/>
                  <a:pt x="275" y="253"/>
                  <a:pt x="275" y="250"/>
                </a:cubicBezTo>
                <a:cubicBezTo>
                  <a:pt x="275" y="248"/>
                  <a:pt x="273" y="246"/>
                  <a:pt x="270" y="246"/>
                </a:cubicBezTo>
                <a:cubicBezTo>
                  <a:pt x="268" y="246"/>
                  <a:pt x="266" y="248"/>
                  <a:pt x="266" y="250"/>
                </a:cubicBezTo>
                <a:cubicBezTo>
                  <a:pt x="266" y="253"/>
                  <a:pt x="268" y="255"/>
                  <a:pt x="270" y="255"/>
                </a:cubicBezTo>
                <a:close/>
                <a:moveTo>
                  <a:pt x="263" y="241"/>
                </a:moveTo>
                <a:cubicBezTo>
                  <a:pt x="266" y="241"/>
                  <a:pt x="268" y="239"/>
                  <a:pt x="268" y="237"/>
                </a:cubicBezTo>
                <a:cubicBezTo>
                  <a:pt x="268" y="234"/>
                  <a:pt x="266" y="232"/>
                  <a:pt x="263" y="232"/>
                </a:cubicBezTo>
                <a:cubicBezTo>
                  <a:pt x="261" y="232"/>
                  <a:pt x="259" y="234"/>
                  <a:pt x="259" y="237"/>
                </a:cubicBezTo>
                <a:cubicBezTo>
                  <a:pt x="259" y="239"/>
                  <a:pt x="261" y="241"/>
                  <a:pt x="263" y="241"/>
                </a:cubicBezTo>
                <a:close/>
                <a:moveTo>
                  <a:pt x="320" y="332"/>
                </a:moveTo>
                <a:cubicBezTo>
                  <a:pt x="320" y="335"/>
                  <a:pt x="322" y="337"/>
                  <a:pt x="325" y="337"/>
                </a:cubicBezTo>
                <a:cubicBezTo>
                  <a:pt x="327" y="337"/>
                  <a:pt x="329" y="335"/>
                  <a:pt x="329" y="332"/>
                </a:cubicBezTo>
                <a:cubicBezTo>
                  <a:pt x="329" y="330"/>
                  <a:pt x="327" y="328"/>
                  <a:pt x="325" y="328"/>
                </a:cubicBezTo>
                <a:cubicBezTo>
                  <a:pt x="322" y="328"/>
                  <a:pt x="320" y="330"/>
                  <a:pt x="320" y="332"/>
                </a:cubicBezTo>
                <a:close/>
                <a:moveTo>
                  <a:pt x="284" y="282"/>
                </a:moveTo>
                <a:cubicBezTo>
                  <a:pt x="286" y="282"/>
                  <a:pt x="288" y="280"/>
                  <a:pt x="288" y="278"/>
                </a:cubicBezTo>
                <a:cubicBezTo>
                  <a:pt x="288" y="275"/>
                  <a:pt x="286" y="273"/>
                  <a:pt x="284" y="273"/>
                </a:cubicBezTo>
                <a:cubicBezTo>
                  <a:pt x="281" y="273"/>
                  <a:pt x="279" y="275"/>
                  <a:pt x="279" y="278"/>
                </a:cubicBezTo>
                <a:cubicBezTo>
                  <a:pt x="279" y="280"/>
                  <a:pt x="281" y="282"/>
                  <a:pt x="284" y="282"/>
                </a:cubicBezTo>
                <a:close/>
                <a:moveTo>
                  <a:pt x="277" y="268"/>
                </a:moveTo>
                <a:cubicBezTo>
                  <a:pt x="280" y="268"/>
                  <a:pt x="282" y="266"/>
                  <a:pt x="282" y="264"/>
                </a:cubicBezTo>
                <a:cubicBezTo>
                  <a:pt x="282" y="261"/>
                  <a:pt x="280" y="259"/>
                  <a:pt x="277" y="259"/>
                </a:cubicBezTo>
                <a:cubicBezTo>
                  <a:pt x="275" y="259"/>
                  <a:pt x="273" y="261"/>
                  <a:pt x="273" y="264"/>
                </a:cubicBezTo>
                <a:cubicBezTo>
                  <a:pt x="273" y="266"/>
                  <a:pt x="275" y="268"/>
                  <a:pt x="277" y="268"/>
                </a:cubicBezTo>
                <a:close/>
                <a:moveTo>
                  <a:pt x="295" y="264"/>
                </a:moveTo>
                <a:cubicBezTo>
                  <a:pt x="295" y="261"/>
                  <a:pt x="293" y="259"/>
                  <a:pt x="291" y="259"/>
                </a:cubicBezTo>
                <a:cubicBezTo>
                  <a:pt x="288" y="259"/>
                  <a:pt x="286" y="261"/>
                  <a:pt x="286" y="264"/>
                </a:cubicBezTo>
                <a:cubicBezTo>
                  <a:pt x="286" y="266"/>
                  <a:pt x="288" y="268"/>
                  <a:pt x="291" y="268"/>
                </a:cubicBezTo>
                <a:cubicBezTo>
                  <a:pt x="293" y="268"/>
                  <a:pt x="295" y="266"/>
                  <a:pt x="295" y="264"/>
                </a:cubicBezTo>
                <a:close/>
                <a:moveTo>
                  <a:pt x="356" y="578"/>
                </a:moveTo>
                <a:cubicBezTo>
                  <a:pt x="356" y="575"/>
                  <a:pt x="354" y="573"/>
                  <a:pt x="352" y="573"/>
                </a:cubicBezTo>
                <a:cubicBezTo>
                  <a:pt x="349" y="573"/>
                  <a:pt x="347" y="575"/>
                  <a:pt x="347" y="578"/>
                </a:cubicBezTo>
                <a:cubicBezTo>
                  <a:pt x="347" y="580"/>
                  <a:pt x="349" y="582"/>
                  <a:pt x="352" y="582"/>
                </a:cubicBezTo>
                <a:cubicBezTo>
                  <a:pt x="354" y="582"/>
                  <a:pt x="356" y="580"/>
                  <a:pt x="356" y="578"/>
                </a:cubicBezTo>
                <a:close/>
                <a:moveTo>
                  <a:pt x="372" y="568"/>
                </a:moveTo>
                <a:cubicBezTo>
                  <a:pt x="375" y="568"/>
                  <a:pt x="377" y="566"/>
                  <a:pt x="377" y="564"/>
                </a:cubicBezTo>
                <a:cubicBezTo>
                  <a:pt x="377" y="561"/>
                  <a:pt x="375" y="559"/>
                  <a:pt x="372" y="559"/>
                </a:cubicBezTo>
                <a:cubicBezTo>
                  <a:pt x="370" y="559"/>
                  <a:pt x="368" y="561"/>
                  <a:pt x="368" y="564"/>
                </a:cubicBezTo>
                <a:cubicBezTo>
                  <a:pt x="368" y="566"/>
                  <a:pt x="370" y="568"/>
                  <a:pt x="372" y="568"/>
                </a:cubicBezTo>
                <a:close/>
                <a:moveTo>
                  <a:pt x="345" y="596"/>
                </a:moveTo>
                <a:cubicBezTo>
                  <a:pt x="348" y="596"/>
                  <a:pt x="350" y="594"/>
                  <a:pt x="350" y="591"/>
                </a:cubicBezTo>
                <a:cubicBezTo>
                  <a:pt x="350" y="589"/>
                  <a:pt x="348" y="587"/>
                  <a:pt x="345" y="587"/>
                </a:cubicBezTo>
                <a:cubicBezTo>
                  <a:pt x="343" y="587"/>
                  <a:pt x="341" y="589"/>
                  <a:pt x="341" y="591"/>
                </a:cubicBezTo>
                <a:cubicBezTo>
                  <a:pt x="341" y="594"/>
                  <a:pt x="343" y="596"/>
                  <a:pt x="345" y="596"/>
                </a:cubicBezTo>
                <a:close/>
                <a:moveTo>
                  <a:pt x="345" y="568"/>
                </a:moveTo>
                <a:cubicBezTo>
                  <a:pt x="348" y="568"/>
                  <a:pt x="350" y="566"/>
                  <a:pt x="350" y="564"/>
                </a:cubicBezTo>
                <a:cubicBezTo>
                  <a:pt x="350" y="561"/>
                  <a:pt x="348" y="559"/>
                  <a:pt x="345" y="559"/>
                </a:cubicBezTo>
                <a:cubicBezTo>
                  <a:pt x="343" y="559"/>
                  <a:pt x="341" y="561"/>
                  <a:pt x="341" y="564"/>
                </a:cubicBezTo>
                <a:cubicBezTo>
                  <a:pt x="341" y="566"/>
                  <a:pt x="343" y="568"/>
                  <a:pt x="345" y="568"/>
                </a:cubicBezTo>
                <a:close/>
                <a:moveTo>
                  <a:pt x="370" y="550"/>
                </a:moveTo>
                <a:cubicBezTo>
                  <a:pt x="370" y="548"/>
                  <a:pt x="368" y="546"/>
                  <a:pt x="366" y="546"/>
                </a:cubicBezTo>
                <a:cubicBezTo>
                  <a:pt x="363" y="546"/>
                  <a:pt x="361" y="548"/>
                  <a:pt x="361" y="550"/>
                </a:cubicBezTo>
                <a:cubicBezTo>
                  <a:pt x="361" y="553"/>
                  <a:pt x="363" y="555"/>
                  <a:pt x="366" y="555"/>
                </a:cubicBezTo>
                <a:cubicBezTo>
                  <a:pt x="368" y="555"/>
                  <a:pt x="370" y="553"/>
                  <a:pt x="370" y="550"/>
                </a:cubicBezTo>
                <a:close/>
                <a:moveTo>
                  <a:pt x="363" y="564"/>
                </a:moveTo>
                <a:cubicBezTo>
                  <a:pt x="363" y="561"/>
                  <a:pt x="361" y="559"/>
                  <a:pt x="359" y="559"/>
                </a:cubicBezTo>
                <a:cubicBezTo>
                  <a:pt x="356" y="559"/>
                  <a:pt x="354" y="561"/>
                  <a:pt x="354" y="564"/>
                </a:cubicBezTo>
                <a:cubicBezTo>
                  <a:pt x="354" y="566"/>
                  <a:pt x="356" y="568"/>
                  <a:pt x="359" y="568"/>
                </a:cubicBezTo>
                <a:cubicBezTo>
                  <a:pt x="361" y="568"/>
                  <a:pt x="363" y="566"/>
                  <a:pt x="363" y="564"/>
                </a:cubicBezTo>
                <a:close/>
                <a:moveTo>
                  <a:pt x="341" y="537"/>
                </a:moveTo>
                <a:cubicBezTo>
                  <a:pt x="341" y="539"/>
                  <a:pt x="343" y="541"/>
                  <a:pt x="345" y="541"/>
                </a:cubicBezTo>
                <a:cubicBezTo>
                  <a:pt x="348" y="541"/>
                  <a:pt x="350" y="539"/>
                  <a:pt x="350" y="537"/>
                </a:cubicBezTo>
                <a:cubicBezTo>
                  <a:pt x="350" y="534"/>
                  <a:pt x="348" y="532"/>
                  <a:pt x="345" y="532"/>
                </a:cubicBezTo>
                <a:cubicBezTo>
                  <a:pt x="343" y="532"/>
                  <a:pt x="341" y="534"/>
                  <a:pt x="341" y="537"/>
                </a:cubicBezTo>
                <a:close/>
                <a:moveTo>
                  <a:pt x="341" y="482"/>
                </a:moveTo>
                <a:cubicBezTo>
                  <a:pt x="341" y="485"/>
                  <a:pt x="343" y="487"/>
                  <a:pt x="345" y="487"/>
                </a:cubicBezTo>
                <a:cubicBezTo>
                  <a:pt x="348" y="487"/>
                  <a:pt x="350" y="485"/>
                  <a:pt x="350" y="482"/>
                </a:cubicBezTo>
                <a:cubicBezTo>
                  <a:pt x="350" y="480"/>
                  <a:pt x="348" y="478"/>
                  <a:pt x="345" y="478"/>
                </a:cubicBezTo>
                <a:cubicBezTo>
                  <a:pt x="343" y="478"/>
                  <a:pt x="341" y="480"/>
                  <a:pt x="341" y="482"/>
                </a:cubicBezTo>
                <a:close/>
                <a:moveTo>
                  <a:pt x="254" y="237"/>
                </a:moveTo>
                <a:cubicBezTo>
                  <a:pt x="254" y="234"/>
                  <a:pt x="252" y="232"/>
                  <a:pt x="250" y="232"/>
                </a:cubicBezTo>
                <a:cubicBezTo>
                  <a:pt x="247" y="232"/>
                  <a:pt x="245" y="234"/>
                  <a:pt x="245" y="237"/>
                </a:cubicBezTo>
                <a:cubicBezTo>
                  <a:pt x="245" y="239"/>
                  <a:pt x="247" y="241"/>
                  <a:pt x="250" y="241"/>
                </a:cubicBezTo>
                <a:cubicBezTo>
                  <a:pt x="252" y="241"/>
                  <a:pt x="254" y="239"/>
                  <a:pt x="254" y="237"/>
                </a:cubicBezTo>
                <a:close/>
                <a:moveTo>
                  <a:pt x="338" y="446"/>
                </a:moveTo>
                <a:cubicBezTo>
                  <a:pt x="341" y="446"/>
                  <a:pt x="343" y="444"/>
                  <a:pt x="343" y="441"/>
                </a:cubicBezTo>
                <a:cubicBezTo>
                  <a:pt x="343" y="439"/>
                  <a:pt x="341" y="437"/>
                  <a:pt x="338" y="437"/>
                </a:cubicBezTo>
                <a:cubicBezTo>
                  <a:pt x="336" y="437"/>
                  <a:pt x="334" y="439"/>
                  <a:pt x="334" y="441"/>
                </a:cubicBezTo>
                <a:cubicBezTo>
                  <a:pt x="334" y="444"/>
                  <a:pt x="336" y="446"/>
                  <a:pt x="338" y="446"/>
                </a:cubicBezTo>
                <a:close/>
                <a:moveTo>
                  <a:pt x="325" y="418"/>
                </a:moveTo>
                <a:cubicBezTo>
                  <a:pt x="327" y="418"/>
                  <a:pt x="329" y="416"/>
                  <a:pt x="329" y="414"/>
                </a:cubicBezTo>
                <a:cubicBezTo>
                  <a:pt x="329" y="411"/>
                  <a:pt x="327" y="409"/>
                  <a:pt x="325" y="409"/>
                </a:cubicBezTo>
                <a:cubicBezTo>
                  <a:pt x="322" y="409"/>
                  <a:pt x="320" y="411"/>
                  <a:pt x="320" y="414"/>
                </a:cubicBezTo>
                <a:cubicBezTo>
                  <a:pt x="320" y="416"/>
                  <a:pt x="322" y="418"/>
                  <a:pt x="325" y="418"/>
                </a:cubicBezTo>
                <a:close/>
                <a:moveTo>
                  <a:pt x="341" y="509"/>
                </a:moveTo>
                <a:cubicBezTo>
                  <a:pt x="341" y="512"/>
                  <a:pt x="343" y="514"/>
                  <a:pt x="345" y="514"/>
                </a:cubicBezTo>
                <a:cubicBezTo>
                  <a:pt x="348" y="514"/>
                  <a:pt x="350" y="512"/>
                  <a:pt x="350" y="509"/>
                </a:cubicBezTo>
                <a:cubicBezTo>
                  <a:pt x="350" y="507"/>
                  <a:pt x="348" y="505"/>
                  <a:pt x="345" y="505"/>
                </a:cubicBezTo>
                <a:cubicBezTo>
                  <a:pt x="343" y="505"/>
                  <a:pt x="341" y="507"/>
                  <a:pt x="341" y="509"/>
                </a:cubicBezTo>
                <a:close/>
                <a:moveTo>
                  <a:pt x="345" y="459"/>
                </a:moveTo>
                <a:cubicBezTo>
                  <a:pt x="348" y="459"/>
                  <a:pt x="350" y="457"/>
                  <a:pt x="350" y="455"/>
                </a:cubicBezTo>
                <a:cubicBezTo>
                  <a:pt x="350" y="452"/>
                  <a:pt x="348" y="450"/>
                  <a:pt x="345" y="450"/>
                </a:cubicBezTo>
                <a:cubicBezTo>
                  <a:pt x="343" y="450"/>
                  <a:pt x="341" y="452"/>
                  <a:pt x="341" y="455"/>
                </a:cubicBezTo>
                <a:cubicBezTo>
                  <a:pt x="341" y="457"/>
                  <a:pt x="343" y="459"/>
                  <a:pt x="345" y="459"/>
                </a:cubicBezTo>
                <a:close/>
                <a:moveTo>
                  <a:pt x="325" y="364"/>
                </a:moveTo>
                <a:cubicBezTo>
                  <a:pt x="327" y="364"/>
                  <a:pt x="329" y="362"/>
                  <a:pt x="329" y="359"/>
                </a:cubicBezTo>
                <a:cubicBezTo>
                  <a:pt x="329" y="357"/>
                  <a:pt x="327" y="355"/>
                  <a:pt x="325" y="355"/>
                </a:cubicBezTo>
                <a:cubicBezTo>
                  <a:pt x="322" y="355"/>
                  <a:pt x="320" y="357"/>
                  <a:pt x="320" y="359"/>
                </a:cubicBezTo>
                <a:cubicBezTo>
                  <a:pt x="320" y="362"/>
                  <a:pt x="322" y="364"/>
                  <a:pt x="325" y="364"/>
                </a:cubicBezTo>
                <a:close/>
                <a:moveTo>
                  <a:pt x="332" y="432"/>
                </a:moveTo>
                <a:cubicBezTo>
                  <a:pt x="334" y="432"/>
                  <a:pt x="336" y="430"/>
                  <a:pt x="336" y="428"/>
                </a:cubicBezTo>
                <a:cubicBezTo>
                  <a:pt x="336" y="425"/>
                  <a:pt x="334" y="423"/>
                  <a:pt x="332" y="423"/>
                </a:cubicBezTo>
                <a:cubicBezTo>
                  <a:pt x="329" y="423"/>
                  <a:pt x="327" y="425"/>
                  <a:pt x="327" y="428"/>
                </a:cubicBezTo>
                <a:cubicBezTo>
                  <a:pt x="327" y="430"/>
                  <a:pt x="329" y="432"/>
                  <a:pt x="332" y="432"/>
                </a:cubicBezTo>
                <a:close/>
                <a:moveTo>
                  <a:pt x="182" y="268"/>
                </a:moveTo>
                <a:cubicBezTo>
                  <a:pt x="184" y="268"/>
                  <a:pt x="186" y="266"/>
                  <a:pt x="186" y="264"/>
                </a:cubicBezTo>
                <a:cubicBezTo>
                  <a:pt x="186" y="261"/>
                  <a:pt x="184" y="259"/>
                  <a:pt x="182" y="259"/>
                </a:cubicBezTo>
                <a:cubicBezTo>
                  <a:pt x="179" y="259"/>
                  <a:pt x="177" y="261"/>
                  <a:pt x="177" y="264"/>
                </a:cubicBezTo>
                <a:cubicBezTo>
                  <a:pt x="177" y="266"/>
                  <a:pt x="179" y="268"/>
                  <a:pt x="182" y="268"/>
                </a:cubicBezTo>
                <a:close/>
                <a:moveTo>
                  <a:pt x="223" y="296"/>
                </a:moveTo>
                <a:cubicBezTo>
                  <a:pt x="225" y="296"/>
                  <a:pt x="227" y="294"/>
                  <a:pt x="227" y="291"/>
                </a:cubicBezTo>
                <a:cubicBezTo>
                  <a:pt x="227" y="289"/>
                  <a:pt x="225" y="287"/>
                  <a:pt x="223" y="287"/>
                </a:cubicBezTo>
                <a:cubicBezTo>
                  <a:pt x="220" y="287"/>
                  <a:pt x="218" y="289"/>
                  <a:pt x="218" y="291"/>
                </a:cubicBezTo>
                <a:cubicBezTo>
                  <a:pt x="218" y="294"/>
                  <a:pt x="220" y="296"/>
                  <a:pt x="223" y="296"/>
                </a:cubicBezTo>
                <a:close/>
                <a:moveTo>
                  <a:pt x="193" y="250"/>
                </a:moveTo>
                <a:cubicBezTo>
                  <a:pt x="193" y="248"/>
                  <a:pt x="191" y="246"/>
                  <a:pt x="189" y="246"/>
                </a:cubicBezTo>
                <a:cubicBezTo>
                  <a:pt x="186" y="246"/>
                  <a:pt x="184" y="248"/>
                  <a:pt x="184" y="250"/>
                </a:cubicBezTo>
                <a:cubicBezTo>
                  <a:pt x="184" y="253"/>
                  <a:pt x="186" y="255"/>
                  <a:pt x="189" y="255"/>
                </a:cubicBezTo>
                <a:cubicBezTo>
                  <a:pt x="191" y="255"/>
                  <a:pt x="193" y="253"/>
                  <a:pt x="193" y="250"/>
                </a:cubicBezTo>
                <a:close/>
                <a:moveTo>
                  <a:pt x="195" y="268"/>
                </a:moveTo>
                <a:cubicBezTo>
                  <a:pt x="198" y="268"/>
                  <a:pt x="200" y="266"/>
                  <a:pt x="200" y="264"/>
                </a:cubicBezTo>
                <a:cubicBezTo>
                  <a:pt x="200" y="261"/>
                  <a:pt x="198" y="259"/>
                  <a:pt x="195" y="259"/>
                </a:cubicBezTo>
                <a:cubicBezTo>
                  <a:pt x="193" y="259"/>
                  <a:pt x="191" y="261"/>
                  <a:pt x="191" y="264"/>
                </a:cubicBezTo>
                <a:cubicBezTo>
                  <a:pt x="191" y="266"/>
                  <a:pt x="193" y="268"/>
                  <a:pt x="195" y="268"/>
                </a:cubicBezTo>
                <a:close/>
                <a:moveTo>
                  <a:pt x="209" y="268"/>
                </a:moveTo>
                <a:cubicBezTo>
                  <a:pt x="211" y="268"/>
                  <a:pt x="214" y="266"/>
                  <a:pt x="214" y="264"/>
                </a:cubicBezTo>
                <a:cubicBezTo>
                  <a:pt x="214" y="261"/>
                  <a:pt x="211" y="259"/>
                  <a:pt x="209" y="259"/>
                </a:cubicBezTo>
                <a:cubicBezTo>
                  <a:pt x="206" y="259"/>
                  <a:pt x="204" y="261"/>
                  <a:pt x="204" y="264"/>
                </a:cubicBezTo>
                <a:cubicBezTo>
                  <a:pt x="204" y="266"/>
                  <a:pt x="206" y="268"/>
                  <a:pt x="209" y="268"/>
                </a:cubicBezTo>
                <a:close/>
                <a:moveTo>
                  <a:pt x="216" y="282"/>
                </a:moveTo>
                <a:cubicBezTo>
                  <a:pt x="218" y="282"/>
                  <a:pt x="220" y="280"/>
                  <a:pt x="220" y="278"/>
                </a:cubicBezTo>
                <a:cubicBezTo>
                  <a:pt x="220" y="275"/>
                  <a:pt x="218" y="273"/>
                  <a:pt x="216" y="273"/>
                </a:cubicBezTo>
                <a:cubicBezTo>
                  <a:pt x="213" y="273"/>
                  <a:pt x="211" y="275"/>
                  <a:pt x="211" y="278"/>
                </a:cubicBezTo>
                <a:cubicBezTo>
                  <a:pt x="211" y="280"/>
                  <a:pt x="213" y="282"/>
                  <a:pt x="216" y="282"/>
                </a:cubicBezTo>
                <a:close/>
                <a:moveTo>
                  <a:pt x="207" y="250"/>
                </a:moveTo>
                <a:cubicBezTo>
                  <a:pt x="207" y="248"/>
                  <a:pt x="205" y="246"/>
                  <a:pt x="202" y="246"/>
                </a:cubicBezTo>
                <a:cubicBezTo>
                  <a:pt x="200" y="246"/>
                  <a:pt x="198" y="248"/>
                  <a:pt x="198" y="250"/>
                </a:cubicBezTo>
                <a:cubicBezTo>
                  <a:pt x="198" y="253"/>
                  <a:pt x="200" y="255"/>
                  <a:pt x="202" y="255"/>
                </a:cubicBezTo>
                <a:cubicBezTo>
                  <a:pt x="205" y="255"/>
                  <a:pt x="207" y="253"/>
                  <a:pt x="207" y="250"/>
                </a:cubicBezTo>
                <a:close/>
                <a:moveTo>
                  <a:pt x="175" y="255"/>
                </a:moveTo>
                <a:cubicBezTo>
                  <a:pt x="177" y="255"/>
                  <a:pt x="179" y="253"/>
                  <a:pt x="179" y="250"/>
                </a:cubicBezTo>
                <a:cubicBezTo>
                  <a:pt x="179" y="248"/>
                  <a:pt x="177" y="246"/>
                  <a:pt x="175" y="246"/>
                </a:cubicBezTo>
                <a:cubicBezTo>
                  <a:pt x="172" y="246"/>
                  <a:pt x="170" y="248"/>
                  <a:pt x="170" y="250"/>
                </a:cubicBezTo>
                <a:cubicBezTo>
                  <a:pt x="170" y="253"/>
                  <a:pt x="172" y="255"/>
                  <a:pt x="175" y="255"/>
                </a:cubicBezTo>
                <a:close/>
                <a:moveTo>
                  <a:pt x="157" y="168"/>
                </a:moveTo>
                <a:cubicBezTo>
                  <a:pt x="157" y="171"/>
                  <a:pt x="159" y="173"/>
                  <a:pt x="161" y="173"/>
                </a:cubicBezTo>
                <a:cubicBezTo>
                  <a:pt x="164" y="173"/>
                  <a:pt x="166" y="171"/>
                  <a:pt x="166" y="168"/>
                </a:cubicBezTo>
                <a:cubicBezTo>
                  <a:pt x="166" y="166"/>
                  <a:pt x="164" y="164"/>
                  <a:pt x="161" y="164"/>
                </a:cubicBezTo>
                <a:cubicBezTo>
                  <a:pt x="159" y="164"/>
                  <a:pt x="157" y="166"/>
                  <a:pt x="157" y="168"/>
                </a:cubicBezTo>
                <a:close/>
                <a:moveTo>
                  <a:pt x="164" y="155"/>
                </a:moveTo>
                <a:cubicBezTo>
                  <a:pt x="164" y="157"/>
                  <a:pt x="166" y="159"/>
                  <a:pt x="168" y="159"/>
                </a:cubicBezTo>
                <a:cubicBezTo>
                  <a:pt x="171" y="159"/>
                  <a:pt x="173" y="157"/>
                  <a:pt x="173" y="155"/>
                </a:cubicBezTo>
                <a:cubicBezTo>
                  <a:pt x="173" y="152"/>
                  <a:pt x="171" y="150"/>
                  <a:pt x="168" y="150"/>
                </a:cubicBezTo>
                <a:cubicBezTo>
                  <a:pt x="166" y="150"/>
                  <a:pt x="164" y="152"/>
                  <a:pt x="164" y="155"/>
                </a:cubicBezTo>
                <a:close/>
                <a:moveTo>
                  <a:pt x="170" y="141"/>
                </a:moveTo>
                <a:cubicBezTo>
                  <a:pt x="170" y="144"/>
                  <a:pt x="172" y="146"/>
                  <a:pt x="175" y="146"/>
                </a:cubicBezTo>
                <a:cubicBezTo>
                  <a:pt x="177" y="146"/>
                  <a:pt x="179" y="144"/>
                  <a:pt x="179" y="141"/>
                </a:cubicBezTo>
                <a:cubicBezTo>
                  <a:pt x="179" y="139"/>
                  <a:pt x="177" y="137"/>
                  <a:pt x="175" y="137"/>
                </a:cubicBezTo>
                <a:cubicBezTo>
                  <a:pt x="172" y="137"/>
                  <a:pt x="170" y="139"/>
                  <a:pt x="170" y="141"/>
                </a:cubicBezTo>
                <a:close/>
                <a:moveTo>
                  <a:pt x="161" y="200"/>
                </a:moveTo>
                <a:cubicBezTo>
                  <a:pt x="164" y="200"/>
                  <a:pt x="166" y="198"/>
                  <a:pt x="166" y="196"/>
                </a:cubicBezTo>
                <a:cubicBezTo>
                  <a:pt x="166" y="193"/>
                  <a:pt x="164" y="191"/>
                  <a:pt x="161" y="191"/>
                </a:cubicBezTo>
                <a:cubicBezTo>
                  <a:pt x="159" y="191"/>
                  <a:pt x="157" y="193"/>
                  <a:pt x="157" y="196"/>
                </a:cubicBezTo>
                <a:cubicBezTo>
                  <a:pt x="157" y="198"/>
                  <a:pt x="159" y="200"/>
                  <a:pt x="161" y="200"/>
                </a:cubicBezTo>
                <a:close/>
                <a:moveTo>
                  <a:pt x="168" y="241"/>
                </a:moveTo>
                <a:cubicBezTo>
                  <a:pt x="171" y="241"/>
                  <a:pt x="173" y="239"/>
                  <a:pt x="173" y="237"/>
                </a:cubicBezTo>
                <a:cubicBezTo>
                  <a:pt x="173" y="234"/>
                  <a:pt x="171" y="232"/>
                  <a:pt x="168" y="232"/>
                </a:cubicBezTo>
                <a:cubicBezTo>
                  <a:pt x="166" y="232"/>
                  <a:pt x="164" y="234"/>
                  <a:pt x="164" y="237"/>
                </a:cubicBezTo>
                <a:cubicBezTo>
                  <a:pt x="164" y="239"/>
                  <a:pt x="166" y="241"/>
                  <a:pt x="168" y="241"/>
                </a:cubicBezTo>
                <a:close/>
                <a:moveTo>
                  <a:pt x="150" y="182"/>
                </a:moveTo>
                <a:cubicBezTo>
                  <a:pt x="150" y="185"/>
                  <a:pt x="152" y="187"/>
                  <a:pt x="154" y="187"/>
                </a:cubicBezTo>
                <a:cubicBezTo>
                  <a:pt x="157" y="187"/>
                  <a:pt x="159" y="185"/>
                  <a:pt x="159" y="182"/>
                </a:cubicBezTo>
                <a:cubicBezTo>
                  <a:pt x="159" y="179"/>
                  <a:pt x="157" y="177"/>
                  <a:pt x="154" y="177"/>
                </a:cubicBezTo>
                <a:cubicBezTo>
                  <a:pt x="152" y="177"/>
                  <a:pt x="150" y="179"/>
                  <a:pt x="150" y="182"/>
                </a:cubicBezTo>
                <a:close/>
                <a:moveTo>
                  <a:pt x="295" y="291"/>
                </a:moveTo>
                <a:cubicBezTo>
                  <a:pt x="295" y="289"/>
                  <a:pt x="293" y="287"/>
                  <a:pt x="291" y="287"/>
                </a:cubicBezTo>
                <a:cubicBezTo>
                  <a:pt x="288" y="287"/>
                  <a:pt x="286" y="289"/>
                  <a:pt x="286" y="291"/>
                </a:cubicBezTo>
                <a:cubicBezTo>
                  <a:pt x="286" y="294"/>
                  <a:pt x="288" y="296"/>
                  <a:pt x="291" y="296"/>
                </a:cubicBezTo>
                <a:cubicBezTo>
                  <a:pt x="293" y="296"/>
                  <a:pt x="295" y="294"/>
                  <a:pt x="295" y="291"/>
                </a:cubicBezTo>
                <a:close/>
                <a:moveTo>
                  <a:pt x="284" y="309"/>
                </a:moveTo>
                <a:cubicBezTo>
                  <a:pt x="286" y="309"/>
                  <a:pt x="288" y="307"/>
                  <a:pt x="288" y="305"/>
                </a:cubicBezTo>
                <a:cubicBezTo>
                  <a:pt x="288" y="302"/>
                  <a:pt x="286" y="300"/>
                  <a:pt x="284" y="300"/>
                </a:cubicBezTo>
                <a:cubicBezTo>
                  <a:pt x="281" y="300"/>
                  <a:pt x="279" y="302"/>
                  <a:pt x="279" y="305"/>
                </a:cubicBezTo>
                <a:cubicBezTo>
                  <a:pt x="279" y="307"/>
                  <a:pt x="281" y="309"/>
                  <a:pt x="284" y="309"/>
                </a:cubicBezTo>
                <a:close/>
                <a:moveTo>
                  <a:pt x="277" y="296"/>
                </a:moveTo>
                <a:cubicBezTo>
                  <a:pt x="280" y="296"/>
                  <a:pt x="282" y="294"/>
                  <a:pt x="282" y="291"/>
                </a:cubicBezTo>
                <a:cubicBezTo>
                  <a:pt x="282" y="289"/>
                  <a:pt x="280" y="287"/>
                  <a:pt x="277" y="287"/>
                </a:cubicBezTo>
                <a:cubicBezTo>
                  <a:pt x="275" y="287"/>
                  <a:pt x="273" y="289"/>
                  <a:pt x="273" y="291"/>
                </a:cubicBezTo>
                <a:cubicBezTo>
                  <a:pt x="273" y="294"/>
                  <a:pt x="275" y="296"/>
                  <a:pt x="277" y="296"/>
                </a:cubicBezTo>
                <a:close/>
                <a:moveTo>
                  <a:pt x="309" y="264"/>
                </a:moveTo>
                <a:cubicBezTo>
                  <a:pt x="309" y="261"/>
                  <a:pt x="307" y="259"/>
                  <a:pt x="304" y="259"/>
                </a:cubicBezTo>
                <a:cubicBezTo>
                  <a:pt x="302" y="259"/>
                  <a:pt x="300" y="261"/>
                  <a:pt x="300" y="264"/>
                </a:cubicBezTo>
                <a:cubicBezTo>
                  <a:pt x="300" y="266"/>
                  <a:pt x="302" y="268"/>
                  <a:pt x="304" y="268"/>
                </a:cubicBezTo>
                <a:cubicBezTo>
                  <a:pt x="307" y="268"/>
                  <a:pt x="309" y="266"/>
                  <a:pt x="309" y="264"/>
                </a:cubicBezTo>
                <a:close/>
                <a:moveTo>
                  <a:pt x="302" y="278"/>
                </a:moveTo>
                <a:cubicBezTo>
                  <a:pt x="302" y="275"/>
                  <a:pt x="300" y="273"/>
                  <a:pt x="297" y="273"/>
                </a:cubicBezTo>
                <a:cubicBezTo>
                  <a:pt x="295" y="273"/>
                  <a:pt x="293" y="275"/>
                  <a:pt x="293" y="278"/>
                </a:cubicBezTo>
                <a:cubicBezTo>
                  <a:pt x="293" y="280"/>
                  <a:pt x="295" y="282"/>
                  <a:pt x="297" y="282"/>
                </a:cubicBezTo>
                <a:cubicBezTo>
                  <a:pt x="300" y="282"/>
                  <a:pt x="302" y="280"/>
                  <a:pt x="302" y="278"/>
                </a:cubicBezTo>
                <a:close/>
                <a:moveTo>
                  <a:pt x="229" y="309"/>
                </a:moveTo>
                <a:cubicBezTo>
                  <a:pt x="232" y="309"/>
                  <a:pt x="234" y="307"/>
                  <a:pt x="234" y="305"/>
                </a:cubicBezTo>
                <a:cubicBezTo>
                  <a:pt x="234" y="302"/>
                  <a:pt x="232" y="300"/>
                  <a:pt x="229" y="300"/>
                </a:cubicBezTo>
                <a:cubicBezTo>
                  <a:pt x="227" y="300"/>
                  <a:pt x="225" y="302"/>
                  <a:pt x="225" y="305"/>
                </a:cubicBezTo>
                <a:cubicBezTo>
                  <a:pt x="225" y="307"/>
                  <a:pt x="227" y="309"/>
                  <a:pt x="229" y="309"/>
                </a:cubicBezTo>
                <a:close/>
                <a:moveTo>
                  <a:pt x="270" y="282"/>
                </a:moveTo>
                <a:cubicBezTo>
                  <a:pt x="273" y="282"/>
                  <a:pt x="275" y="280"/>
                  <a:pt x="275" y="278"/>
                </a:cubicBezTo>
                <a:cubicBezTo>
                  <a:pt x="275" y="275"/>
                  <a:pt x="273" y="273"/>
                  <a:pt x="270" y="273"/>
                </a:cubicBezTo>
                <a:cubicBezTo>
                  <a:pt x="268" y="273"/>
                  <a:pt x="266" y="275"/>
                  <a:pt x="266" y="278"/>
                </a:cubicBezTo>
                <a:cubicBezTo>
                  <a:pt x="266" y="280"/>
                  <a:pt x="268" y="282"/>
                  <a:pt x="270" y="282"/>
                </a:cubicBezTo>
                <a:close/>
                <a:moveTo>
                  <a:pt x="248" y="278"/>
                </a:moveTo>
                <a:cubicBezTo>
                  <a:pt x="248" y="275"/>
                  <a:pt x="246" y="273"/>
                  <a:pt x="243" y="273"/>
                </a:cubicBezTo>
                <a:cubicBezTo>
                  <a:pt x="240" y="273"/>
                  <a:pt x="238" y="275"/>
                  <a:pt x="238" y="278"/>
                </a:cubicBezTo>
                <a:cubicBezTo>
                  <a:pt x="238" y="280"/>
                  <a:pt x="240" y="282"/>
                  <a:pt x="243" y="282"/>
                </a:cubicBezTo>
                <a:cubicBezTo>
                  <a:pt x="246" y="282"/>
                  <a:pt x="248" y="280"/>
                  <a:pt x="248" y="278"/>
                </a:cubicBezTo>
                <a:close/>
                <a:moveTo>
                  <a:pt x="241" y="291"/>
                </a:moveTo>
                <a:cubicBezTo>
                  <a:pt x="241" y="289"/>
                  <a:pt x="239" y="287"/>
                  <a:pt x="236" y="287"/>
                </a:cubicBezTo>
                <a:cubicBezTo>
                  <a:pt x="234" y="287"/>
                  <a:pt x="232" y="289"/>
                  <a:pt x="232" y="291"/>
                </a:cubicBezTo>
                <a:cubicBezTo>
                  <a:pt x="232" y="294"/>
                  <a:pt x="234" y="296"/>
                  <a:pt x="236" y="296"/>
                </a:cubicBezTo>
                <a:cubicBezTo>
                  <a:pt x="239" y="296"/>
                  <a:pt x="241" y="294"/>
                  <a:pt x="241" y="291"/>
                </a:cubicBezTo>
                <a:close/>
                <a:moveTo>
                  <a:pt x="236" y="323"/>
                </a:moveTo>
                <a:cubicBezTo>
                  <a:pt x="239" y="323"/>
                  <a:pt x="241" y="321"/>
                  <a:pt x="241" y="318"/>
                </a:cubicBezTo>
                <a:cubicBezTo>
                  <a:pt x="241" y="316"/>
                  <a:pt x="239" y="314"/>
                  <a:pt x="236" y="314"/>
                </a:cubicBezTo>
                <a:cubicBezTo>
                  <a:pt x="234" y="314"/>
                  <a:pt x="232" y="316"/>
                  <a:pt x="232" y="318"/>
                </a:cubicBezTo>
                <a:cubicBezTo>
                  <a:pt x="232" y="321"/>
                  <a:pt x="234" y="323"/>
                  <a:pt x="236" y="323"/>
                </a:cubicBezTo>
                <a:close/>
                <a:moveTo>
                  <a:pt x="261" y="250"/>
                </a:moveTo>
                <a:cubicBezTo>
                  <a:pt x="261" y="248"/>
                  <a:pt x="259" y="246"/>
                  <a:pt x="257" y="246"/>
                </a:cubicBezTo>
                <a:cubicBezTo>
                  <a:pt x="254" y="246"/>
                  <a:pt x="252" y="248"/>
                  <a:pt x="252" y="250"/>
                </a:cubicBezTo>
                <a:cubicBezTo>
                  <a:pt x="252" y="253"/>
                  <a:pt x="254" y="255"/>
                  <a:pt x="257" y="255"/>
                </a:cubicBezTo>
                <a:cubicBezTo>
                  <a:pt x="259" y="255"/>
                  <a:pt x="261" y="253"/>
                  <a:pt x="261" y="250"/>
                </a:cubicBezTo>
                <a:close/>
                <a:moveTo>
                  <a:pt x="263" y="268"/>
                </a:moveTo>
                <a:cubicBezTo>
                  <a:pt x="266" y="268"/>
                  <a:pt x="268" y="266"/>
                  <a:pt x="268" y="264"/>
                </a:cubicBezTo>
                <a:cubicBezTo>
                  <a:pt x="268" y="261"/>
                  <a:pt x="266" y="259"/>
                  <a:pt x="263" y="259"/>
                </a:cubicBezTo>
                <a:cubicBezTo>
                  <a:pt x="261" y="259"/>
                  <a:pt x="259" y="261"/>
                  <a:pt x="259" y="264"/>
                </a:cubicBezTo>
                <a:cubicBezTo>
                  <a:pt x="259" y="266"/>
                  <a:pt x="261" y="268"/>
                  <a:pt x="263" y="268"/>
                </a:cubicBezTo>
                <a:close/>
                <a:moveTo>
                  <a:pt x="254" y="264"/>
                </a:moveTo>
                <a:cubicBezTo>
                  <a:pt x="254" y="261"/>
                  <a:pt x="252" y="259"/>
                  <a:pt x="250" y="259"/>
                </a:cubicBezTo>
                <a:cubicBezTo>
                  <a:pt x="247" y="259"/>
                  <a:pt x="245" y="261"/>
                  <a:pt x="245" y="264"/>
                </a:cubicBezTo>
                <a:cubicBezTo>
                  <a:pt x="245" y="266"/>
                  <a:pt x="247" y="268"/>
                  <a:pt x="250" y="268"/>
                </a:cubicBezTo>
                <a:cubicBezTo>
                  <a:pt x="252" y="268"/>
                  <a:pt x="254" y="266"/>
                  <a:pt x="254" y="264"/>
                </a:cubicBezTo>
                <a:close/>
                <a:moveTo>
                  <a:pt x="291" y="68"/>
                </a:moveTo>
                <a:cubicBezTo>
                  <a:pt x="288" y="68"/>
                  <a:pt x="286" y="70"/>
                  <a:pt x="286" y="73"/>
                </a:cubicBezTo>
                <a:cubicBezTo>
                  <a:pt x="286" y="75"/>
                  <a:pt x="288" y="77"/>
                  <a:pt x="291" y="77"/>
                </a:cubicBezTo>
                <a:cubicBezTo>
                  <a:pt x="293" y="77"/>
                  <a:pt x="295" y="75"/>
                  <a:pt x="295" y="73"/>
                </a:cubicBezTo>
                <a:cubicBezTo>
                  <a:pt x="295" y="70"/>
                  <a:pt x="293" y="68"/>
                  <a:pt x="291" y="68"/>
                </a:cubicBezTo>
                <a:close/>
                <a:moveTo>
                  <a:pt x="293" y="87"/>
                </a:moveTo>
                <a:cubicBezTo>
                  <a:pt x="293" y="89"/>
                  <a:pt x="295" y="91"/>
                  <a:pt x="297" y="91"/>
                </a:cubicBezTo>
                <a:cubicBezTo>
                  <a:pt x="300" y="91"/>
                  <a:pt x="302" y="89"/>
                  <a:pt x="302" y="87"/>
                </a:cubicBezTo>
                <a:cubicBezTo>
                  <a:pt x="302" y="84"/>
                  <a:pt x="300" y="82"/>
                  <a:pt x="297" y="82"/>
                </a:cubicBezTo>
                <a:cubicBezTo>
                  <a:pt x="295" y="82"/>
                  <a:pt x="293" y="84"/>
                  <a:pt x="293" y="87"/>
                </a:cubicBezTo>
                <a:close/>
                <a:moveTo>
                  <a:pt x="304" y="68"/>
                </a:moveTo>
                <a:cubicBezTo>
                  <a:pt x="302" y="68"/>
                  <a:pt x="300" y="70"/>
                  <a:pt x="300" y="73"/>
                </a:cubicBezTo>
                <a:cubicBezTo>
                  <a:pt x="300" y="75"/>
                  <a:pt x="302" y="77"/>
                  <a:pt x="304" y="77"/>
                </a:cubicBezTo>
                <a:cubicBezTo>
                  <a:pt x="307" y="77"/>
                  <a:pt x="309" y="75"/>
                  <a:pt x="309" y="73"/>
                </a:cubicBezTo>
                <a:cubicBezTo>
                  <a:pt x="309" y="70"/>
                  <a:pt x="307" y="68"/>
                  <a:pt x="304" y="68"/>
                </a:cubicBezTo>
                <a:close/>
                <a:moveTo>
                  <a:pt x="273" y="127"/>
                </a:moveTo>
                <a:cubicBezTo>
                  <a:pt x="273" y="130"/>
                  <a:pt x="275" y="132"/>
                  <a:pt x="277" y="132"/>
                </a:cubicBezTo>
                <a:cubicBezTo>
                  <a:pt x="280" y="132"/>
                  <a:pt x="282" y="130"/>
                  <a:pt x="282" y="127"/>
                </a:cubicBezTo>
                <a:cubicBezTo>
                  <a:pt x="282" y="125"/>
                  <a:pt x="280" y="123"/>
                  <a:pt x="277" y="123"/>
                </a:cubicBezTo>
                <a:cubicBezTo>
                  <a:pt x="275" y="123"/>
                  <a:pt x="273" y="125"/>
                  <a:pt x="273" y="127"/>
                </a:cubicBezTo>
                <a:close/>
                <a:moveTo>
                  <a:pt x="311" y="82"/>
                </a:moveTo>
                <a:cubicBezTo>
                  <a:pt x="309" y="82"/>
                  <a:pt x="307" y="84"/>
                  <a:pt x="307" y="87"/>
                </a:cubicBezTo>
                <a:cubicBezTo>
                  <a:pt x="307" y="89"/>
                  <a:pt x="309" y="91"/>
                  <a:pt x="311" y="91"/>
                </a:cubicBezTo>
                <a:cubicBezTo>
                  <a:pt x="314" y="91"/>
                  <a:pt x="316" y="89"/>
                  <a:pt x="316" y="87"/>
                </a:cubicBezTo>
                <a:cubicBezTo>
                  <a:pt x="316" y="84"/>
                  <a:pt x="314" y="82"/>
                  <a:pt x="311" y="82"/>
                </a:cubicBezTo>
                <a:close/>
                <a:moveTo>
                  <a:pt x="279" y="114"/>
                </a:moveTo>
                <a:cubicBezTo>
                  <a:pt x="279" y="116"/>
                  <a:pt x="281" y="118"/>
                  <a:pt x="284" y="118"/>
                </a:cubicBezTo>
                <a:cubicBezTo>
                  <a:pt x="286" y="118"/>
                  <a:pt x="288" y="116"/>
                  <a:pt x="288" y="114"/>
                </a:cubicBezTo>
                <a:cubicBezTo>
                  <a:pt x="288" y="111"/>
                  <a:pt x="286" y="109"/>
                  <a:pt x="284" y="109"/>
                </a:cubicBezTo>
                <a:cubicBezTo>
                  <a:pt x="281" y="109"/>
                  <a:pt x="279" y="111"/>
                  <a:pt x="279" y="114"/>
                </a:cubicBezTo>
                <a:close/>
                <a:moveTo>
                  <a:pt x="286" y="100"/>
                </a:moveTo>
                <a:cubicBezTo>
                  <a:pt x="286" y="103"/>
                  <a:pt x="288" y="105"/>
                  <a:pt x="291" y="105"/>
                </a:cubicBezTo>
                <a:cubicBezTo>
                  <a:pt x="293" y="105"/>
                  <a:pt x="295" y="103"/>
                  <a:pt x="295" y="100"/>
                </a:cubicBezTo>
                <a:cubicBezTo>
                  <a:pt x="295" y="98"/>
                  <a:pt x="293" y="96"/>
                  <a:pt x="291" y="96"/>
                </a:cubicBezTo>
                <a:cubicBezTo>
                  <a:pt x="288" y="96"/>
                  <a:pt x="286" y="98"/>
                  <a:pt x="286" y="100"/>
                </a:cubicBezTo>
                <a:close/>
                <a:moveTo>
                  <a:pt x="359" y="123"/>
                </a:moveTo>
                <a:cubicBezTo>
                  <a:pt x="356" y="123"/>
                  <a:pt x="354" y="125"/>
                  <a:pt x="354" y="127"/>
                </a:cubicBezTo>
                <a:cubicBezTo>
                  <a:pt x="354" y="130"/>
                  <a:pt x="356" y="132"/>
                  <a:pt x="359" y="132"/>
                </a:cubicBezTo>
                <a:cubicBezTo>
                  <a:pt x="361" y="132"/>
                  <a:pt x="363" y="130"/>
                  <a:pt x="363" y="127"/>
                </a:cubicBezTo>
                <a:cubicBezTo>
                  <a:pt x="363" y="125"/>
                  <a:pt x="361" y="123"/>
                  <a:pt x="359" y="123"/>
                </a:cubicBezTo>
                <a:close/>
                <a:moveTo>
                  <a:pt x="345" y="96"/>
                </a:moveTo>
                <a:cubicBezTo>
                  <a:pt x="343" y="96"/>
                  <a:pt x="341" y="98"/>
                  <a:pt x="341" y="100"/>
                </a:cubicBezTo>
                <a:cubicBezTo>
                  <a:pt x="341" y="103"/>
                  <a:pt x="343" y="105"/>
                  <a:pt x="345" y="105"/>
                </a:cubicBezTo>
                <a:cubicBezTo>
                  <a:pt x="348" y="105"/>
                  <a:pt x="350" y="103"/>
                  <a:pt x="350" y="100"/>
                </a:cubicBezTo>
                <a:cubicBezTo>
                  <a:pt x="350" y="98"/>
                  <a:pt x="348" y="96"/>
                  <a:pt x="345" y="96"/>
                </a:cubicBezTo>
                <a:close/>
                <a:moveTo>
                  <a:pt x="352" y="109"/>
                </a:moveTo>
                <a:cubicBezTo>
                  <a:pt x="349" y="109"/>
                  <a:pt x="347" y="111"/>
                  <a:pt x="347" y="114"/>
                </a:cubicBezTo>
                <a:cubicBezTo>
                  <a:pt x="347" y="116"/>
                  <a:pt x="349" y="118"/>
                  <a:pt x="352" y="118"/>
                </a:cubicBezTo>
                <a:cubicBezTo>
                  <a:pt x="354" y="118"/>
                  <a:pt x="356" y="116"/>
                  <a:pt x="356" y="114"/>
                </a:cubicBezTo>
                <a:cubicBezTo>
                  <a:pt x="356" y="111"/>
                  <a:pt x="354" y="109"/>
                  <a:pt x="352" y="109"/>
                </a:cubicBezTo>
                <a:close/>
                <a:moveTo>
                  <a:pt x="313" y="100"/>
                </a:moveTo>
                <a:cubicBezTo>
                  <a:pt x="313" y="103"/>
                  <a:pt x="315" y="105"/>
                  <a:pt x="318" y="105"/>
                </a:cubicBezTo>
                <a:cubicBezTo>
                  <a:pt x="320" y="105"/>
                  <a:pt x="322" y="103"/>
                  <a:pt x="322" y="100"/>
                </a:cubicBezTo>
                <a:cubicBezTo>
                  <a:pt x="322" y="98"/>
                  <a:pt x="320" y="96"/>
                  <a:pt x="318" y="96"/>
                </a:cubicBezTo>
                <a:cubicBezTo>
                  <a:pt x="315" y="96"/>
                  <a:pt x="313" y="98"/>
                  <a:pt x="313" y="100"/>
                </a:cubicBezTo>
                <a:close/>
                <a:moveTo>
                  <a:pt x="334" y="114"/>
                </a:moveTo>
                <a:cubicBezTo>
                  <a:pt x="334" y="116"/>
                  <a:pt x="336" y="118"/>
                  <a:pt x="338" y="118"/>
                </a:cubicBezTo>
                <a:cubicBezTo>
                  <a:pt x="341" y="118"/>
                  <a:pt x="343" y="116"/>
                  <a:pt x="343" y="114"/>
                </a:cubicBezTo>
                <a:cubicBezTo>
                  <a:pt x="343" y="111"/>
                  <a:pt x="341" y="109"/>
                  <a:pt x="338" y="109"/>
                </a:cubicBezTo>
                <a:cubicBezTo>
                  <a:pt x="336" y="109"/>
                  <a:pt x="334" y="111"/>
                  <a:pt x="334" y="114"/>
                </a:cubicBezTo>
                <a:close/>
                <a:moveTo>
                  <a:pt x="327" y="127"/>
                </a:moveTo>
                <a:cubicBezTo>
                  <a:pt x="327" y="130"/>
                  <a:pt x="329" y="132"/>
                  <a:pt x="332" y="132"/>
                </a:cubicBezTo>
                <a:cubicBezTo>
                  <a:pt x="334" y="132"/>
                  <a:pt x="336" y="130"/>
                  <a:pt x="336" y="127"/>
                </a:cubicBezTo>
                <a:cubicBezTo>
                  <a:pt x="336" y="125"/>
                  <a:pt x="334" y="123"/>
                  <a:pt x="332" y="123"/>
                </a:cubicBezTo>
                <a:cubicBezTo>
                  <a:pt x="329" y="123"/>
                  <a:pt x="327" y="125"/>
                  <a:pt x="327" y="127"/>
                </a:cubicBezTo>
                <a:close/>
                <a:moveTo>
                  <a:pt x="329" y="87"/>
                </a:moveTo>
                <a:cubicBezTo>
                  <a:pt x="329" y="84"/>
                  <a:pt x="327" y="82"/>
                  <a:pt x="325" y="82"/>
                </a:cubicBezTo>
                <a:cubicBezTo>
                  <a:pt x="322" y="82"/>
                  <a:pt x="320" y="84"/>
                  <a:pt x="320" y="87"/>
                </a:cubicBezTo>
                <a:cubicBezTo>
                  <a:pt x="320" y="89"/>
                  <a:pt x="322" y="91"/>
                  <a:pt x="325" y="91"/>
                </a:cubicBezTo>
                <a:cubicBezTo>
                  <a:pt x="327" y="91"/>
                  <a:pt x="329" y="89"/>
                  <a:pt x="329" y="87"/>
                </a:cubicBezTo>
                <a:close/>
                <a:moveTo>
                  <a:pt x="195" y="123"/>
                </a:moveTo>
                <a:cubicBezTo>
                  <a:pt x="193" y="123"/>
                  <a:pt x="191" y="125"/>
                  <a:pt x="191" y="127"/>
                </a:cubicBezTo>
                <a:cubicBezTo>
                  <a:pt x="191" y="130"/>
                  <a:pt x="193" y="132"/>
                  <a:pt x="195" y="132"/>
                </a:cubicBezTo>
                <a:cubicBezTo>
                  <a:pt x="198" y="132"/>
                  <a:pt x="200" y="130"/>
                  <a:pt x="200" y="127"/>
                </a:cubicBezTo>
                <a:cubicBezTo>
                  <a:pt x="200" y="125"/>
                  <a:pt x="198" y="123"/>
                  <a:pt x="195" y="123"/>
                </a:cubicBezTo>
                <a:close/>
                <a:moveTo>
                  <a:pt x="198" y="168"/>
                </a:moveTo>
                <a:cubicBezTo>
                  <a:pt x="198" y="171"/>
                  <a:pt x="200" y="173"/>
                  <a:pt x="202" y="173"/>
                </a:cubicBezTo>
                <a:cubicBezTo>
                  <a:pt x="205" y="173"/>
                  <a:pt x="207" y="171"/>
                  <a:pt x="207" y="168"/>
                </a:cubicBezTo>
                <a:cubicBezTo>
                  <a:pt x="207" y="166"/>
                  <a:pt x="205" y="164"/>
                  <a:pt x="202" y="164"/>
                </a:cubicBezTo>
                <a:cubicBezTo>
                  <a:pt x="200" y="164"/>
                  <a:pt x="198" y="166"/>
                  <a:pt x="198" y="168"/>
                </a:cubicBezTo>
                <a:close/>
                <a:moveTo>
                  <a:pt x="204" y="155"/>
                </a:moveTo>
                <a:cubicBezTo>
                  <a:pt x="204" y="157"/>
                  <a:pt x="206" y="159"/>
                  <a:pt x="209" y="159"/>
                </a:cubicBezTo>
                <a:cubicBezTo>
                  <a:pt x="211" y="159"/>
                  <a:pt x="214" y="157"/>
                  <a:pt x="214" y="155"/>
                </a:cubicBezTo>
                <a:cubicBezTo>
                  <a:pt x="214" y="152"/>
                  <a:pt x="211" y="150"/>
                  <a:pt x="209" y="150"/>
                </a:cubicBezTo>
                <a:cubicBezTo>
                  <a:pt x="206" y="150"/>
                  <a:pt x="204" y="152"/>
                  <a:pt x="204" y="155"/>
                </a:cubicBezTo>
                <a:close/>
                <a:moveTo>
                  <a:pt x="211" y="141"/>
                </a:moveTo>
                <a:cubicBezTo>
                  <a:pt x="211" y="144"/>
                  <a:pt x="213" y="146"/>
                  <a:pt x="216" y="146"/>
                </a:cubicBezTo>
                <a:cubicBezTo>
                  <a:pt x="218" y="146"/>
                  <a:pt x="220" y="144"/>
                  <a:pt x="220" y="141"/>
                </a:cubicBezTo>
                <a:cubicBezTo>
                  <a:pt x="220" y="139"/>
                  <a:pt x="218" y="137"/>
                  <a:pt x="216" y="137"/>
                </a:cubicBezTo>
                <a:cubicBezTo>
                  <a:pt x="213" y="137"/>
                  <a:pt x="211" y="139"/>
                  <a:pt x="211" y="141"/>
                </a:cubicBezTo>
                <a:close/>
                <a:moveTo>
                  <a:pt x="223" y="123"/>
                </a:moveTo>
                <a:cubicBezTo>
                  <a:pt x="220" y="123"/>
                  <a:pt x="218" y="125"/>
                  <a:pt x="218" y="127"/>
                </a:cubicBezTo>
                <a:cubicBezTo>
                  <a:pt x="218" y="130"/>
                  <a:pt x="220" y="132"/>
                  <a:pt x="223" y="132"/>
                </a:cubicBezTo>
                <a:cubicBezTo>
                  <a:pt x="225" y="132"/>
                  <a:pt x="227" y="130"/>
                  <a:pt x="227" y="127"/>
                </a:cubicBezTo>
                <a:cubicBezTo>
                  <a:pt x="227" y="125"/>
                  <a:pt x="225" y="123"/>
                  <a:pt x="223" y="123"/>
                </a:cubicBezTo>
                <a:close/>
                <a:moveTo>
                  <a:pt x="189" y="109"/>
                </a:moveTo>
                <a:cubicBezTo>
                  <a:pt x="186" y="109"/>
                  <a:pt x="184" y="111"/>
                  <a:pt x="184" y="114"/>
                </a:cubicBezTo>
                <a:cubicBezTo>
                  <a:pt x="184" y="116"/>
                  <a:pt x="186" y="118"/>
                  <a:pt x="189" y="118"/>
                </a:cubicBezTo>
                <a:cubicBezTo>
                  <a:pt x="191" y="118"/>
                  <a:pt x="193" y="116"/>
                  <a:pt x="193" y="114"/>
                </a:cubicBezTo>
                <a:cubicBezTo>
                  <a:pt x="193" y="111"/>
                  <a:pt x="191" y="109"/>
                  <a:pt x="189" y="109"/>
                </a:cubicBezTo>
                <a:close/>
                <a:moveTo>
                  <a:pt x="177" y="127"/>
                </a:moveTo>
                <a:cubicBezTo>
                  <a:pt x="177" y="130"/>
                  <a:pt x="179" y="132"/>
                  <a:pt x="182" y="132"/>
                </a:cubicBezTo>
                <a:cubicBezTo>
                  <a:pt x="184" y="132"/>
                  <a:pt x="186" y="130"/>
                  <a:pt x="186" y="127"/>
                </a:cubicBezTo>
                <a:cubicBezTo>
                  <a:pt x="186" y="125"/>
                  <a:pt x="184" y="123"/>
                  <a:pt x="182" y="123"/>
                </a:cubicBezTo>
                <a:cubicBezTo>
                  <a:pt x="179" y="123"/>
                  <a:pt x="177" y="125"/>
                  <a:pt x="177" y="127"/>
                </a:cubicBezTo>
                <a:close/>
                <a:moveTo>
                  <a:pt x="252" y="114"/>
                </a:moveTo>
                <a:cubicBezTo>
                  <a:pt x="252" y="116"/>
                  <a:pt x="254" y="118"/>
                  <a:pt x="257" y="118"/>
                </a:cubicBezTo>
                <a:cubicBezTo>
                  <a:pt x="259" y="118"/>
                  <a:pt x="261" y="116"/>
                  <a:pt x="261" y="114"/>
                </a:cubicBezTo>
                <a:cubicBezTo>
                  <a:pt x="261" y="111"/>
                  <a:pt x="259" y="109"/>
                  <a:pt x="257" y="109"/>
                </a:cubicBezTo>
                <a:cubicBezTo>
                  <a:pt x="254" y="109"/>
                  <a:pt x="252" y="111"/>
                  <a:pt x="252" y="114"/>
                </a:cubicBezTo>
                <a:close/>
                <a:moveTo>
                  <a:pt x="225" y="141"/>
                </a:moveTo>
                <a:cubicBezTo>
                  <a:pt x="225" y="144"/>
                  <a:pt x="227" y="146"/>
                  <a:pt x="229" y="146"/>
                </a:cubicBezTo>
                <a:cubicBezTo>
                  <a:pt x="232" y="146"/>
                  <a:pt x="234" y="144"/>
                  <a:pt x="234" y="141"/>
                </a:cubicBezTo>
                <a:cubicBezTo>
                  <a:pt x="234" y="139"/>
                  <a:pt x="232" y="137"/>
                  <a:pt x="229" y="137"/>
                </a:cubicBezTo>
                <a:cubicBezTo>
                  <a:pt x="227" y="137"/>
                  <a:pt x="225" y="139"/>
                  <a:pt x="225" y="141"/>
                </a:cubicBezTo>
                <a:close/>
                <a:moveTo>
                  <a:pt x="275" y="87"/>
                </a:moveTo>
                <a:cubicBezTo>
                  <a:pt x="275" y="84"/>
                  <a:pt x="273" y="82"/>
                  <a:pt x="270" y="82"/>
                </a:cubicBezTo>
                <a:cubicBezTo>
                  <a:pt x="268" y="82"/>
                  <a:pt x="266" y="84"/>
                  <a:pt x="266" y="87"/>
                </a:cubicBezTo>
                <a:cubicBezTo>
                  <a:pt x="266" y="89"/>
                  <a:pt x="268" y="91"/>
                  <a:pt x="270" y="91"/>
                </a:cubicBezTo>
                <a:cubicBezTo>
                  <a:pt x="273" y="91"/>
                  <a:pt x="275" y="89"/>
                  <a:pt x="275" y="87"/>
                </a:cubicBezTo>
                <a:close/>
                <a:moveTo>
                  <a:pt x="270" y="109"/>
                </a:moveTo>
                <a:cubicBezTo>
                  <a:pt x="268" y="109"/>
                  <a:pt x="266" y="111"/>
                  <a:pt x="266" y="114"/>
                </a:cubicBezTo>
                <a:cubicBezTo>
                  <a:pt x="266" y="116"/>
                  <a:pt x="268" y="118"/>
                  <a:pt x="270" y="118"/>
                </a:cubicBezTo>
                <a:cubicBezTo>
                  <a:pt x="273" y="118"/>
                  <a:pt x="275" y="116"/>
                  <a:pt x="275" y="114"/>
                </a:cubicBezTo>
                <a:cubicBezTo>
                  <a:pt x="275" y="111"/>
                  <a:pt x="273" y="109"/>
                  <a:pt x="270" y="109"/>
                </a:cubicBezTo>
                <a:close/>
                <a:moveTo>
                  <a:pt x="259" y="100"/>
                </a:moveTo>
                <a:cubicBezTo>
                  <a:pt x="259" y="103"/>
                  <a:pt x="261" y="105"/>
                  <a:pt x="263" y="105"/>
                </a:cubicBezTo>
                <a:cubicBezTo>
                  <a:pt x="266" y="105"/>
                  <a:pt x="268" y="103"/>
                  <a:pt x="268" y="100"/>
                </a:cubicBezTo>
                <a:cubicBezTo>
                  <a:pt x="268" y="98"/>
                  <a:pt x="266" y="96"/>
                  <a:pt x="263" y="96"/>
                </a:cubicBezTo>
                <a:cubicBezTo>
                  <a:pt x="261" y="96"/>
                  <a:pt x="259" y="98"/>
                  <a:pt x="259" y="100"/>
                </a:cubicBezTo>
                <a:close/>
                <a:moveTo>
                  <a:pt x="232" y="127"/>
                </a:moveTo>
                <a:cubicBezTo>
                  <a:pt x="232" y="130"/>
                  <a:pt x="234" y="132"/>
                  <a:pt x="236" y="132"/>
                </a:cubicBezTo>
                <a:cubicBezTo>
                  <a:pt x="239" y="132"/>
                  <a:pt x="241" y="130"/>
                  <a:pt x="241" y="127"/>
                </a:cubicBezTo>
                <a:cubicBezTo>
                  <a:pt x="241" y="125"/>
                  <a:pt x="239" y="123"/>
                  <a:pt x="236" y="123"/>
                </a:cubicBezTo>
                <a:cubicBezTo>
                  <a:pt x="234" y="123"/>
                  <a:pt x="232" y="125"/>
                  <a:pt x="232" y="127"/>
                </a:cubicBezTo>
                <a:close/>
                <a:moveTo>
                  <a:pt x="245" y="127"/>
                </a:moveTo>
                <a:cubicBezTo>
                  <a:pt x="245" y="130"/>
                  <a:pt x="247" y="132"/>
                  <a:pt x="250" y="132"/>
                </a:cubicBezTo>
                <a:cubicBezTo>
                  <a:pt x="252" y="132"/>
                  <a:pt x="254" y="130"/>
                  <a:pt x="254" y="127"/>
                </a:cubicBezTo>
                <a:cubicBezTo>
                  <a:pt x="254" y="125"/>
                  <a:pt x="252" y="123"/>
                  <a:pt x="250" y="123"/>
                </a:cubicBezTo>
                <a:cubicBezTo>
                  <a:pt x="247" y="123"/>
                  <a:pt x="245" y="125"/>
                  <a:pt x="245" y="127"/>
                </a:cubicBezTo>
                <a:close/>
                <a:moveTo>
                  <a:pt x="318" y="268"/>
                </a:moveTo>
                <a:cubicBezTo>
                  <a:pt x="320" y="268"/>
                  <a:pt x="322" y="266"/>
                  <a:pt x="322" y="264"/>
                </a:cubicBezTo>
                <a:cubicBezTo>
                  <a:pt x="322" y="261"/>
                  <a:pt x="320" y="259"/>
                  <a:pt x="318" y="259"/>
                </a:cubicBezTo>
                <a:cubicBezTo>
                  <a:pt x="315" y="259"/>
                  <a:pt x="313" y="261"/>
                  <a:pt x="313" y="264"/>
                </a:cubicBezTo>
                <a:cubicBezTo>
                  <a:pt x="313" y="266"/>
                  <a:pt x="315" y="268"/>
                  <a:pt x="318" y="268"/>
                </a:cubicBezTo>
                <a:close/>
                <a:moveTo>
                  <a:pt x="370" y="196"/>
                </a:moveTo>
                <a:cubicBezTo>
                  <a:pt x="370" y="193"/>
                  <a:pt x="368" y="191"/>
                  <a:pt x="366" y="191"/>
                </a:cubicBezTo>
                <a:cubicBezTo>
                  <a:pt x="363" y="191"/>
                  <a:pt x="361" y="193"/>
                  <a:pt x="361" y="196"/>
                </a:cubicBezTo>
                <a:cubicBezTo>
                  <a:pt x="361" y="198"/>
                  <a:pt x="363" y="200"/>
                  <a:pt x="366" y="200"/>
                </a:cubicBezTo>
                <a:cubicBezTo>
                  <a:pt x="368" y="200"/>
                  <a:pt x="370" y="198"/>
                  <a:pt x="370" y="196"/>
                </a:cubicBezTo>
                <a:close/>
                <a:moveTo>
                  <a:pt x="366" y="218"/>
                </a:moveTo>
                <a:cubicBezTo>
                  <a:pt x="363" y="218"/>
                  <a:pt x="361" y="220"/>
                  <a:pt x="361" y="223"/>
                </a:cubicBezTo>
                <a:cubicBezTo>
                  <a:pt x="361" y="225"/>
                  <a:pt x="363" y="227"/>
                  <a:pt x="366" y="227"/>
                </a:cubicBezTo>
                <a:cubicBezTo>
                  <a:pt x="368" y="227"/>
                  <a:pt x="370" y="225"/>
                  <a:pt x="370" y="223"/>
                </a:cubicBezTo>
                <a:cubicBezTo>
                  <a:pt x="370" y="220"/>
                  <a:pt x="368" y="218"/>
                  <a:pt x="366" y="218"/>
                </a:cubicBezTo>
                <a:close/>
                <a:moveTo>
                  <a:pt x="370" y="168"/>
                </a:moveTo>
                <a:cubicBezTo>
                  <a:pt x="370" y="166"/>
                  <a:pt x="368" y="164"/>
                  <a:pt x="366" y="164"/>
                </a:cubicBezTo>
                <a:cubicBezTo>
                  <a:pt x="363" y="164"/>
                  <a:pt x="361" y="166"/>
                  <a:pt x="361" y="168"/>
                </a:cubicBezTo>
                <a:cubicBezTo>
                  <a:pt x="361" y="171"/>
                  <a:pt x="363" y="173"/>
                  <a:pt x="366" y="173"/>
                </a:cubicBezTo>
                <a:cubicBezTo>
                  <a:pt x="368" y="173"/>
                  <a:pt x="370" y="171"/>
                  <a:pt x="370" y="168"/>
                </a:cubicBezTo>
                <a:close/>
                <a:moveTo>
                  <a:pt x="345" y="123"/>
                </a:moveTo>
                <a:cubicBezTo>
                  <a:pt x="343" y="123"/>
                  <a:pt x="341" y="125"/>
                  <a:pt x="341" y="127"/>
                </a:cubicBezTo>
                <a:cubicBezTo>
                  <a:pt x="341" y="130"/>
                  <a:pt x="343" y="132"/>
                  <a:pt x="345" y="132"/>
                </a:cubicBezTo>
                <a:cubicBezTo>
                  <a:pt x="348" y="132"/>
                  <a:pt x="350" y="130"/>
                  <a:pt x="350" y="127"/>
                </a:cubicBezTo>
                <a:cubicBezTo>
                  <a:pt x="350" y="125"/>
                  <a:pt x="348" y="123"/>
                  <a:pt x="345" y="123"/>
                </a:cubicBezTo>
                <a:close/>
                <a:moveTo>
                  <a:pt x="352" y="137"/>
                </a:moveTo>
                <a:cubicBezTo>
                  <a:pt x="349" y="137"/>
                  <a:pt x="347" y="139"/>
                  <a:pt x="347" y="141"/>
                </a:cubicBezTo>
                <a:cubicBezTo>
                  <a:pt x="347" y="144"/>
                  <a:pt x="349" y="146"/>
                  <a:pt x="352" y="146"/>
                </a:cubicBezTo>
                <a:cubicBezTo>
                  <a:pt x="354" y="146"/>
                  <a:pt x="356" y="144"/>
                  <a:pt x="356" y="141"/>
                </a:cubicBezTo>
                <a:cubicBezTo>
                  <a:pt x="356" y="139"/>
                  <a:pt x="354" y="137"/>
                  <a:pt x="352" y="137"/>
                </a:cubicBezTo>
                <a:close/>
                <a:moveTo>
                  <a:pt x="372" y="232"/>
                </a:moveTo>
                <a:cubicBezTo>
                  <a:pt x="370" y="232"/>
                  <a:pt x="368" y="234"/>
                  <a:pt x="368" y="237"/>
                </a:cubicBezTo>
                <a:cubicBezTo>
                  <a:pt x="368" y="239"/>
                  <a:pt x="370" y="241"/>
                  <a:pt x="372" y="241"/>
                </a:cubicBezTo>
                <a:cubicBezTo>
                  <a:pt x="375" y="241"/>
                  <a:pt x="377" y="239"/>
                  <a:pt x="377" y="237"/>
                </a:cubicBezTo>
                <a:cubicBezTo>
                  <a:pt x="377" y="234"/>
                  <a:pt x="375" y="232"/>
                  <a:pt x="372" y="232"/>
                </a:cubicBezTo>
                <a:close/>
                <a:moveTo>
                  <a:pt x="354" y="182"/>
                </a:moveTo>
                <a:cubicBezTo>
                  <a:pt x="354" y="185"/>
                  <a:pt x="356" y="187"/>
                  <a:pt x="359" y="187"/>
                </a:cubicBezTo>
                <a:cubicBezTo>
                  <a:pt x="361" y="187"/>
                  <a:pt x="363" y="185"/>
                  <a:pt x="363" y="182"/>
                </a:cubicBezTo>
                <a:cubicBezTo>
                  <a:pt x="363" y="179"/>
                  <a:pt x="361" y="177"/>
                  <a:pt x="359" y="177"/>
                </a:cubicBezTo>
                <a:cubicBezTo>
                  <a:pt x="356" y="177"/>
                  <a:pt x="354" y="179"/>
                  <a:pt x="354" y="182"/>
                </a:cubicBezTo>
                <a:close/>
                <a:moveTo>
                  <a:pt x="402" y="223"/>
                </a:moveTo>
                <a:cubicBezTo>
                  <a:pt x="402" y="225"/>
                  <a:pt x="404" y="227"/>
                  <a:pt x="406" y="227"/>
                </a:cubicBezTo>
                <a:cubicBezTo>
                  <a:pt x="409" y="227"/>
                  <a:pt x="411" y="225"/>
                  <a:pt x="411" y="223"/>
                </a:cubicBezTo>
                <a:cubicBezTo>
                  <a:pt x="411" y="220"/>
                  <a:pt x="409" y="218"/>
                  <a:pt x="406" y="218"/>
                </a:cubicBezTo>
                <a:cubicBezTo>
                  <a:pt x="404" y="218"/>
                  <a:pt x="402" y="220"/>
                  <a:pt x="402" y="223"/>
                </a:cubicBezTo>
                <a:close/>
                <a:moveTo>
                  <a:pt x="413" y="132"/>
                </a:moveTo>
                <a:cubicBezTo>
                  <a:pt x="416" y="132"/>
                  <a:pt x="418" y="130"/>
                  <a:pt x="418" y="127"/>
                </a:cubicBezTo>
                <a:cubicBezTo>
                  <a:pt x="418" y="125"/>
                  <a:pt x="416" y="123"/>
                  <a:pt x="413" y="123"/>
                </a:cubicBezTo>
                <a:cubicBezTo>
                  <a:pt x="411" y="123"/>
                  <a:pt x="409" y="125"/>
                  <a:pt x="409" y="127"/>
                </a:cubicBezTo>
                <a:cubicBezTo>
                  <a:pt x="409" y="130"/>
                  <a:pt x="411" y="132"/>
                  <a:pt x="413" y="132"/>
                </a:cubicBezTo>
                <a:close/>
                <a:moveTo>
                  <a:pt x="375" y="414"/>
                </a:moveTo>
                <a:cubicBezTo>
                  <a:pt x="375" y="416"/>
                  <a:pt x="377" y="418"/>
                  <a:pt x="379" y="418"/>
                </a:cubicBezTo>
                <a:cubicBezTo>
                  <a:pt x="382" y="418"/>
                  <a:pt x="384" y="416"/>
                  <a:pt x="384" y="414"/>
                </a:cubicBezTo>
                <a:cubicBezTo>
                  <a:pt x="384" y="411"/>
                  <a:pt x="382" y="409"/>
                  <a:pt x="379" y="409"/>
                </a:cubicBezTo>
                <a:cubicBezTo>
                  <a:pt x="377" y="409"/>
                  <a:pt x="375" y="411"/>
                  <a:pt x="375" y="414"/>
                </a:cubicBezTo>
                <a:close/>
                <a:moveTo>
                  <a:pt x="400" y="205"/>
                </a:moveTo>
                <a:cubicBezTo>
                  <a:pt x="397" y="205"/>
                  <a:pt x="395" y="207"/>
                  <a:pt x="395" y="209"/>
                </a:cubicBezTo>
                <a:cubicBezTo>
                  <a:pt x="395" y="212"/>
                  <a:pt x="397" y="214"/>
                  <a:pt x="400" y="214"/>
                </a:cubicBezTo>
                <a:cubicBezTo>
                  <a:pt x="402" y="214"/>
                  <a:pt x="404" y="212"/>
                  <a:pt x="404" y="209"/>
                </a:cubicBezTo>
                <a:cubicBezTo>
                  <a:pt x="404" y="207"/>
                  <a:pt x="402" y="205"/>
                  <a:pt x="400" y="205"/>
                </a:cubicBezTo>
                <a:close/>
                <a:moveTo>
                  <a:pt x="388" y="223"/>
                </a:moveTo>
                <a:cubicBezTo>
                  <a:pt x="388" y="225"/>
                  <a:pt x="390" y="227"/>
                  <a:pt x="393" y="227"/>
                </a:cubicBezTo>
                <a:cubicBezTo>
                  <a:pt x="395" y="227"/>
                  <a:pt x="397" y="225"/>
                  <a:pt x="397" y="223"/>
                </a:cubicBezTo>
                <a:cubicBezTo>
                  <a:pt x="397" y="220"/>
                  <a:pt x="395" y="218"/>
                  <a:pt x="393" y="218"/>
                </a:cubicBezTo>
                <a:cubicBezTo>
                  <a:pt x="390" y="218"/>
                  <a:pt x="388" y="220"/>
                  <a:pt x="388" y="223"/>
                </a:cubicBezTo>
                <a:close/>
                <a:moveTo>
                  <a:pt x="248" y="250"/>
                </a:moveTo>
                <a:cubicBezTo>
                  <a:pt x="248" y="248"/>
                  <a:pt x="246" y="246"/>
                  <a:pt x="243" y="246"/>
                </a:cubicBezTo>
                <a:cubicBezTo>
                  <a:pt x="240" y="246"/>
                  <a:pt x="238" y="248"/>
                  <a:pt x="238" y="250"/>
                </a:cubicBezTo>
                <a:cubicBezTo>
                  <a:pt x="238" y="253"/>
                  <a:pt x="240" y="255"/>
                  <a:pt x="243" y="255"/>
                </a:cubicBezTo>
                <a:cubicBezTo>
                  <a:pt x="246" y="255"/>
                  <a:pt x="248" y="253"/>
                  <a:pt x="248" y="250"/>
                </a:cubicBezTo>
                <a:close/>
                <a:moveTo>
                  <a:pt x="345" y="159"/>
                </a:moveTo>
                <a:cubicBezTo>
                  <a:pt x="348" y="159"/>
                  <a:pt x="350" y="157"/>
                  <a:pt x="350" y="155"/>
                </a:cubicBezTo>
                <a:cubicBezTo>
                  <a:pt x="350" y="152"/>
                  <a:pt x="348" y="150"/>
                  <a:pt x="345" y="150"/>
                </a:cubicBezTo>
                <a:cubicBezTo>
                  <a:pt x="343" y="150"/>
                  <a:pt x="341" y="152"/>
                  <a:pt x="341" y="155"/>
                </a:cubicBezTo>
                <a:cubicBezTo>
                  <a:pt x="341" y="157"/>
                  <a:pt x="343" y="159"/>
                  <a:pt x="345" y="159"/>
                </a:cubicBezTo>
                <a:close/>
                <a:moveTo>
                  <a:pt x="277" y="214"/>
                </a:moveTo>
                <a:cubicBezTo>
                  <a:pt x="280" y="214"/>
                  <a:pt x="282" y="212"/>
                  <a:pt x="282" y="209"/>
                </a:cubicBezTo>
                <a:cubicBezTo>
                  <a:pt x="282" y="207"/>
                  <a:pt x="280" y="205"/>
                  <a:pt x="277" y="205"/>
                </a:cubicBezTo>
                <a:cubicBezTo>
                  <a:pt x="275" y="205"/>
                  <a:pt x="273" y="207"/>
                  <a:pt x="273" y="209"/>
                </a:cubicBezTo>
                <a:cubicBezTo>
                  <a:pt x="273" y="212"/>
                  <a:pt x="275" y="214"/>
                  <a:pt x="277" y="214"/>
                </a:cubicBezTo>
                <a:close/>
                <a:moveTo>
                  <a:pt x="413" y="96"/>
                </a:moveTo>
                <a:cubicBezTo>
                  <a:pt x="411" y="96"/>
                  <a:pt x="409" y="98"/>
                  <a:pt x="409" y="100"/>
                </a:cubicBezTo>
                <a:cubicBezTo>
                  <a:pt x="409" y="103"/>
                  <a:pt x="411" y="105"/>
                  <a:pt x="413" y="105"/>
                </a:cubicBezTo>
                <a:cubicBezTo>
                  <a:pt x="416" y="105"/>
                  <a:pt x="418" y="103"/>
                  <a:pt x="418" y="100"/>
                </a:cubicBezTo>
                <a:cubicBezTo>
                  <a:pt x="418" y="98"/>
                  <a:pt x="416" y="96"/>
                  <a:pt x="413" y="96"/>
                </a:cubicBezTo>
                <a:close/>
                <a:moveTo>
                  <a:pt x="270" y="191"/>
                </a:moveTo>
                <a:cubicBezTo>
                  <a:pt x="268" y="191"/>
                  <a:pt x="266" y="193"/>
                  <a:pt x="266" y="196"/>
                </a:cubicBezTo>
                <a:cubicBezTo>
                  <a:pt x="266" y="198"/>
                  <a:pt x="268" y="200"/>
                  <a:pt x="270" y="200"/>
                </a:cubicBezTo>
                <a:cubicBezTo>
                  <a:pt x="273" y="200"/>
                  <a:pt x="275" y="198"/>
                  <a:pt x="275" y="196"/>
                </a:cubicBezTo>
                <a:cubicBezTo>
                  <a:pt x="275" y="193"/>
                  <a:pt x="273" y="191"/>
                  <a:pt x="270" y="191"/>
                </a:cubicBezTo>
                <a:close/>
                <a:moveTo>
                  <a:pt x="263" y="177"/>
                </a:moveTo>
                <a:cubicBezTo>
                  <a:pt x="261" y="177"/>
                  <a:pt x="259" y="179"/>
                  <a:pt x="259" y="182"/>
                </a:cubicBezTo>
                <a:cubicBezTo>
                  <a:pt x="259" y="185"/>
                  <a:pt x="261" y="187"/>
                  <a:pt x="263" y="187"/>
                </a:cubicBezTo>
                <a:cubicBezTo>
                  <a:pt x="266" y="187"/>
                  <a:pt x="268" y="185"/>
                  <a:pt x="268" y="182"/>
                </a:cubicBezTo>
                <a:cubicBezTo>
                  <a:pt x="268" y="179"/>
                  <a:pt x="266" y="177"/>
                  <a:pt x="263" y="177"/>
                </a:cubicBezTo>
                <a:close/>
                <a:moveTo>
                  <a:pt x="245" y="182"/>
                </a:moveTo>
                <a:cubicBezTo>
                  <a:pt x="245" y="185"/>
                  <a:pt x="247" y="187"/>
                  <a:pt x="250" y="187"/>
                </a:cubicBezTo>
                <a:cubicBezTo>
                  <a:pt x="252" y="187"/>
                  <a:pt x="254" y="185"/>
                  <a:pt x="254" y="182"/>
                </a:cubicBezTo>
                <a:cubicBezTo>
                  <a:pt x="254" y="179"/>
                  <a:pt x="252" y="177"/>
                  <a:pt x="250" y="177"/>
                </a:cubicBezTo>
                <a:cubicBezTo>
                  <a:pt x="247" y="177"/>
                  <a:pt x="245" y="179"/>
                  <a:pt x="245" y="182"/>
                </a:cubicBezTo>
                <a:close/>
                <a:moveTo>
                  <a:pt x="257" y="164"/>
                </a:moveTo>
                <a:cubicBezTo>
                  <a:pt x="254" y="164"/>
                  <a:pt x="252" y="166"/>
                  <a:pt x="252" y="168"/>
                </a:cubicBezTo>
                <a:cubicBezTo>
                  <a:pt x="252" y="171"/>
                  <a:pt x="254" y="173"/>
                  <a:pt x="257" y="173"/>
                </a:cubicBezTo>
                <a:cubicBezTo>
                  <a:pt x="259" y="173"/>
                  <a:pt x="261" y="171"/>
                  <a:pt x="261" y="168"/>
                </a:cubicBezTo>
                <a:cubicBezTo>
                  <a:pt x="261" y="166"/>
                  <a:pt x="259" y="164"/>
                  <a:pt x="257" y="164"/>
                </a:cubicBezTo>
                <a:close/>
                <a:moveTo>
                  <a:pt x="293" y="114"/>
                </a:moveTo>
                <a:cubicBezTo>
                  <a:pt x="293" y="116"/>
                  <a:pt x="295" y="118"/>
                  <a:pt x="297" y="118"/>
                </a:cubicBezTo>
                <a:cubicBezTo>
                  <a:pt x="300" y="118"/>
                  <a:pt x="302" y="116"/>
                  <a:pt x="302" y="114"/>
                </a:cubicBezTo>
                <a:cubicBezTo>
                  <a:pt x="302" y="111"/>
                  <a:pt x="300" y="109"/>
                  <a:pt x="297" y="109"/>
                </a:cubicBezTo>
                <a:cubicBezTo>
                  <a:pt x="295" y="109"/>
                  <a:pt x="293" y="111"/>
                  <a:pt x="293" y="114"/>
                </a:cubicBezTo>
                <a:close/>
                <a:moveTo>
                  <a:pt x="320" y="168"/>
                </a:moveTo>
                <a:cubicBezTo>
                  <a:pt x="320" y="171"/>
                  <a:pt x="322" y="173"/>
                  <a:pt x="325" y="173"/>
                </a:cubicBezTo>
                <a:cubicBezTo>
                  <a:pt x="327" y="173"/>
                  <a:pt x="329" y="171"/>
                  <a:pt x="329" y="168"/>
                </a:cubicBezTo>
                <a:cubicBezTo>
                  <a:pt x="329" y="166"/>
                  <a:pt x="327" y="164"/>
                  <a:pt x="325" y="164"/>
                </a:cubicBezTo>
                <a:cubicBezTo>
                  <a:pt x="322" y="164"/>
                  <a:pt x="320" y="166"/>
                  <a:pt x="320" y="168"/>
                </a:cubicBezTo>
                <a:close/>
                <a:moveTo>
                  <a:pt x="304" y="96"/>
                </a:moveTo>
                <a:cubicBezTo>
                  <a:pt x="302" y="96"/>
                  <a:pt x="300" y="98"/>
                  <a:pt x="300" y="100"/>
                </a:cubicBezTo>
                <a:cubicBezTo>
                  <a:pt x="300" y="103"/>
                  <a:pt x="302" y="105"/>
                  <a:pt x="304" y="105"/>
                </a:cubicBezTo>
                <a:cubicBezTo>
                  <a:pt x="307" y="105"/>
                  <a:pt x="309" y="103"/>
                  <a:pt x="309" y="100"/>
                </a:cubicBezTo>
                <a:cubicBezTo>
                  <a:pt x="309" y="98"/>
                  <a:pt x="307" y="96"/>
                  <a:pt x="304" y="96"/>
                </a:cubicBezTo>
                <a:close/>
                <a:moveTo>
                  <a:pt x="334" y="168"/>
                </a:moveTo>
                <a:cubicBezTo>
                  <a:pt x="334" y="171"/>
                  <a:pt x="336" y="173"/>
                  <a:pt x="338" y="173"/>
                </a:cubicBezTo>
                <a:cubicBezTo>
                  <a:pt x="341" y="173"/>
                  <a:pt x="343" y="171"/>
                  <a:pt x="343" y="168"/>
                </a:cubicBezTo>
                <a:cubicBezTo>
                  <a:pt x="343" y="166"/>
                  <a:pt x="341" y="164"/>
                  <a:pt x="338" y="164"/>
                </a:cubicBezTo>
                <a:cubicBezTo>
                  <a:pt x="336" y="164"/>
                  <a:pt x="334" y="166"/>
                  <a:pt x="334" y="168"/>
                </a:cubicBezTo>
                <a:close/>
                <a:moveTo>
                  <a:pt x="332" y="150"/>
                </a:moveTo>
                <a:cubicBezTo>
                  <a:pt x="329" y="150"/>
                  <a:pt x="327" y="152"/>
                  <a:pt x="327" y="155"/>
                </a:cubicBezTo>
                <a:cubicBezTo>
                  <a:pt x="327" y="157"/>
                  <a:pt x="329" y="159"/>
                  <a:pt x="332" y="159"/>
                </a:cubicBezTo>
                <a:cubicBezTo>
                  <a:pt x="334" y="159"/>
                  <a:pt x="336" y="157"/>
                  <a:pt x="336" y="155"/>
                </a:cubicBezTo>
                <a:cubicBezTo>
                  <a:pt x="336" y="152"/>
                  <a:pt x="334" y="150"/>
                  <a:pt x="332" y="150"/>
                </a:cubicBezTo>
                <a:close/>
                <a:moveTo>
                  <a:pt x="318" y="150"/>
                </a:moveTo>
                <a:cubicBezTo>
                  <a:pt x="315" y="150"/>
                  <a:pt x="313" y="152"/>
                  <a:pt x="313" y="155"/>
                </a:cubicBezTo>
                <a:cubicBezTo>
                  <a:pt x="313" y="157"/>
                  <a:pt x="315" y="159"/>
                  <a:pt x="318" y="159"/>
                </a:cubicBezTo>
                <a:cubicBezTo>
                  <a:pt x="320" y="159"/>
                  <a:pt x="322" y="157"/>
                  <a:pt x="322" y="155"/>
                </a:cubicBezTo>
                <a:cubicBezTo>
                  <a:pt x="322" y="152"/>
                  <a:pt x="320" y="150"/>
                  <a:pt x="318" y="150"/>
                </a:cubicBezTo>
                <a:close/>
                <a:moveTo>
                  <a:pt x="311" y="137"/>
                </a:moveTo>
                <a:cubicBezTo>
                  <a:pt x="309" y="137"/>
                  <a:pt x="307" y="139"/>
                  <a:pt x="307" y="141"/>
                </a:cubicBezTo>
                <a:cubicBezTo>
                  <a:pt x="307" y="144"/>
                  <a:pt x="309" y="146"/>
                  <a:pt x="311" y="146"/>
                </a:cubicBezTo>
                <a:cubicBezTo>
                  <a:pt x="314" y="146"/>
                  <a:pt x="316" y="144"/>
                  <a:pt x="316" y="141"/>
                </a:cubicBezTo>
                <a:cubicBezTo>
                  <a:pt x="316" y="139"/>
                  <a:pt x="314" y="137"/>
                  <a:pt x="311" y="137"/>
                </a:cubicBezTo>
                <a:close/>
                <a:moveTo>
                  <a:pt x="438" y="141"/>
                </a:moveTo>
                <a:cubicBezTo>
                  <a:pt x="438" y="139"/>
                  <a:pt x="436" y="137"/>
                  <a:pt x="434" y="137"/>
                </a:cubicBezTo>
                <a:cubicBezTo>
                  <a:pt x="431" y="137"/>
                  <a:pt x="429" y="139"/>
                  <a:pt x="429" y="141"/>
                </a:cubicBezTo>
                <a:cubicBezTo>
                  <a:pt x="429" y="144"/>
                  <a:pt x="431" y="146"/>
                  <a:pt x="434" y="146"/>
                </a:cubicBezTo>
                <a:cubicBezTo>
                  <a:pt x="436" y="146"/>
                  <a:pt x="438" y="144"/>
                  <a:pt x="438" y="141"/>
                </a:cubicBezTo>
                <a:close/>
                <a:moveTo>
                  <a:pt x="372" y="541"/>
                </a:moveTo>
                <a:cubicBezTo>
                  <a:pt x="375" y="541"/>
                  <a:pt x="377" y="539"/>
                  <a:pt x="377" y="537"/>
                </a:cubicBezTo>
                <a:cubicBezTo>
                  <a:pt x="377" y="534"/>
                  <a:pt x="375" y="532"/>
                  <a:pt x="372" y="532"/>
                </a:cubicBezTo>
                <a:cubicBezTo>
                  <a:pt x="370" y="532"/>
                  <a:pt x="368" y="534"/>
                  <a:pt x="368" y="537"/>
                </a:cubicBezTo>
                <a:cubicBezTo>
                  <a:pt x="368" y="539"/>
                  <a:pt x="370" y="541"/>
                  <a:pt x="372" y="541"/>
                </a:cubicBezTo>
                <a:close/>
                <a:moveTo>
                  <a:pt x="384" y="523"/>
                </a:moveTo>
                <a:cubicBezTo>
                  <a:pt x="384" y="521"/>
                  <a:pt x="382" y="519"/>
                  <a:pt x="379" y="519"/>
                </a:cubicBezTo>
                <a:cubicBezTo>
                  <a:pt x="377" y="519"/>
                  <a:pt x="375" y="521"/>
                  <a:pt x="375" y="523"/>
                </a:cubicBezTo>
                <a:cubicBezTo>
                  <a:pt x="375" y="526"/>
                  <a:pt x="377" y="528"/>
                  <a:pt x="379" y="528"/>
                </a:cubicBezTo>
                <a:cubicBezTo>
                  <a:pt x="382" y="528"/>
                  <a:pt x="384" y="526"/>
                  <a:pt x="384" y="523"/>
                </a:cubicBezTo>
                <a:close/>
                <a:moveTo>
                  <a:pt x="370" y="523"/>
                </a:moveTo>
                <a:cubicBezTo>
                  <a:pt x="370" y="521"/>
                  <a:pt x="368" y="519"/>
                  <a:pt x="366" y="519"/>
                </a:cubicBezTo>
                <a:cubicBezTo>
                  <a:pt x="363" y="519"/>
                  <a:pt x="361" y="521"/>
                  <a:pt x="361" y="523"/>
                </a:cubicBezTo>
                <a:cubicBezTo>
                  <a:pt x="361" y="526"/>
                  <a:pt x="363" y="528"/>
                  <a:pt x="366" y="528"/>
                </a:cubicBezTo>
                <a:cubicBezTo>
                  <a:pt x="368" y="528"/>
                  <a:pt x="370" y="526"/>
                  <a:pt x="370" y="523"/>
                </a:cubicBezTo>
                <a:close/>
                <a:moveTo>
                  <a:pt x="404" y="482"/>
                </a:moveTo>
                <a:cubicBezTo>
                  <a:pt x="404" y="480"/>
                  <a:pt x="402" y="478"/>
                  <a:pt x="400" y="478"/>
                </a:cubicBezTo>
                <a:cubicBezTo>
                  <a:pt x="397" y="478"/>
                  <a:pt x="395" y="480"/>
                  <a:pt x="395" y="482"/>
                </a:cubicBezTo>
                <a:cubicBezTo>
                  <a:pt x="395" y="485"/>
                  <a:pt x="397" y="487"/>
                  <a:pt x="400" y="487"/>
                </a:cubicBezTo>
                <a:cubicBezTo>
                  <a:pt x="402" y="487"/>
                  <a:pt x="404" y="485"/>
                  <a:pt x="404" y="482"/>
                </a:cubicBezTo>
                <a:close/>
                <a:moveTo>
                  <a:pt x="391" y="509"/>
                </a:moveTo>
                <a:cubicBezTo>
                  <a:pt x="391" y="507"/>
                  <a:pt x="389" y="505"/>
                  <a:pt x="386" y="505"/>
                </a:cubicBezTo>
                <a:cubicBezTo>
                  <a:pt x="384" y="505"/>
                  <a:pt x="381" y="507"/>
                  <a:pt x="381" y="509"/>
                </a:cubicBezTo>
                <a:cubicBezTo>
                  <a:pt x="381" y="512"/>
                  <a:pt x="384" y="514"/>
                  <a:pt x="386" y="514"/>
                </a:cubicBezTo>
                <a:cubicBezTo>
                  <a:pt x="389" y="514"/>
                  <a:pt x="391" y="512"/>
                  <a:pt x="391" y="509"/>
                </a:cubicBezTo>
                <a:close/>
                <a:moveTo>
                  <a:pt x="363" y="537"/>
                </a:moveTo>
                <a:cubicBezTo>
                  <a:pt x="363" y="534"/>
                  <a:pt x="361" y="532"/>
                  <a:pt x="359" y="532"/>
                </a:cubicBezTo>
                <a:cubicBezTo>
                  <a:pt x="356" y="532"/>
                  <a:pt x="354" y="534"/>
                  <a:pt x="354" y="537"/>
                </a:cubicBezTo>
                <a:cubicBezTo>
                  <a:pt x="354" y="539"/>
                  <a:pt x="356" y="541"/>
                  <a:pt x="359" y="541"/>
                </a:cubicBezTo>
                <a:cubicBezTo>
                  <a:pt x="361" y="541"/>
                  <a:pt x="363" y="539"/>
                  <a:pt x="363" y="537"/>
                </a:cubicBezTo>
                <a:close/>
                <a:moveTo>
                  <a:pt x="397" y="496"/>
                </a:moveTo>
                <a:cubicBezTo>
                  <a:pt x="397" y="493"/>
                  <a:pt x="395" y="491"/>
                  <a:pt x="393" y="491"/>
                </a:cubicBezTo>
                <a:cubicBezTo>
                  <a:pt x="390" y="491"/>
                  <a:pt x="388" y="493"/>
                  <a:pt x="388" y="496"/>
                </a:cubicBezTo>
                <a:cubicBezTo>
                  <a:pt x="388" y="498"/>
                  <a:pt x="390" y="500"/>
                  <a:pt x="393" y="500"/>
                </a:cubicBezTo>
                <a:cubicBezTo>
                  <a:pt x="395" y="500"/>
                  <a:pt x="397" y="498"/>
                  <a:pt x="397" y="496"/>
                </a:cubicBezTo>
                <a:close/>
                <a:moveTo>
                  <a:pt x="347" y="468"/>
                </a:moveTo>
                <a:cubicBezTo>
                  <a:pt x="347" y="471"/>
                  <a:pt x="349" y="473"/>
                  <a:pt x="352" y="473"/>
                </a:cubicBezTo>
                <a:cubicBezTo>
                  <a:pt x="354" y="473"/>
                  <a:pt x="356" y="471"/>
                  <a:pt x="356" y="468"/>
                </a:cubicBezTo>
                <a:cubicBezTo>
                  <a:pt x="356" y="466"/>
                  <a:pt x="354" y="464"/>
                  <a:pt x="352" y="464"/>
                </a:cubicBezTo>
                <a:cubicBezTo>
                  <a:pt x="349" y="464"/>
                  <a:pt x="347" y="466"/>
                  <a:pt x="347" y="468"/>
                </a:cubicBezTo>
                <a:close/>
                <a:moveTo>
                  <a:pt x="352" y="446"/>
                </a:moveTo>
                <a:cubicBezTo>
                  <a:pt x="354" y="446"/>
                  <a:pt x="356" y="444"/>
                  <a:pt x="356" y="441"/>
                </a:cubicBezTo>
                <a:cubicBezTo>
                  <a:pt x="356" y="439"/>
                  <a:pt x="354" y="437"/>
                  <a:pt x="352" y="437"/>
                </a:cubicBezTo>
                <a:cubicBezTo>
                  <a:pt x="349" y="437"/>
                  <a:pt x="347" y="439"/>
                  <a:pt x="347" y="441"/>
                </a:cubicBezTo>
                <a:cubicBezTo>
                  <a:pt x="347" y="444"/>
                  <a:pt x="349" y="446"/>
                  <a:pt x="352" y="446"/>
                </a:cubicBezTo>
                <a:close/>
                <a:moveTo>
                  <a:pt x="345" y="432"/>
                </a:moveTo>
                <a:cubicBezTo>
                  <a:pt x="348" y="432"/>
                  <a:pt x="350" y="430"/>
                  <a:pt x="350" y="428"/>
                </a:cubicBezTo>
                <a:cubicBezTo>
                  <a:pt x="350" y="425"/>
                  <a:pt x="348" y="423"/>
                  <a:pt x="345" y="423"/>
                </a:cubicBezTo>
                <a:cubicBezTo>
                  <a:pt x="343" y="423"/>
                  <a:pt x="341" y="425"/>
                  <a:pt x="341" y="428"/>
                </a:cubicBezTo>
                <a:cubicBezTo>
                  <a:pt x="341" y="430"/>
                  <a:pt x="343" y="432"/>
                  <a:pt x="345" y="432"/>
                </a:cubicBezTo>
                <a:close/>
                <a:moveTo>
                  <a:pt x="347" y="550"/>
                </a:moveTo>
                <a:cubicBezTo>
                  <a:pt x="347" y="553"/>
                  <a:pt x="349" y="555"/>
                  <a:pt x="352" y="555"/>
                </a:cubicBezTo>
                <a:cubicBezTo>
                  <a:pt x="354" y="555"/>
                  <a:pt x="356" y="553"/>
                  <a:pt x="356" y="550"/>
                </a:cubicBezTo>
                <a:cubicBezTo>
                  <a:pt x="356" y="548"/>
                  <a:pt x="354" y="546"/>
                  <a:pt x="352" y="546"/>
                </a:cubicBezTo>
                <a:cubicBezTo>
                  <a:pt x="349" y="546"/>
                  <a:pt x="347" y="548"/>
                  <a:pt x="347" y="550"/>
                </a:cubicBezTo>
                <a:close/>
                <a:moveTo>
                  <a:pt x="416" y="114"/>
                </a:moveTo>
                <a:cubicBezTo>
                  <a:pt x="416" y="116"/>
                  <a:pt x="418" y="118"/>
                  <a:pt x="420" y="118"/>
                </a:cubicBezTo>
                <a:cubicBezTo>
                  <a:pt x="423" y="118"/>
                  <a:pt x="425" y="116"/>
                  <a:pt x="425" y="114"/>
                </a:cubicBezTo>
                <a:cubicBezTo>
                  <a:pt x="425" y="111"/>
                  <a:pt x="423" y="109"/>
                  <a:pt x="420" y="109"/>
                </a:cubicBezTo>
                <a:cubicBezTo>
                  <a:pt x="418" y="109"/>
                  <a:pt x="416" y="111"/>
                  <a:pt x="416" y="114"/>
                </a:cubicBezTo>
                <a:close/>
                <a:moveTo>
                  <a:pt x="347" y="496"/>
                </a:moveTo>
                <a:cubicBezTo>
                  <a:pt x="347" y="498"/>
                  <a:pt x="349" y="500"/>
                  <a:pt x="352" y="500"/>
                </a:cubicBezTo>
                <a:cubicBezTo>
                  <a:pt x="354" y="500"/>
                  <a:pt x="356" y="498"/>
                  <a:pt x="356" y="496"/>
                </a:cubicBezTo>
                <a:cubicBezTo>
                  <a:pt x="356" y="493"/>
                  <a:pt x="354" y="491"/>
                  <a:pt x="352" y="491"/>
                </a:cubicBezTo>
                <a:cubicBezTo>
                  <a:pt x="349" y="491"/>
                  <a:pt x="347" y="493"/>
                  <a:pt x="347" y="496"/>
                </a:cubicBezTo>
                <a:close/>
                <a:moveTo>
                  <a:pt x="347" y="523"/>
                </a:moveTo>
                <a:cubicBezTo>
                  <a:pt x="347" y="526"/>
                  <a:pt x="349" y="528"/>
                  <a:pt x="352" y="528"/>
                </a:cubicBezTo>
                <a:cubicBezTo>
                  <a:pt x="354" y="528"/>
                  <a:pt x="356" y="526"/>
                  <a:pt x="356" y="523"/>
                </a:cubicBezTo>
                <a:cubicBezTo>
                  <a:pt x="356" y="521"/>
                  <a:pt x="354" y="519"/>
                  <a:pt x="352" y="519"/>
                </a:cubicBezTo>
                <a:cubicBezTo>
                  <a:pt x="349" y="519"/>
                  <a:pt x="347" y="521"/>
                  <a:pt x="347" y="523"/>
                </a:cubicBezTo>
                <a:close/>
                <a:moveTo>
                  <a:pt x="452" y="87"/>
                </a:moveTo>
                <a:cubicBezTo>
                  <a:pt x="452" y="84"/>
                  <a:pt x="450" y="82"/>
                  <a:pt x="447" y="82"/>
                </a:cubicBezTo>
                <a:cubicBezTo>
                  <a:pt x="445" y="82"/>
                  <a:pt x="443" y="84"/>
                  <a:pt x="443" y="87"/>
                </a:cubicBezTo>
                <a:cubicBezTo>
                  <a:pt x="443" y="89"/>
                  <a:pt x="445" y="91"/>
                  <a:pt x="447" y="91"/>
                </a:cubicBezTo>
                <a:cubicBezTo>
                  <a:pt x="450" y="91"/>
                  <a:pt x="452" y="89"/>
                  <a:pt x="452" y="87"/>
                </a:cubicBezTo>
                <a:close/>
                <a:moveTo>
                  <a:pt x="436" y="100"/>
                </a:moveTo>
                <a:cubicBezTo>
                  <a:pt x="436" y="103"/>
                  <a:pt x="438" y="105"/>
                  <a:pt x="441" y="105"/>
                </a:cubicBezTo>
                <a:cubicBezTo>
                  <a:pt x="443" y="105"/>
                  <a:pt x="445" y="103"/>
                  <a:pt x="445" y="100"/>
                </a:cubicBezTo>
                <a:cubicBezTo>
                  <a:pt x="445" y="98"/>
                  <a:pt x="443" y="96"/>
                  <a:pt x="441" y="96"/>
                </a:cubicBezTo>
                <a:cubicBezTo>
                  <a:pt x="438" y="96"/>
                  <a:pt x="436" y="98"/>
                  <a:pt x="436" y="100"/>
                </a:cubicBezTo>
                <a:close/>
                <a:moveTo>
                  <a:pt x="447" y="146"/>
                </a:moveTo>
                <a:cubicBezTo>
                  <a:pt x="450" y="146"/>
                  <a:pt x="452" y="144"/>
                  <a:pt x="452" y="141"/>
                </a:cubicBezTo>
                <a:cubicBezTo>
                  <a:pt x="452" y="139"/>
                  <a:pt x="450" y="137"/>
                  <a:pt x="447" y="137"/>
                </a:cubicBezTo>
                <a:cubicBezTo>
                  <a:pt x="445" y="137"/>
                  <a:pt x="443" y="139"/>
                  <a:pt x="443" y="141"/>
                </a:cubicBezTo>
                <a:cubicBezTo>
                  <a:pt x="443" y="144"/>
                  <a:pt x="445" y="146"/>
                  <a:pt x="447" y="146"/>
                </a:cubicBezTo>
                <a:close/>
                <a:moveTo>
                  <a:pt x="452" y="114"/>
                </a:moveTo>
                <a:cubicBezTo>
                  <a:pt x="452" y="111"/>
                  <a:pt x="450" y="109"/>
                  <a:pt x="447" y="109"/>
                </a:cubicBezTo>
                <a:cubicBezTo>
                  <a:pt x="445" y="109"/>
                  <a:pt x="443" y="111"/>
                  <a:pt x="443" y="114"/>
                </a:cubicBezTo>
                <a:cubicBezTo>
                  <a:pt x="443" y="116"/>
                  <a:pt x="445" y="118"/>
                  <a:pt x="447" y="118"/>
                </a:cubicBezTo>
                <a:cubicBezTo>
                  <a:pt x="450" y="118"/>
                  <a:pt x="452" y="116"/>
                  <a:pt x="452" y="114"/>
                </a:cubicBezTo>
                <a:close/>
                <a:moveTo>
                  <a:pt x="422" y="100"/>
                </a:moveTo>
                <a:cubicBezTo>
                  <a:pt x="422" y="103"/>
                  <a:pt x="424" y="105"/>
                  <a:pt x="427" y="105"/>
                </a:cubicBezTo>
                <a:cubicBezTo>
                  <a:pt x="429" y="105"/>
                  <a:pt x="431" y="103"/>
                  <a:pt x="431" y="100"/>
                </a:cubicBezTo>
                <a:cubicBezTo>
                  <a:pt x="431" y="98"/>
                  <a:pt x="429" y="96"/>
                  <a:pt x="427" y="96"/>
                </a:cubicBezTo>
                <a:cubicBezTo>
                  <a:pt x="424" y="96"/>
                  <a:pt x="422" y="98"/>
                  <a:pt x="422" y="100"/>
                </a:cubicBezTo>
                <a:close/>
                <a:moveTo>
                  <a:pt x="434" y="82"/>
                </a:moveTo>
                <a:cubicBezTo>
                  <a:pt x="431" y="82"/>
                  <a:pt x="429" y="84"/>
                  <a:pt x="429" y="87"/>
                </a:cubicBezTo>
                <a:cubicBezTo>
                  <a:pt x="429" y="89"/>
                  <a:pt x="431" y="91"/>
                  <a:pt x="434" y="91"/>
                </a:cubicBezTo>
                <a:cubicBezTo>
                  <a:pt x="436" y="91"/>
                  <a:pt x="438" y="89"/>
                  <a:pt x="438" y="87"/>
                </a:cubicBezTo>
                <a:cubicBezTo>
                  <a:pt x="438" y="84"/>
                  <a:pt x="436" y="82"/>
                  <a:pt x="434" y="82"/>
                </a:cubicBezTo>
                <a:close/>
                <a:moveTo>
                  <a:pt x="425" y="468"/>
                </a:moveTo>
                <a:cubicBezTo>
                  <a:pt x="425" y="466"/>
                  <a:pt x="423" y="464"/>
                  <a:pt x="420" y="464"/>
                </a:cubicBezTo>
                <a:cubicBezTo>
                  <a:pt x="418" y="464"/>
                  <a:pt x="416" y="466"/>
                  <a:pt x="416" y="468"/>
                </a:cubicBezTo>
                <a:cubicBezTo>
                  <a:pt x="416" y="471"/>
                  <a:pt x="418" y="473"/>
                  <a:pt x="420" y="473"/>
                </a:cubicBezTo>
                <a:cubicBezTo>
                  <a:pt x="423" y="473"/>
                  <a:pt x="425" y="471"/>
                  <a:pt x="425" y="468"/>
                </a:cubicBezTo>
                <a:close/>
                <a:moveTo>
                  <a:pt x="406" y="500"/>
                </a:moveTo>
                <a:cubicBezTo>
                  <a:pt x="409" y="500"/>
                  <a:pt x="411" y="498"/>
                  <a:pt x="411" y="496"/>
                </a:cubicBezTo>
                <a:cubicBezTo>
                  <a:pt x="411" y="493"/>
                  <a:pt x="409" y="491"/>
                  <a:pt x="406" y="491"/>
                </a:cubicBezTo>
                <a:cubicBezTo>
                  <a:pt x="404" y="491"/>
                  <a:pt x="402" y="493"/>
                  <a:pt x="402" y="496"/>
                </a:cubicBezTo>
                <a:cubicBezTo>
                  <a:pt x="402" y="498"/>
                  <a:pt x="404" y="500"/>
                  <a:pt x="406" y="500"/>
                </a:cubicBezTo>
                <a:close/>
                <a:moveTo>
                  <a:pt x="431" y="455"/>
                </a:moveTo>
                <a:cubicBezTo>
                  <a:pt x="431" y="452"/>
                  <a:pt x="429" y="450"/>
                  <a:pt x="427" y="450"/>
                </a:cubicBezTo>
                <a:cubicBezTo>
                  <a:pt x="424" y="450"/>
                  <a:pt x="422" y="452"/>
                  <a:pt x="422" y="455"/>
                </a:cubicBezTo>
                <a:cubicBezTo>
                  <a:pt x="422" y="457"/>
                  <a:pt x="424" y="459"/>
                  <a:pt x="427" y="459"/>
                </a:cubicBezTo>
                <a:cubicBezTo>
                  <a:pt x="429" y="459"/>
                  <a:pt x="431" y="457"/>
                  <a:pt x="431" y="455"/>
                </a:cubicBezTo>
                <a:close/>
                <a:moveTo>
                  <a:pt x="445" y="127"/>
                </a:moveTo>
                <a:cubicBezTo>
                  <a:pt x="445" y="125"/>
                  <a:pt x="443" y="123"/>
                  <a:pt x="441" y="123"/>
                </a:cubicBezTo>
                <a:cubicBezTo>
                  <a:pt x="438" y="123"/>
                  <a:pt x="436" y="125"/>
                  <a:pt x="436" y="127"/>
                </a:cubicBezTo>
                <a:cubicBezTo>
                  <a:pt x="436" y="130"/>
                  <a:pt x="438" y="132"/>
                  <a:pt x="441" y="132"/>
                </a:cubicBezTo>
                <a:cubicBezTo>
                  <a:pt x="443" y="132"/>
                  <a:pt x="445" y="130"/>
                  <a:pt x="445" y="127"/>
                </a:cubicBezTo>
                <a:close/>
                <a:moveTo>
                  <a:pt x="418" y="482"/>
                </a:moveTo>
                <a:cubicBezTo>
                  <a:pt x="418" y="480"/>
                  <a:pt x="416" y="478"/>
                  <a:pt x="413" y="478"/>
                </a:cubicBezTo>
                <a:cubicBezTo>
                  <a:pt x="411" y="478"/>
                  <a:pt x="409" y="480"/>
                  <a:pt x="409" y="482"/>
                </a:cubicBezTo>
                <a:cubicBezTo>
                  <a:pt x="409" y="485"/>
                  <a:pt x="411" y="487"/>
                  <a:pt x="413" y="487"/>
                </a:cubicBezTo>
                <a:cubicBezTo>
                  <a:pt x="416" y="487"/>
                  <a:pt x="418" y="485"/>
                  <a:pt x="418" y="482"/>
                </a:cubicBezTo>
                <a:close/>
                <a:moveTo>
                  <a:pt x="243" y="164"/>
                </a:moveTo>
                <a:cubicBezTo>
                  <a:pt x="240" y="164"/>
                  <a:pt x="238" y="166"/>
                  <a:pt x="238" y="168"/>
                </a:cubicBezTo>
                <a:cubicBezTo>
                  <a:pt x="238" y="171"/>
                  <a:pt x="240" y="173"/>
                  <a:pt x="243" y="173"/>
                </a:cubicBezTo>
                <a:cubicBezTo>
                  <a:pt x="246" y="173"/>
                  <a:pt x="248" y="171"/>
                  <a:pt x="248" y="168"/>
                </a:cubicBezTo>
                <a:cubicBezTo>
                  <a:pt x="248" y="166"/>
                  <a:pt x="246" y="164"/>
                  <a:pt x="243" y="164"/>
                </a:cubicBezTo>
                <a:close/>
                <a:moveTo>
                  <a:pt x="427" y="150"/>
                </a:moveTo>
                <a:cubicBezTo>
                  <a:pt x="424" y="150"/>
                  <a:pt x="422" y="152"/>
                  <a:pt x="422" y="155"/>
                </a:cubicBezTo>
                <a:cubicBezTo>
                  <a:pt x="422" y="157"/>
                  <a:pt x="424" y="159"/>
                  <a:pt x="427" y="159"/>
                </a:cubicBezTo>
                <a:cubicBezTo>
                  <a:pt x="429" y="159"/>
                  <a:pt x="431" y="157"/>
                  <a:pt x="431" y="155"/>
                </a:cubicBezTo>
                <a:cubicBezTo>
                  <a:pt x="431" y="152"/>
                  <a:pt x="429" y="150"/>
                  <a:pt x="427" y="150"/>
                </a:cubicBezTo>
                <a:close/>
                <a:moveTo>
                  <a:pt x="381" y="237"/>
                </a:moveTo>
                <a:cubicBezTo>
                  <a:pt x="381" y="239"/>
                  <a:pt x="384" y="241"/>
                  <a:pt x="386" y="241"/>
                </a:cubicBezTo>
                <a:cubicBezTo>
                  <a:pt x="389" y="241"/>
                  <a:pt x="391" y="239"/>
                  <a:pt x="391" y="237"/>
                </a:cubicBezTo>
                <a:cubicBezTo>
                  <a:pt x="391" y="234"/>
                  <a:pt x="389" y="232"/>
                  <a:pt x="386" y="232"/>
                </a:cubicBezTo>
                <a:cubicBezTo>
                  <a:pt x="384" y="232"/>
                  <a:pt x="381" y="234"/>
                  <a:pt x="381" y="237"/>
                </a:cubicBezTo>
                <a:close/>
                <a:moveTo>
                  <a:pt x="195" y="214"/>
                </a:moveTo>
                <a:cubicBezTo>
                  <a:pt x="198" y="214"/>
                  <a:pt x="200" y="212"/>
                  <a:pt x="200" y="209"/>
                </a:cubicBezTo>
                <a:cubicBezTo>
                  <a:pt x="200" y="207"/>
                  <a:pt x="198" y="205"/>
                  <a:pt x="195" y="205"/>
                </a:cubicBezTo>
                <a:cubicBezTo>
                  <a:pt x="193" y="205"/>
                  <a:pt x="191" y="207"/>
                  <a:pt x="191" y="209"/>
                </a:cubicBezTo>
                <a:cubicBezTo>
                  <a:pt x="191" y="212"/>
                  <a:pt x="193" y="214"/>
                  <a:pt x="195" y="214"/>
                </a:cubicBezTo>
                <a:close/>
                <a:moveTo>
                  <a:pt x="193" y="196"/>
                </a:moveTo>
                <a:cubicBezTo>
                  <a:pt x="193" y="193"/>
                  <a:pt x="191" y="191"/>
                  <a:pt x="189" y="191"/>
                </a:cubicBezTo>
                <a:cubicBezTo>
                  <a:pt x="186" y="191"/>
                  <a:pt x="184" y="193"/>
                  <a:pt x="184" y="196"/>
                </a:cubicBezTo>
                <a:cubicBezTo>
                  <a:pt x="184" y="198"/>
                  <a:pt x="186" y="200"/>
                  <a:pt x="189" y="200"/>
                </a:cubicBezTo>
                <a:cubicBezTo>
                  <a:pt x="191" y="200"/>
                  <a:pt x="193" y="198"/>
                  <a:pt x="193" y="196"/>
                </a:cubicBezTo>
                <a:close/>
                <a:moveTo>
                  <a:pt x="175" y="191"/>
                </a:moveTo>
                <a:cubicBezTo>
                  <a:pt x="172" y="191"/>
                  <a:pt x="170" y="193"/>
                  <a:pt x="170" y="196"/>
                </a:cubicBezTo>
                <a:cubicBezTo>
                  <a:pt x="170" y="198"/>
                  <a:pt x="172" y="200"/>
                  <a:pt x="175" y="200"/>
                </a:cubicBezTo>
                <a:cubicBezTo>
                  <a:pt x="177" y="200"/>
                  <a:pt x="179" y="198"/>
                  <a:pt x="179" y="196"/>
                </a:cubicBezTo>
                <a:cubicBezTo>
                  <a:pt x="179" y="193"/>
                  <a:pt x="177" y="191"/>
                  <a:pt x="175" y="191"/>
                </a:cubicBezTo>
                <a:close/>
                <a:moveTo>
                  <a:pt x="189" y="164"/>
                </a:moveTo>
                <a:cubicBezTo>
                  <a:pt x="186" y="164"/>
                  <a:pt x="184" y="166"/>
                  <a:pt x="184" y="168"/>
                </a:cubicBezTo>
                <a:cubicBezTo>
                  <a:pt x="184" y="171"/>
                  <a:pt x="186" y="173"/>
                  <a:pt x="189" y="173"/>
                </a:cubicBezTo>
                <a:cubicBezTo>
                  <a:pt x="191" y="173"/>
                  <a:pt x="193" y="171"/>
                  <a:pt x="193" y="168"/>
                </a:cubicBezTo>
                <a:cubicBezTo>
                  <a:pt x="193" y="166"/>
                  <a:pt x="191" y="164"/>
                  <a:pt x="189" y="164"/>
                </a:cubicBezTo>
                <a:close/>
                <a:moveTo>
                  <a:pt x="182" y="214"/>
                </a:moveTo>
                <a:cubicBezTo>
                  <a:pt x="184" y="214"/>
                  <a:pt x="186" y="212"/>
                  <a:pt x="186" y="209"/>
                </a:cubicBezTo>
                <a:cubicBezTo>
                  <a:pt x="186" y="207"/>
                  <a:pt x="184" y="205"/>
                  <a:pt x="182" y="205"/>
                </a:cubicBezTo>
                <a:cubicBezTo>
                  <a:pt x="179" y="205"/>
                  <a:pt x="177" y="207"/>
                  <a:pt x="177" y="209"/>
                </a:cubicBezTo>
                <a:cubicBezTo>
                  <a:pt x="177" y="212"/>
                  <a:pt x="179" y="214"/>
                  <a:pt x="182" y="214"/>
                </a:cubicBezTo>
                <a:close/>
                <a:moveTo>
                  <a:pt x="195" y="177"/>
                </a:moveTo>
                <a:cubicBezTo>
                  <a:pt x="193" y="177"/>
                  <a:pt x="191" y="179"/>
                  <a:pt x="191" y="182"/>
                </a:cubicBezTo>
                <a:cubicBezTo>
                  <a:pt x="191" y="185"/>
                  <a:pt x="193" y="187"/>
                  <a:pt x="195" y="187"/>
                </a:cubicBezTo>
                <a:cubicBezTo>
                  <a:pt x="198" y="187"/>
                  <a:pt x="200" y="185"/>
                  <a:pt x="200" y="182"/>
                </a:cubicBezTo>
                <a:cubicBezTo>
                  <a:pt x="200" y="179"/>
                  <a:pt x="198" y="177"/>
                  <a:pt x="195" y="177"/>
                </a:cubicBezTo>
                <a:close/>
                <a:moveTo>
                  <a:pt x="232" y="155"/>
                </a:moveTo>
                <a:cubicBezTo>
                  <a:pt x="232" y="157"/>
                  <a:pt x="234" y="159"/>
                  <a:pt x="236" y="159"/>
                </a:cubicBezTo>
                <a:cubicBezTo>
                  <a:pt x="239" y="159"/>
                  <a:pt x="241" y="157"/>
                  <a:pt x="241" y="155"/>
                </a:cubicBezTo>
                <a:cubicBezTo>
                  <a:pt x="241" y="152"/>
                  <a:pt x="239" y="150"/>
                  <a:pt x="236" y="150"/>
                </a:cubicBezTo>
                <a:cubicBezTo>
                  <a:pt x="234" y="150"/>
                  <a:pt x="232" y="152"/>
                  <a:pt x="232" y="155"/>
                </a:cubicBezTo>
                <a:close/>
                <a:moveTo>
                  <a:pt x="223" y="150"/>
                </a:moveTo>
                <a:cubicBezTo>
                  <a:pt x="220" y="150"/>
                  <a:pt x="218" y="152"/>
                  <a:pt x="218" y="155"/>
                </a:cubicBezTo>
                <a:cubicBezTo>
                  <a:pt x="218" y="157"/>
                  <a:pt x="220" y="159"/>
                  <a:pt x="223" y="159"/>
                </a:cubicBezTo>
                <a:cubicBezTo>
                  <a:pt x="225" y="159"/>
                  <a:pt x="227" y="157"/>
                  <a:pt x="227" y="155"/>
                </a:cubicBezTo>
                <a:cubicBezTo>
                  <a:pt x="227" y="152"/>
                  <a:pt x="225" y="150"/>
                  <a:pt x="223" y="150"/>
                </a:cubicBezTo>
                <a:close/>
                <a:moveTo>
                  <a:pt x="198" y="196"/>
                </a:moveTo>
                <a:cubicBezTo>
                  <a:pt x="198" y="198"/>
                  <a:pt x="200" y="200"/>
                  <a:pt x="202" y="200"/>
                </a:cubicBezTo>
                <a:cubicBezTo>
                  <a:pt x="205" y="200"/>
                  <a:pt x="207" y="198"/>
                  <a:pt x="207" y="196"/>
                </a:cubicBezTo>
                <a:cubicBezTo>
                  <a:pt x="207" y="193"/>
                  <a:pt x="205" y="191"/>
                  <a:pt x="202" y="191"/>
                </a:cubicBezTo>
                <a:cubicBezTo>
                  <a:pt x="200" y="191"/>
                  <a:pt x="198" y="193"/>
                  <a:pt x="198" y="196"/>
                </a:cubicBezTo>
                <a:close/>
                <a:moveTo>
                  <a:pt x="177" y="182"/>
                </a:moveTo>
                <a:cubicBezTo>
                  <a:pt x="177" y="185"/>
                  <a:pt x="179" y="187"/>
                  <a:pt x="182" y="187"/>
                </a:cubicBezTo>
                <a:cubicBezTo>
                  <a:pt x="184" y="187"/>
                  <a:pt x="186" y="185"/>
                  <a:pt x="186" y="182"/>
                </a:cubicBezTo>
                <a:cubicBezTo>
                  <a:pt x="186" y="179"/>
                  <a:pt x="184" y="177"/>
                  <a:pt x="182" y="177"/>
                </a:cubicBezTo>
                <a:cubicBezTo>
                  <a:pt x="179" y="177"/>
                  <a:pt x="177" y="179"/>
                  <a:pt x="177" y="182"/>
                </a:cubicBezTo>
                <a:close/>
                <a:moveTo>
                  <a:pt x="225" y="168"/>
                </a:moveTo>
                <a:cubicBezTo>
                  <a:pt x="225" y="171"/>
                  <a:pt x="227" y="173"/>
                  <a:pt x="229" y="173"/>
                </a:cubicBezTo>
                <a:cubicBezTo>
                  <a:pt x="232" y="173"/>
                  <a:pt x="234" y="171"/>
                  <a:pt x="234" y="168"/>
                </a:cubicBezTo>
                <a:cubicBezTo>
                  <a:pt x="234" y="166"/>
                  <a:pt x="232" y="164"/>
                  <a:pt x="229" y="164"/>
                </a:cubicBezTo>
                <a:cubicBezTo>
                  <a:pt x="227" y="164"/>
                  <a:pt x="225" y="166"/>
                  <a:pt x="225" y="168"/>
                </a:cubicBezTo>
                <a:close/>
                <a:moveTo>
                  <a:pt x="211" y="168"/>
                </a:moveTo>
                <a:cubicBezTo>
                  <a:pt x="211" y="171"/>
                  <a:pt x="213" y="173"/>
                  <a:pt x="216" y="173"/>
                </a:cubicBezTo>
                <a:cubicBezTo>
                  <a:pt x="218" y="173"/>
                  <a:pt x="220" y="171"/>
                  <a:pt x="220" y="168"/>
                </a:cubicBezTo>
                <a:cubicBezTo>
                  <a:pt x="220" y="166"/>
                  <a:pt x="218" y="164"/>
                  <a:pt x="216" y="164"/>
                </a:cubicBezTo>
                <a:cubicBezTo>
                  <a:pt x="213" y="164"/>
                  <a:pt x="211" y="166"/>
                  <a:pt x="211" y="168"/>
                </a:cubicBezTo>
                <a:close/>
                <a:moveTo>
                  <a:pt x="204" y="182"/>
                </a:moveTo>
                <a:cubicBezTo>
                  <a:pt x="204" y="185"/>
                  <a:pt x="206" y="187"/>
                  <a:pt x="209" y="187"/>
                </a:cubicBezTo>
                <a:cubicBezTo>
                  <a:pt x="211" y="187"/>
                  <a:pt x="214" y="185"/>
                  <a:pt x="214" y="182"/>
                </a:cubicBezTo>
                <a:cubicBezTo>
                  <a:pt x="214" y="179"/>
                  <a:pt x="211" y="177"/>
                  <a:pt x="209" y="177"/>
                </a:cubicBezTo>
                <a:cubicBezTo>
                  <a:pt x="206" y="177"/>
                  <a:pt x="204" y="179"/>
                  <a:pt x="204" y="182"/>
                </a:cubicBezTo>
                <a:close/>
                <a:moveTo>
                  <a:pt x="182" y="241"/>
                </a:moveTo>
                <a:cubicBezTo>
                  <a:pt x="184" y="241"/>
                  <a:pt x="186" y="239"/>
                  <a:pt x="186" y="237"/>
                </a:cubicBezTo>
                <a:cubicBezTo>
                  <a:pt x="186" y="234"/>
                  <a:pt x="184" y="232"/>
                  <a:pt x="182" y="232"/>
                </a:cubicBezTo>
                <a:cubicBezTo>
                  <a:pt x="179" y="232"/>
                  <a:pt x="177" y="234"/>
                  <a:pt x="177" y="237"/>
                </a:cubicBezTo>
                <a:cubicBezTo>
                  <a:pt x="177" y="239"/>
                  <a:pt x="179" y="241"/>
                  <a:pt x="182" y="241"/>
                </a:cubicBezTo>
                <a:close/>
                <a:moveTo>
                  <a:pt x="216" y="255"/>
                </a:moveTo>
                <a:cubicBezTo>
                  <a:pt x="218" y="255"/>
                  <a:pt x="220" y="253"/>
                  <a:pt x="220" y="250"/>
                </a:cubicBezTo>
                <a:cubicBezTo>
                  <a:pt x="220" y="248"/>
                  <a:pt x="218" y="246"/>
                  <a:pt x="216" y="246"/>
                </a:cubicBezTo>
                <a:cubicBezTo>
                  <a:pt x="213" y="246"/>
                  <a:pt x="211" y="248"/>
                  <a:pt x="211" y="250"/>
                </a:cubicBezTo>
                <a:cubicBezTo>
                  <a:pt x="211" y="253"/>
                  <a:pt x="213" y="255"/>
                  <a:pt x="216" y="255"/>
                </a:cubicBezTo>
                <a:close/>
                <a:moveTo>
                  <a:pt x="209" y="241"/>
                </a:moveTo>
                <a:cubicBezTo>
                  <a:pt x="211" y="241"/>
                  <a:pt x="214" y="239"/>
                  <a:pt x="214" y="237"/>
                </a:cubicBezTo>
                <a:cubicBezTo>
                  <a:pt x="214" y="234"/>
                  <a:pt x="211" y="232"/>
                  <a:pt x="209" y="232"/>
                </a:cubicBezTo>
                <a:cubicBezTo>
                  <a:pt x="206" y="232"/>
                  <a:pt x="204" y="234"/>
                  <a:pt x="204" y="237"/>
                </a:cubicBezTo>
                <a:cubicBezTo>
                  <a:pt x="204" y="239"/>
                  <a:pt x="206" y="241"/>
                  <a:pt x="209" y="241"/>
                </a:cubicBezTo>
                <a:close/>
                <a:moveTo>
                  <a:pt x="223" y="268"/>
                </a:moveTo>
                <a:cubicBezTo>
                  <a:pt x="225" y="268"/>
                  <a:pt x="227" y="266"/>
                  <a:pt x="227" y="264"/>
                </a:cubicBezTo>
                <a:cubicBezTo>
                  <a:pt x="227" y="261"/>
                  <a:pt x="225" y="259"/>
                  <a:pt x="223" y="259"/>
                </a:cubicBezTo>
                <a:cubicBezTo>
                  <a:pt x="220" y="259"/>
                  <a:pt x="218" y="261"/>
                  <a:pt x="218" y="264"/>
                </a:cubicBezTo>
                <a:cubicBezTo>
                  <a:pt x="218" y="266"/>
                  <a:pt x="220" y="268"/>
                  <a:pt x="223" y="268"/>
                </a:cubicBezTo>
                <a:close/>
                <a:moveTo>
                  <a:pt x="207" y="223"/>
                </a:moveTo>
                <a:cubicBezTo>
                  <a:pt x="207" y="220"/>
                  <a:pt x="205" y="218"/>
                  <a:pt x="202" y="218"/>
                </a:cubicBezTo>
                <a:cubicBezTo>
                  <a:pt x="200" y="218"/>
                  <a:pt x="198" y="220"/>
                  <a:pt x="198" y="223"/>
                </a:cubicBezTo>
                <a:cubicBezTo>
                  <a:pt x="198" y="225"/>
                  <a:pt x="200" y="227"/>
                  <a:pt x="202" y="227"/>
                </a:cubicBezTo>
                <a:cubicBezTo>
                  <a:pt x="205" y="227"/>
                  <a:pt x="207" y="225"/>
                  <a:pt x="207" y="223"/>
                </a:cubicBezTo>
                <a:close/>
                <a:moveTo>
                  <a:pt x="229" y="282"/>
                </a:moveTo>
                <a:cubicBezTo>
                  <a:pt x="232" y="282"/>
                  <a:pt x="234" y="280"/>
                  <a:pt x="234" y="278"/>
                </a:cubicBezTo>
                <a:cubicBezTo>
                  <a:pt x="234" y="275"/>
                  <a:pt x="232" y="273"/>
                  <a:pt x="229" y="273"/>
                </a:cubicBezTo>
                <a:cubicBezTo>
                  <a:pt x="227" y="273"/>
                  <a:pt x="225" y="275"/>
                  <a:pt x="225" y="278"/>
                </a:cubicBezTo>
                <a:cubicBezTo>
                  <a:pt x="225" y="280"/>
                  <a:pt x="227" y="282"/>
                  <a:pt x="229" y="282"/>
                </a:cubicBezTo>
                <a:close/>
                <a:moveTo>
                  <a:pt x="241" y="264"/>
                </a:moveTo>
                <a:cubicBezTo>
                  <a:pt x="241" y="261"/>
                  <a:pt x="239" y="259"/>
                  <a:pt x="236" y="259"/>
                </a:cubicBezTo>
                <a:cubicBezTo>
                  <a:pt x="234" y="259"/>
                  <a:pt x="232" y="261"/>
                  <a:pt x="232" y="264"/>
                </a:cubicBezTo>
                <a:cubicBezTo>
                  <a:pt x="232" y="266"/>
                  <a:pt x="234" y="268"/>
                  <a:pt x="236" y="268"/>
                </a:cubicBezTo>
                <a:cubicBezTo>
                  <a:pt x="239" y="268"/>
                  <a:pt x="241" y="266"/>
                  <a:pt x="241" y="264"/>
                </a:cubicBezTo>
                <a:close/>
                <a:moveTo>
                  <a:pt x="175" y="164"/>
                </a:moveTo>
                <a:cubicBezTo>
                  <a:pt x="172" y="164"/>
                  <a:pt x="170" y="166"/>
                  <a:pt x="170" y="168"/>
                </a:cubicBezTo>
                <a:cubicBezTo>
                  <a:pt x="170" y="171"/>
                  <a:pt x="172" y="173"/>
                  <a:pt x="175" y="173"/>
                </a:cubicBezTo>
                <a:cubicBezTo>
                  <a:pt x="177" y="173"/>
                  <a:pt x="179" y="171"/>
                  <a:pt x="179" y="168"/>
                </a:cubicBezTo>
                <a:cubicBezTo>
                  <a:pt x="179" y="166"/>
                  <a:pt x="177" y="164"/>
                  <a:pt x="175" y="164"/>
                </a:cubicBezTo>
                <a:close/>
                <a:moveTo>
                  <a:pt x="175" y="227"/>
                </a:moveTo>
                <a:cubicBezTo>
                  <a:pt x="177" y="227"/>
                  <a:pt x="179" y="225"/>
                  <a:pt x="179" y="223"/>
                </a:cubicBezTo>
                <a:cubicBezTo>
                  <a:pt x="179" y="220"/>
                  <a:pt x="177" y="218"/>
                  <a:pt x="175" y="218"/>
                </a:cubicBezTo>
                <a:cubicBezTo>
                  <a:pt x="172" y="218"/>
                  <a:pt x="170" y="220"/>
                  <a:pt x="170" y="223"/>
                </a:cubicBezTo>
                <a:cubicBezTo>
                  <a:pt x="170" y="225"/>
                  <a:pt x="172" y="227"/>
                  <a:pt x="175" y="227"/>
                </a:cubicBezTo>
                <a:close/>
                <a:moveTo>
                  <a:pt x="164" y="209"/>
                </a:moveTo>
                <a:cubicBezTo>
                  <a:pt x="164" y="212"/>
                  <a:pt x="166" y="214"/>
                  <a:pt x="168" y="214"/>
                </a:cubicBezTo>
                <a:cubicBezTo>
                  <a:pt x="171" y="214"/>
                  <a:pt x="173" y="212"/>
                  <a:pt x="173" y="209"/>
                </a:cubicBezTo>
                <a:cubicBezTo>
                  <a:pt x="173" y="207"/>
                  <a:pt x="171" y="205"/>
                  <a:pt x="168" y="205"/>
                </a:cubicBezTo>
                <a:cubicBezTo>
                  <a:pt x="166" y="205"/>
                  <a:pt x="164" y="207"/>
                  <a:pt x="164" y="209"/>
                </a:cubicBezTo>
                <a:close/>
                <a:moveTo>
                  <a:pt x="195" y="241"/>
                </a:moveTo>
                <a:cubicBezTo>
                  <a:pt x="198" y="241"/>
                  <a:pt x="200" y="239"/>
                  <a:pt x="200" y="237"/>
                </a:cubicBezTo>
                <a:cubicBezTo>
                  <a:pt x="200" y="234"/>
                  <a:pt x="198" y="232"/>
                  <a:pt x="195" y="232"/>
                </a:cubicBezTo>
                <a:cubicBezTo>
                  <a:pt x="193" y="232"/>
                  <a:pt x="191" y="234"/>
                  <a:pt x="191" y="237"/>
                </a:cubicBezTo>
                <a:cubicBezTo>
                  <a:pt x="191" y="239"/>
                  <a:pt x="193" y="241"/>
                  <a:pt x="195" y="241"/>
                </a:cubicBezTo>
                <a:close/>
                <a:moveTo>
                  <a:pt x="164" y="182"/>
                </a:moveTo>
                <a:cubicBezTo>
                  <a:pt x="164" y="185"/>
                  <a:pt x="166" y="187"/>
                  <a:pt x="168" y="187"/>
                </a:cubicBezTo>
                <a:cubicBezTo>
                  <a:pt x="171" y="187"/>
                  <a:pt x="173" y="185"/>
                  <a:pt x="173" y="182"/>
                </a:cubicBezTo>
                <a:cubicBezTo>
                  <a:pt x="173" y="179"/>
                  <a:pt x="171" y="177"/>
                  <a:pt x="168" y="177"/>
                </a:cubicBezTo>
                <a:cubicBezTo>
                  <a:pt x="166" y="177"/>
                  <a:pt x="164" y="179"/>
                  <a:pt x="164" y="182"/>
                </a:cubicBezTo>
                <a:close/>
                <a:moveTo>
                  <a:pt x="232" y="182"/>
                </a:moveTo>
                <a:cubicBezTo>
                  <a:pt x="232" y="185"/>
                  <a:pt x="234" y="187"/>
                  <a:pt x="236" y="187"/>
                </a:cubicBezTo>
                <a:cubicBezTo>
                  <a:pt x="239" y="187"/>
                  <a:pt x="241" y="185"/>
                  <a:pt x="241" y="182"/>
                </a:cubicBezTo>
                <a:cubicBezTo>
                  <a:pt x="241" y="179"/>
                  <a:pt x="239" y="177"/>
                  <a:pt x="236" y="177"/>
                </a:cubicBezTo>
                <a:cubicBezTo>
                  <a:pt x="234" y="177"/>
                  <a:pt x="232" y="179"/>
                  <a:pt x="232" y="182"/>
                </a:cubicBezTo>
                <a:close/>
                <a:moveTo>
                  <a:pt x="193" y="223"/>
                </a:moveTo>
                <a:cubicBezTo>
                  <a:pt x="193" y="220"/>
                  <a:pt x="191" y="218"/>
                  <a:pt x="189" y="218"/>
                </a:cubicBezTo>
                <a:cubicBezTo>
                  <a:pt x="186" y="218"/>
                  <a:pt x="184" y="220"/>
                  <a:pt x="184" y="223"/>
                </a:cubicBezTo>
                <a:cubicBezTo>
                  <a:pt x="184" y="225"/>
                  <a:pt x="186" y="227"/>
                  <a:pt x="189" y="227"/>
                </a:cubicBezTo>
                <a:cubicBezTo>
                  <a:pt x="191" y="227"/>
                  <a:pt x="193" y="225"/>
                  <a:pt x="193" y="223"/>
                </a:cubicBezTo>
                <a:close/>
                <a:moveTo>
                  <a:pt x="243" y="137"/>
                </a:moveTo>
                <a:cubicBezTo>
                  <a:pt x="240" y="137"/>
                  <a:pt x="238" y="139"/>
                  <a:pt x="238" y="141"/>
                </a:cubicBezTo>
                <a:cubicBezTo>
                  <a:pt x="238" y="144"/>
                  <a:pt x="240" y="146"/>
                  <a:pt x="243" y="146"/>
                </a:cubicBezTo>
                <a:cubicBezTo>
                  <a:pt x="246" y="146"/>
                  <a:pt x="248" y="144"/>
                  <a:pt x="248" y="141"/>
                </a:cubicBezTo>
                <a:cubicBezTo>
                  <a:pt x="248" y="139"/>
                  <a:pt x="246" y="137"/>
                  <a:pt x="243" y="137"/>
                </a:cubicBezTo>
                <a:close/>
                <a:moveTo>
                  <a:pt x="223" y="241"/>
                </a:moveTo>
                <a:cubicBezTo>
                  <a:pt x="225" y="241"/>
                  <a:pt x="227" y="239"/>
                  <a:pt x="227" y="237"/>
                </a:cubicBezTo>
                <a:cubicBezTo>
                  <a:pt x="227" y="234"/>
                  <a:pt x="225" y="232"/>
                  <a:pt x="223" y="232"/>
                </a:cubicBezTo>
                <a:cubicBezTo>
                  <a:pt x="220" y="232"/>
                  <a:pt x="218" y="234"/>
                  <a:pt x="218" y="237"/>
                </a:cubicBezTo>
                <a:cubicBezTo>
                  <a:pt x="218" y="239"/>
                  <a:pt x="220" y="241"/>
                  <a:pt x="223" y="241"/>
                </a:cubicBezTo>
                <a:close/>
                <a:moveTo>
                  <a:pt x="216" y="227"/>
                </a:moveTo>
                <a:cubicBezTo>
                  <a:pt x="218" y="227"/>
                  <a:pt x="220" y="225"/>
                  <a:pt x="220" y="223"/>
                </a:cubicBezTo>
                <a:cubicBezTo>
                  <a:pt x="220" y="220"/>
                  <a:pt x="218" y="218"/>
                  <a:pt x="216" y="218"/>
                </a:cubicBezTo>
                <a:cubicBezTo>
                  <a:pt x="213" y="218"/>
                  <a:pt x="211" y="220"/>
                  <a:pt x="211" y="223"/>
                </a:cubicBezTo>
                <a:cubicBezTo>
                  <a:pt x="211" y="225"/>
                  <a:pt x="213" y="227"/>
                  <a:pt x="216" y="227"/>
                </a:cubicBezTo>
                <a:close/>
                <a:moveTo>
                  <a:pt x="229" y="255"/>
                </a:moveTo>
                <a:cubicBezTo>
                  <a:pt x="232" y="255"/>
                  <a:pt x="234" y="253"/>
                  <a:pt x="234" y="250"/>
                </a:cubicBezTo>
                <a:cubicBezTo>
                  <a:pt x="234" y="248"/>
                  <a:pt x="232" y="246"/>
                  <a:pt x="229" y="246"/>
                </a:cubicBezTo>
                <a:cubicBezTo>
                  <a:pt x="227" y="246"/>
                  <a:pt x="225" y="248"/>
                  <a:pt x="225" y="250"/>
                </a:cubicBezTo>
                <a:cubicBezTo>
                  <a:pt x="225" y="253"/>
                  <a:pt x="227" y="255"/>
                  <a:pt x="229" y="255"/>
                </a:cubicBezTo>
                <a:close/>
                <a:moveTo>
                  <a:pt x="241" y="237"/>
                </a:moveTo>
                <a:cubicBezTo>
                  <a:pt x="241" y="234"/>
                  <a:pt x="239" y="232"/>
                  <a:pt x="236" y="232"/>
                </a:cubicBezTo>
                <a:cubicBezTo>
                  <a:pt x="234" y="232"/>
                  <a:pt x="232" y="234"/>
                  <a:pt x="232" y="237"/>
                </a:cubicBezTo>
                <a:cubicBezTo>
                  <a:pt x="232" y="239"/>
                  <a:pt x="234" y="241"/>
                  <a:pt x="236" y="241"/>
                </a:cubicBezTo>
                <a:cubicBezTo>
                  <a:pt x="239" y="241"/>
                  <a:pt x="241" y="239"/>
                  <a:pt x="241" y="237"/>
                </a:cubicBezTo>
                <a:close/>
                <a:moveTo>
                  <a:pt x="254" y="209"/>
                </a:moveTo>
                <a:cubicBezTo>
                  <a:pt x="254" y="207"/>
                  <a:pt x="252" y="205"/>
                  <a:pt x="250" y="205"/>
                </a:cubicBezTo>
                <a:cubicBezTo>
                  <a:pt x="247" y="205"/>
                  <a:pt x="245" y="207"/>
                  <a:pt x="245" y="209"/>
                </a:cubicBezTo>
                <a:cubicBezTo>
                  <a:pt x="245" y="212"/>
                  <a:pt x="247" y="214"/>
                  <a:pt x="250" y="214"/>
                </a:cubicBezTo>
                <a:cubicBezTo>
                  <a:pt x="252" y="214"/>
                  <a:pt x="254" y="212"/>
                  <a:pt x="254" y="209"/>
                </a:cubicBezTo>
                <a:close/>
                <a:moveTo>
                  <a:pt x="204" y="209"/>
                </a:moveTo>
                <a:cubicBezTo>
                  <a:pt x="204" y="212"/>
                  <a:pt x="206" y="214"/>
                  <a:pt x="209" y="214"/>
                </a:cubicBezTo>
                <a:cubicBezTo>
                  <a:pt x="211" y="214"/>
                  <a:pt x="214" y="212"/>
                  <a:pt x="214" y="209"/>
                </a:cubicBezTo>
                <a:cubicBezTo>
                  <a:pt x="214" y="207"/>
                  <a:pt x="211" y="205"/>
                  <a:pt x="209" y="205"/>
                </a:cubicBezTo>
                <a:cubicBezTo>
                  <a:pt x="206" y="205"/>
                  <a:pt x="204" y="207"/>
                  <a:pt x="204" y="209"/>
                </a:cubicBezTo>
                <a:close/>
                <a:moveTo>
                  <a:pt x="248" y="223"/>
                </a:moveTo>
                <a:cubicBezTo>
                  <a:pt x="248" y="220"/>
                  <a:pt x="246" y="218"/>
                  <a:pt x="243" y="218"/>
                </a:cubicBezTo>
                <a:cubicBezTo>
                  <a:pt x="240" y="218"/>
                  <a:pt x="238" y="220"/>
                  <a:pt x="238" y="223"/>
                </a:cubicBezTo>
                <a:cubicBezTo>
                  <a:pt x="238" y="225"/>
                  <a:pt x="240" y="227"/>
                  <a:pt x="243" y="227"/>
                </a:cubicBezTo>
                <a:cubicBezTo>
                  <a:pt x="246" y="227"/>
                  <a:pt x="248" y="225"/>
                  <a:pt x="248" y="223"/>
                </a:cubicBezTo>
                <a:close/>
                <a:moveTo>
                  <a:pt x="223" y="205"/>
                </a:moveTo>
                <a:cubicBezTo>
                  <a:pt x="220" y="205"/>
                  <a:pt x="218" y="207"/>
                  <a:pt x="218" y="209"/>
                </a:cubicBezTo>
                <a:cubicBezTo>
                  <a:pt x="218" y="212"/>
                  <a:pt x="220" y="214"/>
                  <a:pt x="223" y="214"/>
                </a:cubicBezTo>
                <a:cubicBezTo>
                  <a:pt x="225" y="214"/>
                  <a:pt x="227" y="212"/>
                  <a:pt x="227" y="209"/>
                </a:cubicBezTo>
                <a:cubicBezTo>
                  <a:pt x="227" y="207"/>
                  <a:pt x="225" y="205"/>
                  <a:pt x="223" y="205"/>
                </a:cubicBezTo>
                <a:close/>
                <a:moveTo>
                  <a:pt x="211" y="196"/>
                </a:moveTo>
                <a:cubicBezTo>
                  <a:pt x="211" y="198"/>
                  <a:pt x="213" y="200"/>
                  <a:pt x="216" y="200"/>
                </a:cubicBezTo>
                <a:cubicBezTo>
                  <a:pt x="218" y="200"/>
                  <a:pt x="220" y="198"/>
                  <a:pt x="220" y="196"/>
                </a:cubicBezTo>
                <a:cubicBezTo>
                  <a:pt x="220" y="193"/>
                  <a:pt x="218" y="191"/>
                  <a:pt x="216" y="191"/>
                </a:cubicBezTo>
                <a:cubicBezTo>
                  <a:pt x="213" y="191"/>
                  <a:pt x="211" y="193"/>
                  <a:pt x="211" y="196"/>
                </a:cubicBezTo>
                <a:close/>
                <a:moveTo>
                  <a:pt x="241" y="209"/>
                </a:moveTo>
                <a:cubicBezTo>
                  <a:pt x="241" y="207"/>
                  <a:pt x="239" y="205"/>
                  <a:pt x="236" y="205"/>
                </a:cubicBezTo>
                <a:cubicBezTo>
                  <a:pt x="234" y="205"/>
                  <a:pt x="232" y="207"/>
                  <a:pt x="232" y="209"/>
                </a:cubicBezTo>
                <a:cubicBezTo>
                  <a:pt x="232" y="212"/>
                  <a:pt x="234" y="214"/>
                  <a:pt x="236" y="214"/>
                </a:cubicBezTo>
                <a:cubicBezTo>
                  <a:pt x="239" y="214"/>
                  <a:pt x="241" y="212"/>
                  <a:pt x="241" y="209"/>
                </a:cubicBezTo>
                <a:close/>
                <a:moveTo>
                  <a:pt x="229" y="227"/>
                </a:moveTo>
                <a:cubicBezTo>
                  <a:pt x="232" y="227"/>
                  <a:pt x="234" y="225"/>
                  <a:pt x="234" y="223"/>
                </a:cubicBezTo>
                <a:cubicBezTo>
                  <a:pt x="234" y="220"/>
                  <a:pt x="232" y="218"/>
                  <a:pt x="229" y="218"/>
                </a:cubicBezTo>
                <a:cubicBezTo>
                  <a:pt x="227" y="218"/>
                  <a:pt x="225" y="220"/>
                  <a:pt x="225" y="223"/>
                </a:cubicBezTo>
                <a:cubicBezTo>
                  <a:pt x="225" y="225"/>
                  <a:pt x="227" y="227"/>
                  <a:pt x="229" y="227"/>
                </a:cubicBezTo>
                <a:close/>
                <a:moveTo>
                  <a:pt x="223" y="177"/>
                </a:moveTo>
                <a:cubicBezTo>
                  <a:pt x="220" y="177"/>
                  <a:pt x="218" y="179"/>
                  <a:pt x="218" y="182"/>
                </a:cubicBezTo>
                <a:cubicBezTo>
                  <a:pt x="218" y="185"/>
                  <a:pt x="220" y="187"/>
                  <a:pt x="223" y="187"/>
                </a:cubicBezTo>
                <a:cubicBezTo>
                  <a:pt x="225" y="187"/>
                  <a:pt x="227" y="185"/>
                  <a:pt x="227" y="182"/>
                </a:cubicBezTo>
                <a:cubicBezTo>
                  <a:pt x="227" y="179"/>
                  <a:pt x="225" y="177"/>
                  <a:pt x="223" y="177"/>
                </a:cubicBezTo>
                <a:close/>
                <a:moveTo>
                  <a:pt x="225" y="196"/>
                </a:moveTo>
                <a:cubicBezTo>
                  <a:pt x="225" y="198"/>
                  <a:pt x="227" y="200"/>
                  <a:pt x="229" y="200"/>
                </a:cubicBezTo>
                <a:cubicBezTo>
                  <a:pt x="232" y="200"/>
                  <a:pt x="234" y="198"/>
                  <a:pt x="234" y="196"/>
                </a:cubicBezTo>
                <a:cubicBezTo>
                  <a:pt x="234" y="193"/>
                  <a:pt x="232" y="191"/>
                  <a:pt x="229" y="191"/>
                </a:cubicBezTo>
                <a:cubicBezTo>
                  <a:pt x="227" y="191"/>
                  <a:pt x="225" y="193"/>
                  <a:pt x="225" y="196"/>
                </a:cubicBezTo>
                <a:close/>
                <a:moveTo>
                  <a:pt x="270" y="137"/>
                </a:moveTo>
                <a:cubicBezTo>
                  <a:pt x="268" y="137"/>
                  <a:pt x="266" y="139"/>
                  <a:pt x="266" y="141"/>
                </a:cubicBezTo>
                <a:cubicBezTo>
                  <a:pt x="266" y="144"/>
                  <a:pt x="268" y="146"/>
                  <a:pt x="270" y="146"/>
                </a:cubicBezTo>
                <a:cubicBezTo>
                  <a:pt x="273" y="146"/>
                  <a:pt x="275" y="144"/>
                  <a:pt x="275" y="141"/>
                </a:cubicBezTo>
                <a:cubicBezTo>
                  <a:pt x="275" y="139"/>
                  <a:pt x="273" y="137"/>
                  <a:pt x="270" y="137"/>
                </a:cubicBezTo>
                <a:close/>
                <a:moveTo>
                  <a:pt x="277" y="177"/>
                </a:moveTo>
                <a:cubicBezTo>
                  <a:pt x="275" y="177"/>
                  <a:pt x="273" y="179"/>
                  <a:pt x="273" y="182"/>
                </a:cubicBezTo>
                <a:cubicBezTo>
                  <a:pt x="273" y="185"/>
                  <a:pt x="275" y="187"/>
                  <a:pt x="277" y="187"/>
                </a:cubicBezTo>
                <a:cubicBezTo>
                  <a:pt x="280" y="187"/>
                  <a:pt x="282" y="185"/>
                  <a:pt x="282" y="182"/>
                </a:cubicBezTo>
                <a:cubicBezTo>
                  <a:pt x="282" y="179"/>
                  <a:pt x="280" y="177"/>
                  <a:pt x="277" y="177"/>
                </a:cubicBezTo>
                <a:close/>
                <a:moveTo>
                  <a:pt x="286" y="127"/>
                </a:moveTo>
                <a:cubicBezTo>
                  <a:pt x="286" y="130"/>
                  <a:pt x="288" y="132"/>
                  <a:pt x="291" y="132"/>
                </a:cubicBezTo>
                <a:cubicBezTo>
                  <a:pt x="293" y="132"/>
                  <a:pt x="295" y="130"/>
                  <a:pt x="295" y="127"/>
                </a:cubicBezTo>
                <a:cubicBezTo>
                  <a:pt x="295" y="125"/>
                  <a:pt x="293" y="123"/>
                  <a:pt x="291" y="123"/>
                </a:cubicBezTo>
                <a:cubicBezTo>
                  <a:pt x="288" y="123"/>
                  <a:pt x="286" y="125"/>
                  <a:pt x="286" y="127"/>
                </a:cubicBezTo>
                <a:close/>
                <a:moveTo>
                  <a:pt x="245" y="155"/>
                </a:moveTo>
                <a:cubicBezTo>
                  <a:pt x="245" y="157"/>
                  <a:pt x="247" y="159"/>
                  <a:pt x="250" y="159"/>
                </a:cubicBezTo>
                <a:cubicBezTo>
                  <a:pt x="252" y="159"/>
                  <a:pt x="254" y="157"/>
                  <a:pt x="254" y="155"/>
                </a:cubicBezTo>
                <a:cubicBezTo>
                  <a:pt x="254" y="152"/>
                  <a:pt x="252" y="150"/>
                  <a:pt x="250" y="150"/>
                </a:cubicBezTo>
                <a:cubicBezTo>
                  <a:pt x="247" y="150"/>
                  <a:pt x="245" y="152"/>
                  <a:pt x="245" y="155"/>
                </a:cubicBezTo>
                <a:close/>
                <a:moveTo>
                  <a:pt x="279" y="196"/>
                </a:moveTo>
                <a:cubicBezTo>
                  <a:pt x="279" y="198"/>
                  <a:pt x="281" y="200"/>
                  <a:pt x="284" y="200"/>
                </a:cubicBezTo>
                <a:cubicBezTo>
                  <a:pt x="286" y="200"/>
                  <a:pt x="288" y="198"/>
                  <a:pt x="288" y="196"/>
                </a:cubicBezTo>
                <a:cubicBezTo>
                  <a:pt x="288" y="193"/>
                  <a:pt x="286" y="191"/>
                  <a:pt x="284" y="191"/>
                </a:cubicBezTo>
                <a:cubicBezTo>
                  <a:pt x="281" y="191"/>
                  <a:pt x="279" y="193"/>
                  <a:pt x="279" y="196"/>
                </a:cubicBezTo>
                <a:close/>
                <a:moveTo>
                  <a:pt x="252" y="141"/>
                </a:moveTo>
                <a:cubicBezTo>
                  <a:pt x="252" y="144"/>
                  <a:pt x="254" y="146"/>
                  <a:pt x="257" y="146"/>
                </a:cubicBezTo>
                <a:cubicBezTo>
                  <a:pt x="259" y="146"/>
                  <a:pt x="261" y="144"/>
                  <a:pt x="261" y="141"/>
                </a:cubicBezTo>
                <a:cubicBezTo>
                  <a:pt x="261" y="139"/>
                  <a:pt x="259" y="137"/>
                  <a:pt x="257" y="137"/>
                </a:cubicBezTo>
                <a:cubicBezTo>
                  <a:pt x="254" y="137"/>
                  <a:pt x="252" y="139"/>
                  <a:pt x="252" y="141"/>
                </a:cubicBezTo>
                <a:close/>
                <a:moveTo>
                  <a:pt x="261" y="196"/>
                </a:moveTo>
                <a:cubicBezTo>
                  <a:pt x="261" y="193"/>
                  <a:pt x="259" y="191"/>
                  <a:pt x="257" y="191"/>
                </a:cubicBezTo>
                <a:cubicBezTo>
                  <a:pt x="254" y="191"/>
                  <a:pt x="252" y="193"/>
                  <a:pt x="252" y="196"/>
                </a:cubicBezTo>
                <a:cubicBezTo>
                  <a:pt x="252" y="198"/>
                  <a:pt x="254" y="200"/>
                  <a:pt x="257" y="200"/>
                </a:cubicBezTo>
                <a:cubicBezTo>
                  <a:pt x="259" y="200"/>
                  <a:pt x="261" y="198"/>
                  <a:pt x="261" y="196"/>
                </a:cubicBezTo>
                <a:close/>
                <a:moveTo>
                  <a:pt x="263" y="123"/>
                </a:moveTo>
                <a:cubicBezTo>
                  <a:pt x="261" y="123"/>
                  <a:pt x="259" y="125"/>
                  <a:pt x="259" y="127"/>
                </a:cubicBezTo>
                <a:cubicBezTo>
                  <a:pt x="259" y="130"/>
                  <a:pt x="261" y="132"/>
                  <a:pt x="263" y="132"/>
                </a:cubicBezTo>
                <a:cubicBezTo>
                  <a:pt x="266" y="132"/>
                  <a:pt x="268" y="130"/>
                  <a:pt x="268" y="127"/>
                </a:cubicBezTo>
                <a:cubicBezTo>
                  <a:pt x="268" y="125"/>
                  <a:pt x="266" y="123"/>
                  <a:pt x="263" y="123"/>
                </a:cubicBezTo>
                <a:close/>
                <a:moveTo>
                  <a:pt x="277" y="241"/>
                </a:moveTo>
                <a:cubicBezTo>
                  <a:pt x="280" y="241"/>
                  <a:pt x="282" y="239"/>
                  <a:pt x="282" y="237"/>
                </a:cubicBezTo>
                <a:cubicBezTo>
                  <a:pt x="282" y="234"/>
                  <a:pt x="280" y="232"/>
                  <a:pt x="277" y="232"/>
                </a:cubicBezTo>
                <a:cubicBezTo>
                  <a:pt x="275" y="232"/>
                  <a:pt x="273" y="234"/>
                  <a:pt x="273" y="237"/>
                </a:cubicBezTo>
                <a:cubicBezTo>
                  <a:pt x="273" y="239"/>
                  <a:pt x="275" y="241"/>
                  <a:pt x="277" y="241"/>
                </a:cubicBezTo>
                <a:close/>
                <a:moveTo>
                  <a:pt x="270" y="227"/>
                </a:moveTo>
                <a:cubicBezTo>
                  <a:pt x="273" y="227"/>
                  <a:pt x="275" y="225"/>
                  <a:pt x="275" y="223"/>
                </a:cubicBezTo>
                <a:cubicBezTo>
                  <a:pt x="275" y="220"/>
                  <a:pt x="273" y="218"/>
                  <a:pt x="270" y="218"/>
                </a:cubicBezTo>
                <a:cubicBezTo>
                  <a:pt x="268" y="218"/>
                  <a:pt x="266" y="220"/>
                  <a:pt x="266" y="223"/>
                </a:cubicBezTo>
                <a:cubicBezTo>
                  <a:pt x="266" y="225"/>
                  <a:pt x="268" y="227"/>
                  <a:pt x="270" y="227"/>
                </a:cubicBezTo>
                <a:close/>
                <a:moveTo>
                  <a:pt x="302" y="196"/>
                </a:moveTo>
                <a:cubicBezTo>
                  <a:pt x="302" y="193"/>
                  <a:pt x="300" y="191"/>
                  <a:pt x="297" y="191"/>
                </a:cubicBezTo>
                <a:cubicBezTo>
                  <a:pt x="295" y="191"/>
                  <a:pt x="293" y="193"/>
                  <a:pt x="293" y="196"/>
                </a:cubicBezTo>
                <a:cubicBezTo>
                  <a:pt x="293" y="198"/>
                  <a:pt x="295" y="200"/>
                  <a:pt x="297" y="200"/>
                </a:cubicBezTo>
                <a:cubicBezTo>
                  <a:pt x="300" y="200"/>
                  <a:pt x="302" y="198"/>
                  <a:pt x="302" y="196"/>
                </a:cubicBezTo>
                <a:close/>
                <a:moveTo>
                  <a:pt x="263" y="214"/>
                </a:moveTo>
                <a:cubicBezTo>
                  <a:pt x="266" y="214"/>
                  <a:pt x="268" y="212"/>
                  <a:pt x="268" y="209"/>
                </a:cubicBezTo>
                <a:cubicBezTo>
                  <a:pt x="268" y="207"/>
                  <a:pt x="266" y="205"/>
                  <a:pt x="263" y="205"/>
                </a:cubicBezTo>
                <a:cubicBezTo>
                  <a:pt x="261" y="205"/>
                  <a:pt x="259" y="207"/>
                  <a:pt x="259" y="209"/>
                </a:cubicBezTo>
                <a:cubicBezTo>
                  <a:pt x="259" y="212"/>
                  <a:pt x="261" y="214"/>
                  <a:pt x="263" y="214"/>
                </a:cubicBezTo>
                <a:close/>
                <a:moveTo>
                  <a:pt x="284" y="255"/>
                </a:moveTo>
                <a:cubicBezTo>
                  <a:pt x="286" y="255"/>
                  <a:pt x="288" y="253"/>
                  <a:pt x="288" y="250"/>
                </a:cubicBezTo>
                <a:cubicBezTo>
                  <a:pt x="288" y="248"/>
                  <a:pt x="286" y="246"/>
                  <a:pt x="284" y="246"/>
                </a:cubicBezTo>
                <a:cubicBezTo>
                  <a:pt x="281" y="246"/>
                  <a:pt x="279" y="248"/>
                  <a:pt x="279" y="250"/>
                </a:cubicBezTo>
                <a:cubicBezTo>
                  <a:pt x="279" y="253"/>
                  <a:pt x="281" y="255"/>
                  <a:pt x="284" y="255"/>
                </a:cubicBezTo>
                <a:close/>
                <a:moveTo>
                  <a:pt x="295" y="209"/>
                </a:moveTo>
                <a:cubicBezTo>
                  <a:pt x="295" y="207"/>
                  <a:pt x="293" y="205"/>
                  <a:pt x="291" y="205"/>
                </a:cubicBezTo>
                <a:cubicBezTo>
                  <a:pt x="288" y="205"/>
                  <a:pt x="286" y="207"/>
                  <a:pt x="286" y="209"/>
                </a:cubicBezTo>
                <a:cubicBezTo>
                  <a:pt x="286" y="212"/>
                  <a:pt x="288" y="214"/>
                  <a:pt x="291" y="214"/>
                </a:cubicBezTo>
                <a:cubicBezTo>
                  <a:pt x="293" y="214"/>
                  <a:pt x="295" y="212"/>
                  <a:pt x="295" y="209"/>
                </a:cubicBezTo>
                <a:close/>
              </a:path>
            </a:pathLst>
          </a:custGeom>
          <a:solidFill>
            <a:srgbClr val="005AA1"/>
          </a:solidFill>
          <a:ln>
            <a:noFill/>
          </a:ln>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
        <p:nvSpPr>
          <p:cNvPr id="6" name="Windows 10"/>
          <p:cNvSpPr>
            <a:spLocks noChangeAspect="1" noEditPoints="1"/>
          </p:cNvSpPr>
          <p:nvPr/>
        </p:nvSpPr>
        <p:spPr bwMode="auto">
          <a:xfrm>
            <a:off x="2547963" y="2791776"/>
            <a:ext cx="7086740" cy="1308271"/>
          </a:xfrm>
          <a:custGeom>
            <a:avLst/>
            <a:gdLst>
              <a:gd name="T0" fmla="*/ 89 w 1096"/>
              <a:gd name="T1" fmla="*/ 99 h 200"/>
              <a:gd name="T2" fmla="*/ 0 w 1096"/>
              <a:gd name="T3" fmla="*/ 28 h 200"/>
              <a:gd name="T4" fmla="*/ 89 w 1096"/>
              <a:gd name="T5" fmla="*/ 184 h 200"/>
              <a:gd name="T6" fmla="*/ 86 w 1096"/>
              <a:gd name="T7" fmla="*/ 102 h 200"/>
              <a:gd name="T8" fmla="*/ 86 w 1096"/>
              <a:gd name="T9" fmla="*/ 102 h 200"/>
              <a:gd name="T10" fmla="*/ 978 w 1096"/>
              <a:gd name="T11" fmla="*/ 48 h 200"/>
              <a:gd name="T12" fmla="*/ 966 w 1096"/>
              <a:gd name="T13" fmla="*/ 67 h 200"/>
              <a:gd name="T14" fmla="*/ 986 w 1096"/>
              <a:gd name="T15" fmla="*/ 159 h 200"/>
              <a:gd name="T16" fmla="*/ 1041 w 1096"/>
              <a:gd name="T17" fmla="*/ 42 h 200"/>
              <a:gd name="T18" fmla="*/ 1020 w 1096"/>
              <a:gd name="T19" fmla="*/ 127 h 200"/>
              <a:gd name="T20" fmla="*/ 1072 w 1096"/>
              <a:gd name="T21" fmla="*/ 157 h 200"/>
              <a:gd name="T22" fmla="*/ 1058 w 1096"/>
              <a:gd name="T23" fmla="*/ 38 h 200"/>
              <a:gd name="T24" fmla="*/ 1082 w 1096"/>
              <a:gd name="T25" fmla="*/ 100 h 200"/>
              <a:gd name="T26" fmla="*/ 364 w 1096"/>
              <a:gd name="T27" fmla="*/ 159 h 200"/>
              <a:gd name="T28" fmla="*/ 335 w 1096"/>
              <a:gd name="T29" fmla="*/ 72 h 200"/>
              <a:gd name="T30" fmla="*/ 274 w 1096"/>
              <a:gd name="T31" fmla="*/ 40 h 200"/>
              <a:gd name="T32" fmla="*/ 305 w 1096"/>
              <a:gd name="T33" fmla="*/ 131 h 200"/>
              <a:gd name="T34" fmla="*/ 372 w 1096"/>
              <a:gd name="T35" fmla="*/ 143 h 200"/>
              <a:gd name="T36" fmla="*/ 414 w 1096"/>
              <a:gd name="T37" fmla="*/ 40 h 200"/>
              <a:gd name="T38" fmla="*/ 426 w 1096"/>
              <a:gd name="T39" fmla="*/ 52 h 200"/>
              <a:gd name="T40" fmla="*/ 439 w 1096"/>
              <a:gd name="T41" fmla="*/ 40 h 200"/>
              <a:gd name="T42" fmla="*/ 426 w 1096"/>
              <a:gd name="T43" fmla="*/ 74 h 200"/>
              <a:gd name="T44" fmla="*/ 517 w 1096"/>
              <a:gd name="T45" fmla="*/ 159 h 200"/>
              <a:gd name="T46" fmla="*/ 473 w 1096"/>
              <a:gd name="T47" fmla="*/ 111 h 200"/>
              <a:gd name="T48" fmla="*/ 473 w 1096"/>
              <a:gd name="T49" fmla="*/ 74 h 200"/>
              <a:gd name="T50" fmla="*/ 523 w 1096"/>
              <a:gd name="T51" fmla="*/ 81 h 200"/>
              <a:gd name="T52" fmla="*/ 611 w 1096"/>
              <a:gd name="T53" fmla="*/ 159 h 200"/>
              <a:gd name="T54" fmla="*/ 556 w 1096"/>
              <a:gd name="T55" fmla="*/ 150 h 200"/>
              <a:gd name="T56" fmla="*/ 610 w 1096"/>
              <a:gd name="T57" fmla="*/ 86 h 200"/>
              <a:gd name="T58" fmla="*/ 624 w 1096"/>
              <a:gd name="T59" fmla="*/ 159 h 200"/>
              <a:gd name="T60" fmla="*/ 587 w 1096"/>
              <a:gd name="T61" fmla="*/ 84 h 200"/>
              <a:gd name="T62" fmla="*/ 585 w 1096"/>
              <a:gd name="T63" fmla="*/ 150 h 200"/>
              <a:gd name="T64" fmla="*/ 714 w 1096"/>
              <a:gd name="T65" fmla="*/ 149 h 200"/>
              <a:gd name="T66" fmla="*/ 653 w 1096"/>
              <a:gd name="T67" fmla="*/ 84 h 200"/>
              <a:gd name="T68" fmla="*/ 712 w 1096"/>
              <a:gd name="T69" fmla="*/ 117 h 200"/>
              <a:gd name="T70" fmla="*/ 656 w 1096"/>
              <a:gd name="T71" fmla="*/ 117 h 200"/>
              <a:gd name="T72" fmla="*/ 712 w 1096"/>
              <a:gd name="T73" fmla="*/ 117 h 200"/>
              <a:gd name="T74" fmla="*/ 793 w 1096"/>
              <a:gd name="T75" fmla="*/ 98 h 200"/>
              <a:gd name="T76" fmla="*/ 771 w 1096"/>
              <a:gd name="T77" fmla="*/ 159 h 200"/>
              <a:gd name="T78" fmla="*/ 763 w 1096"/>
              <a:gd name="T79" fmla="*/ 138 h 200"/>
              <a:gd name="T80" fmla="*/ 786 w 1096"/>
              <a:gd name="T81" fmla="*/ 74 h 200"/>
              <a:gd name="T82" fmla="*/ 818 w 1096"/>
              <a:gd name="T83" fmla="*/ 146 h 200"/>
              <a:gd name="T84" fmla="*/ 909 w 1096"/>
              <a:gd name="T85" fmla="*/ 136 h 200"/>
              <a:gd name="T86" fmla="*/ 857 w 1096"/>
              <a:gd name="T87" fmla="*/ 142 h 200"/>
              <a:gd name="T88" fmla="*/ 878 w 1096"/>
              <a:gd name="T89" fmla="*/ 122 h 200"/>
              <a:gd name="T90" fmla="*/ 887 w 1096"/>
              <a:gd name="T91" fmla="*/ 72 h 200"/>
              <a:gd name="T92" fmla="*/ 875 w 1096"/>
              <a:gd name="T93" fmla="*/ 87 h 200"/>
              <a:gd name="T94" fmla="*/ 904 w 1096"/>
              <a:gd name="T95" fmla="*/ 12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6" h="200">
                <a:moveTo>
                  <a:pt x="89" y="16"/>
                </a:moveTo>
                <a:cubicBezTo>
                  <a:pt x="200" y="0"/>
                  <a:pt x="200" y="0"/>
                  <a:pt x="200" y="0"/>
                </a:cubicBezTo>
                <a:cubicBezTo>
                  <a:pt x="200" y="99"/>
                  <a:pt x="200" y="99"/>
                  <a:pt x="200" y="99"/>
                </a:cubicBezTo>
                <a:cubicBezTo>
                  <a:pt x="89" y="99"/>
                  <a:pt x="89" y="99"/>
                  <a:pt x="89" y="99"/>
                </a:cubicBezTo>
                <a:lnTo>
                  <a:pt x="89" y="16"/>
                </a:lnTo>
                <a:close/>
                <a:moveTo>
                  <a:pt x="86" y="99"/>
                </a:moveTo>
                <a:cubicBezTo>
                  <a:pt x="86" y="16"/>
                  <a:pt x="86" y="16"/>
                  <a:pt x="86" y="16"/>
                </a:cubicBezTo>
                <a:cubicBezTo>
                  <a:pt x="0" y="28"/>
                  <a:pt x="0" y="28"/>
                  <a:pt x="0" y="28"/>
                </a:cubicBezTo>
                <a:cubicBezTo>
                  <a:pt x="0" y="99"/>
                  <a:pt x="0" y="99"/>
                  <a:pt x="0" y="99"/>
                </a:cubicBezTo>
                <a:lnTo>
                  <a:pt x="86" y="99"/>
                </a:lnTo>
                <a:close/>
                <a:moveTo>
                  <a:pt x="89" y="102"/>
                </a:moveTo>
                <a:cubicBezTo>
                  <a:pt x="89" y="184"/>
                  <a:pt x="89" y="184"/>
                  <a:pt x="89" y="184"/>
                </a:cubicBezTo>
                <a:cubicBezTo>
                  <a:pt x="200" y="200"/>
                  <a:pt x="200" y="200"/>
                  <a:pt x="200" y="200"/>
                </a:cubicBezTo>
                <a:cubicBezTo>
                  <a:pt x="200" y="102"/>
                  <a:pt x="200" y="102"/>
                  <a:pt x="200" y="102"/>
                </a:cubicBezTo>
                <a:lnTo>
                  <a:pt x="89" y="102"/>
                </a:lnTo>
                <a:close/>
                <a:moveTo>
                  <a:pt x="86" y="102"/>
                </a:moveTo>
                <a:cubicBezTo>
                  <a:pt x="0" y="102"/>
                  <a:pt x="0" y="102"/>
                  <a:pt x="0" y="102"/>
                </a:cubicBezTo>
                <a:cubicBezTo>
                  <a:pt x="0" y="172"/>
                  <a:pt x="0" y="172"/>
                  <a:pt x="0" y="172"/>
                </a:cubicBezTo>
                <a:cubicBezTo>
                  <a:pt x="86" y="184"/>
                  <a:pt x="86" y="184"/>
                  <a:pt x="86" y="184"/>
                </a:cubicBezTo>
                <a:lnTo>
                  <a:pt x="86" y="102"/>
                </a:lnTo>
                <a:close/>
                <a:moveTo>
                  <a:pt x="999" y="37"/>
                </a:moveTo>
                <a:cubicBezTo>
                  <a:pt x="994" y="37"/>
                  <a:pt x="994" y="37"/>
                  <a:pt x="994" y="37"/>
                </a:cubicBezTo>
                <a:cubicBezTo>
                  <a:pt x="992" y="39"/>
                  <a:pt x="990" y="41"/>
                  <a:pt x="987" y="43"/>
                </a:cubicBezTo>
                <a:cubicBezTo>
                  <a:pt x="984" y="45"/>
                  <a:pt x="981" y="46"/>
                  <a:pt x="978" y="48"/>
                </a:cubicBezTo>
                <a:cubicBezTo>
                  <a:pt x="974" y="50"/>
                  <a:pt x="971" y="51"/>
                  <a:pt x="968" y="53"/>
                </a:cubicBezTo>
                <a:cubicBezTo>
                  <a:pt x="964" y="54"/>
                  <a:pt x="961" y="55"/>
                  <a:pt x="958" y="56"/>
                </a:cubicBezTo>
                <a:cubicBezTo>
                  <a:pt x="958" y="70"/>
                  <a:pt x="958" y="70"/>
                  <a:pt x="958" y="70"/>
                </a:cubicBezTo>
                <a:cubicBezTo>
                  <a:pt x="961" y="69"/>
                  <a:pt x="964" y="68"/>
                  <a:pt x="966" y="67"/>
                </a:cubicBezTo>
                <a:cubicBezTo>
                  <a:pt x="969" y="66"/>
                  <a:pt x="972" y="65"/>
                  <a:pt x="974" y="64"/>
                </a:cubicBezTo>
                <a:cubicBezTo>
                  <a:pt x="977" y="62"/>
                  <a:pt x="979" y="61"/>
                  <a:pt x="981" y="60"/>
                </a:cubicBezTo>
                <a:cubicBezTo>
                  <a:pt x="983" y="58"/>
                  <a:pt x="985" y="57"/>
                  <a:pt x="986" y="56"/>
                </a:cubicBezTo>
                <a:cubicBezTo>
                  <a:pt x="986" y="159"/>
                  <a:pt x="986" y="159"/>
                  <a:pt x="986" y="159"/>
                </a:cubicBezTo>
                <a:cubicBezTo>
                  <a:pt x="999" y="159"/>
                  <a:pt x="999" y="159"/>
                  <a:pt x="999" y="159"/>
                </a:cubicBezTo>
                <a:lnTo>
                  <a:pt x="999" y="37"/>
                </a:lnTo>
                <a:close/>
                <a:moveTo>
                  <a:pt x="1058" y="38"/>
                </a:moveTo>
                <a:cubicBezTo>
                  <a:pt x="1052" y="38"/>
                  <a:pt x="1046" y="39"/>
                  <a:pt x="1041" y="42"/>
                </a:cubicBezTo>
                <a:cubicBezTo>
                  <a:pt x="1036" y="45"/>
                  <a:pt x="1032" y="49"/>
                  <a:pt x="1028" y="54"/>
                </a:cubicBezTo>
                <a:cubicBezTo>
                  <a:pt x="1025" y="59"/>
                  <a:pt x="1022" y="66"/>
                  <a:pt x="1021" y="74"/>
                </a:cubicBezTo>
                <a:cubicBezTo>
                  <a:pt x="1019" y="82"/>
                  <a:pt x="1018" y="91"/>
                  <a:pt x="1018" y="102"/>
                </a:cubicBezTo>
                <a:cubicBezTo>
                  <a:pt x="1018" y="111"/>
                  <a:pt x="1019" y="120"/>
                  <a:pt x="1020" y="127"/>
                </a:cubicBezTo>
                <a:cubicBezTo>
                  <a:pt x="1022" y="134"/>
                  <a:pt x="1024" y="140"/>
                  <a:pt x="1028" y="146"/>
                </a:cubicBezTo>
                <a:cubicBezTo>
                  <a:pt x="1031" y="151"/>
                  <a:pt x="1035" y="154"/>
                  <a:pt x="1040" y="157"/>
                </a:cubicBezTo>
                <a:cubicBezTo>
                  <a:pt x="1044" y="160"/>
                  <a:pt x="1050" y="161"/>
                  <a:pt x="1056" y="161"/>
                </a:cubicBezTo>
                <a:cubicBezTo>
                  <a:pt x="1062" y="161"/>
                  <a:pt x="1068" y="160"/>
                  <a:pt x="1072" y="157"/>
                </a:cubicBezTo>
                <a:cubicBezTo>
                  <a:pt x="1077" y="154"/>
                  <a:pt x="1082" y="150"/>
                  <a:pt x="1085" y="145"/>
                </a:cubicBezTo>
                <a:cubicBezTo>
                  <a:pt x="1088" y="140"/>
                  <a:pt x="1091" y="133"/>
                  <a:pt x="1093" y="125"/>
                </a:cubicBezTo>
                <a:cubicBezTo>
                  <a:pt x="1095" y="118"/>
                  <a:pt x="1096" y="109"/>
                  <a:pt x="1096" y="99"/>
                </a:cubicBezTo>
                <a:cubicBezTo>
                  <a:pt x="1096" y="58"/>
                  <a:pt x="1083" y="38"/>
                  <a:pt x="1058" y="38"/>
                </a:cubicBezTo>
                <a:close/>
                <a:moveTo>
                  <a:pt x="1057" y="149"/>
                </a:moveTo>
                <a:cubicBezTo>
                  <a:pt x="1040" y="149"/>
                  <a:pt x="1032" y="133"/>
                  <a:pt x="1032" y="101"/>
                </a:cubicBezTo>
                <a:cubicBezTo>
                  <a:pt x="1032" y="67"/>
                  <a:pt x="1040" y="49"/>
                  <a:pt x="1057" y="49"/>
                </a:cubicBezTo>
                <a:cubicBezTo>
                  <a:pt x="1074" y="49"/>
                  <a:pt x="1082" y="66"/>
                  <a:pt x="1082" y="100"/>
                </a:cubicBezTo>
                <a:cubicBezTo>
                  <a:pt x="1082" y="133"/>
                  <a:pt x="1073" y="149"/>
                  <a:pt x="1057" y="149"/>
                </a:cubicBezTo>
                <a:close/>
                <a:moveTo>
                  <a:pt x="414" y="40"/>
                </a:moveTo>
                <a:cubicBezTo>
                  <a:pt x="380" y="159"/>
                  <a:pt x="380" y="159"/>
                  <a:pt x="380" y="159"/>
                </a:cubicBezTo>
                <a:cubicBezTo>
                  <a:pt x="364" y="159"/>
                  <a:pt x="364" y="159"/>
                  <a:pt x="364" y="159"/>
                </a:cubicBezTo>
                <a:cubicBezTo>
                  <a:pt x="339" y="72"/>
                  <a:pt x="339" y="72"/>
                  <a:pt x="339" y="72"/>
                </a:cubicBezTo>
                <a:cubicBezTo>
                  <a:pt x="338" y="69"/>
                  <a:pt x="338" y="65"/>
                  <a:pt x="337" y="60"/>
                </a:cubicBezTo>
                <a:cubicBezTo>
                  <a:pt x="337" y="60"/>
                  <a:pt x="337" y="60"/>
                  <a:pt x="337" y="60"/>
                </a:cubicBezTo>
                <a:cubicBezTo>
                  <a:pt x="337" y="64"/>
                  <a:pt x="336" y="68"/>
                  <a:pt x="335" y="72"/>
                </a:cubicBezTo>
                <a:cubicBezTo>
                  <a:pt x="310" y="159"/>
                  <a:pt x="310" y="159"/>
                  <a:pt x="310" y="159"/>
                </a:cubicBezTo>
                <a:cubicBezTo>
                  <a:pt x="294" y="159"/>
                  <a:pt x="294" y="159"/>
                  <a:pt x="294" y="159"/>
                </a:cubicBezTo>
                <a:cubicBezTo>
                  <a:pt x="259" y="40"/>
                  <a:pt x="259" y="40"/>
                  <a:pt x="259" y="40"/>
                </a:cubicBezTo>
                <a:cubicBezTo>
                  <a:pt x="274" y="40"/>
                  <a:pt x="274" y="40"/>
                  <a:pt x="274" y="40"/>
                </a:cubicBezTo>
                <a:cubicBezTo>
                  <a:pt x="300" y="131"/>
                  <a:pt x="300" y="131"/>
                  <a:pt x="300" y="131"/>
                </a:cubicBezTo>
                <a:cubicBezTo>
                  <a:pt x="301" y="135"/>
                  <a:pt x="302" y="139"/>
                  <a:pt x="302" y="143"/>
                </a:cubicBezTo>
                <a:cubicBezTo>
                  <a:pt x="302" y="143"/>
                  <a:pt x="302" y="143"/>
                  <a:pt x="302" y="143"/>
                </a:cubicBezTo>
                <a:cubicBezTo>
                  <a:pt x="302" y="140"/>
                  <a:pt x="303" y="136"/>
                  <a:pt x="305" y="131"/>
                </a:cubicBezTo>
                <a:cubicBezTo>
                  <a:pt x="331" y="40"/>
                  <a:pt x="331" y="40"/>
                  <a:pt x="331" y="40"/>
                </a:cubicBezTo>
                <a:cubicBezTo>
                  <a:pt x="345" y="40"/>
                  <a:pt x="345" y="40"/>
                  <a:pt x="345" y="40"/>
                </a:cubicBezTo>
                <a:cubicBezTo>
                  <a:pt x="370" y="132"/>
                  <a:pt x="370" y="132"/>
                  <a:pt x="370" y="132"/>
                </a:cubicBezTo>
                <a:cubicBezTo>
                  <a:pt x="371" y="136"/>
                  <a:pt x="371" y="139"/>
                  <a:pt x="372" y="143"/>
                </a:cubicBezTo>
                <a:cubicBezTo>
                  <a:pt x="372" y="143"/>
                  <a:pt x="372" y="143"/>
                  <a:pt x="372" y="143"/>
                </a:cubicBezTo>
                <a:cubicBezTo>
                  <a:pt x="372" y="140"/>
                  <a:pt x="373" y="136"/>
                  <a:pt x="374" y="132"/>
                </a:cubicBezTo>
                <a:cubicBezTo>
                  <a:pt x="399" y="40"/>
                  <a:pt x="399" y="40"/>
                  <a:pt x="399" y="40"/>
                </a:cubicBezTo>
                <a:lnTo>
                  <a:pt x="414" y="40"/>
                </a:lnTo>
                <a:close/>
                <a:moveTo>
                  <a:pt x="442" y="46"/>
                </a:moveTo>
                <a:cubicBezTo>
                  <a:pt x="442" y="49"/>
                  <a:pt x="441" y="51"/>
                  <a:pt x="439" y="52"/>
                </a:cubicBezTo>
                <a:cubicBezTo>
                  <a:pt x="437" y="54"/>
                  <a:pt x="435" y="55"/>
                  <a:pt x="433" y="55"/>
                </a:cubicBezTo>
                <a:cubicBezTo>
                  <a:pt x="430" y="55"/>
                  <a:pt x="428" y="54"/>
                  <a:pt x="426" y="52"/>
                </a:cubicBezTo>
                <a:cubicBezTo>
                  <a:pt x="425" y="51"/>
                  <a:pt x="424" y="49"/>
                  <a:pt x="424" y="46"/>
                </a:cubicBezTo>
                <a:cubicBezTo>
                  <a:pt x="424" y="44"/>
                  <a:pt x="425" y="42"/>
                  <a:pt x="426" y="40"/>
                </a:cubicBezTo>
                <a:cubicBezTo>
                  <a:pt x="428" y="38"/>
                  <a:pt x="430" y="37"/>
                  <a:pt x="433" y="37"/>
                </a:cubicBezTo>
                <a:cubicBezTo>
                  <a:pt x="435" y="37"/>
                  <a:pt x="437" y="38"/>
                  <a:pt x="439" y="40"/>
                </a:cubicBezTo>
                <a:cubicBezTo>
                  <a:pt x="441" y="41"/>
                  <a:pt x="442" y="44"/>
                  <a:pt x="442" y="46"/>
                </a:cubicBezTo>
                <a:close/>
                <a:moveTo>
                  <a:pt x="439" y="159"/>
                </a:moveTo>
                <a:cubicBezTo>
                  <a:pt x="426" y="159"/>
                  <a:pt x="426" y="159"/>
                  <a:pt x="426" y="159"/>
                </a:cubicBezTo>
                <a:cubicBezTo>
                  <a:pt x="426" y="74"/>
                  <a:pt x="426" y="74"/>
                  <a:pt x="426" y="74"/>
                </a:cubicBezTo>
                <a:cubicBezTo>
                  <a:pt x="439" y="74"/>
                  <a:pt x="439" y="74"/>
                  <a:pt x="439" y="74"/>
                </a:cubicBezTo>
                <a:lnTo>
                  <a:pt x="439" y="159"/>
                </a:lnTo>
                <a:close/>
                <a:moveTo>
                  <a:pt x="530" y="159"/>
                </a:moveTo>
                <a:cubicBezTo>
                  <a:pt x="517" y="159"/>
                  <a:pt x="517" y="159"/>
                  <a:pt x="517" y="159"/>
                </a:cubicBezTo>
                <a:cubicBezTo>
                  <a:pt x="517" y="111"/>
                  <a:pt x="517" y="111"/>
                  <a:pt x="517" y="111"/>
                </a:cubicBezTo>
                <a:cubicBezTo>
                  <a:pt x="517" y="93"/>
                  <a:pt x="510" y="84"/>
                  <a:pt x="497" y="84"/>
                </a:cubicBezTo>
                <a:cubicBezTo>
                  <a:pt x="490" y="84"/>
                  <a:pt x="485" y="86"/>
                  <a:pt x="480" y="91"/>
                </a:cubicBezTo>
                <a:cubicBezTo>
                  <a:pt x="476" y="96"/>
                  <a:pt x="473" y="103"/>
                  <a:pt x="473" y="111"/>
                </a:cubicBezTo>
                <a:cubicBezTo>
                  <a:pt x="473" y="159"/>
                  <a:pt x="473" y="159"/>
                  <a:pt x="473" y="159"/>
                </a:cubicBezTo>
                <a:cubicBezTo>
                  <a:pt x="460" y="159"/>
                  <a:pt x="460" y="159"/>
                  <a:pt x="460" y="159"/>
                </a:cubicBezTo>
                <a:cubicBezTo>
                  <a:pt x="460" y="74"/>
                  <a:pt x="460" y="74"/>
                  <a:pt x="460" y="74"/>
                </a:cubicBezTo>
                <a:cubicBezTo>
                  <a:pt x="473" y="74"/>
                  <a:pt x="473" y="74"/>
                  <a:pt x="473" y="74"/>
                </a:cubicBezTo>
                <a:cubicBezTo>
                  <a:pt x="473" y="88"/>
                  <a:pt x="473" y="88"/>
                  <a:pt x="473" y="88"/>
                </a:cubicBezTo>
                <a:cubicBezTo>
                  <a:pt x="474" y="88"/>
                  <a:pt x="474" y="88"/>
                  <a:pt x="474" y="88"/>
                </a:cubicBezTo>
                <a:cubicBezTo>
                  <a:pt x="480" y="77"/>
                  <a:pt x="489" y="72"/>
                  <a:pt x="502" y="72"/>
                </a:cubicBezTo>
                <a:cubicBezTo>
                  <a:pt x="511" y="72"/>
                  <a:pt x="518" y="75"/>
                  <a:pt x="523" y="81"/>
                </a:cubicBezTo>
                <a:cubicBezTo>
                  <a:pt x="528" y="87"/>
                  <a:pt x="530" y="96"/>
                  <a:pt x="530" y="107"/>
                </a:cubicBezTo>
                <a:lnTo>
                  <a:pt x="530" y="159"/>
                </a:lnTo>
                <a:close/>
                <a:moveTo>
                  <a:pt x="624" y="159"/>
                </a:moveTo>
                <a:cubicBezTo>
                  <a:pt x="611" y="159"/>
                  <a:pt x="611" y="159"/>
                  <a:pt x="611" y="159"/>
                </a:cubicBezTo>
                <a:cubicBezTo>
                  <a:pt x="611" y="145"/>
                  <a:pt x="611" y="145"/>
                  <a:pt x="611" y="145"/>
                </a:cubicBezTo>
                <a:cubicBezTo>
                  <a:pt x="610" y="145"/>
                  <a:pt x="610" y="145"/>
                  <a:pt x="610" y="145"/>
                </a:cubicBezTo>
                <a:cubicBezTo>
                  <a:pt x="604" y="156"/>
                  <a:pt x="594" y="161"/>
                  <a:pt x="581" y="161"/>
                </a:cubicBezTo>
                <a:cubicBezTo>
                  <a:pt x="570" y="161"/>
                  <a:pt x="562" y="157"/>
                  <a:pt x="556" y="150"/>
                </a:cubicBezTo>
                <a:cubicBezTo>
                  <a:pt x="549" y="142"/>
                  <a:pt x="546" y="132"/>
                  <a:pt x="546" y="119"/>
                </a:cubicBezTo>
                <a:cubicBezTo>
                  <a:pt x="546" y="105"/>
                  <a:pt x="549" y="93"/>
                  <a:pt x="557" y="85"/>
                </a:cubicBezTo>
                <a:cubicBezTo>
                  <a:pt x="564" y="76"/>
                  <a:pt x="573" y="72"/>
                  <a:pt x="585" y="72"/>
                </a:cubicBezTo>
                <a:cubicBezTo>
                  <a:pt x="597" y="72"/>
                  <a:pt x="605" y="77"/>
                  <a:pt x="610" y="86"/>
                </a:cubicBezTo>
                <a:cubicBezTo>
                  <a:pt x="611" y="86"/>
                  <a:pt x="611" y="86"/>
                  <a:pt x="611" y="86"/>
                </a:cubicBezTo>
                <a:cubicBezTo>
                  <a:pt x="611" y="33"/>
                  <a:pt x="611" y="33"/>
                  <a:pt x="611" y="33"/>
                </a:cubicBezTo>
                <a:cubicBezTo>
                  <a:pt x="624" y="33"/>
                  <a:pt x="624" y="33"/>
                  <a:pt x="624" y="33"/>
                </a:cubicBezTo>
                <a:lnTo>
                  <a:pt x="624" y="159"/>
                </a:lnTo>
                <a:close/>
                <a:moveTo>
                  <a:pt x="611" y="121"/>
                </a:moveTo>
                <a:cubicBezTo>
                  <a:pt x="611" y="108"/>
                  <a:pt x="611" y="108"/>
                  <a:pt x="611" y="108"/>
                </a:cubicBezTo>
                <a:cubicBezTo>
                  <a:pt x="611" y="101"/>
                  <a:pt x="608" y="95"/>
                  <a:pt x="604" y="91"/>
                </a:cubicBezTo>
                <a:cubicBezTo>
                  <a:pt x="599" y="86"/>
                  <a:pt x="593" y="84"/>
                  <a:pt x="587" y="84"/>
                </a:cubicBezTo>
                <a:cubicBezTo>
                  <a:pt x="578" y="84"/>
                  <a:pt x="572" y="87"/>
                  <a:pt x="567" y="93"/>
                </a:cubicBezTo>
                <a:cubicBezTo>
                  <a:pt x="562" y="99"/>
                  <a:pt x="560" y="107"/>
                  <a:pt x="560" y="118"/>
                </a:cubicBezTo>
                <a:cubicBezTo>
                  <a:pt x="560" y="128"/>
                  <a:pt x="562" y="135"/>
                  <a:pt x="567" y="141"/>
                </a:cubicBezTo>
                <a:cubicBezTo>
                  <a:pt x="571" y="147"/>
                  <a:pt x="577" y="150"/>
                  <a:pt x="585" y="150"/>
                </a:cubicBezTo>
                <a:cubicBezTo>
                  <a:pt x="593" y="150"/>
                  <a:pt x="599" y="147"/>
                  <a:pt x="604" y="142"/>
                </a:cubicBezTo>
                <a:cubicBezTo>
                  <a:pt x="608" y="136"/>
                  <a:pt x="611" y="129"/>
                  <a:pt x="611" y="121"/>
                </a:cubicBezTo>
                <a:close/>
                <a:moveTo>
                  <a:pt x="726" y="116"/>
                </a:moveTo>
                <a:cubicBezTo>
                  <a:pt x="726" y="130"/>
                  <a:pt x="722" y="141"/>
                  <a:pt x="714" y="149"/>
                </a:cubicBezTo>
                <a:cubicBezTo>
                  <a:pt x="707" y="157"/>
                  <a:pt x="696" y="161"/>
                  <a:pt x="683" y="161"/>
                </a:cubicBezTo>
                <a:cubicBezTo>
                  <a:pt x="671" y="161"/>
                  <a:pt x="661" y="157"/>
                  <a:pt x="653" y="149"/>
                </a:cubicBezTo>
                <a:cubicBezTo>
                  <a:pt x="646" y="141"/>
                  <a:pt x="642" y="131"/>
                  <a:pt x="642" y="118"/>
                </a:cubicBezTo>
                <a:cubicBezTo>
                  <a:pt x="642" y="104"/>
                  <a:pt x="646" y="92"/>
                  <a:pt x="653" y="84"/>
                </a:cubicBezTo>
                <a:cubicBezTo>
                  <a:pt x="661" y="76"/>
                  <a:pt x="672" y="72"/>
                  <a:pt x="685" y="72"/>
                </a:cubicBezTo>
                <a:cubicBezTo>
                  <a:pt x="698" y="72"/>
                  <a:pt x="708" y="76"/>
                  <a:pt x="715" y="84"/>
                </a:cubicBezTo>
                <a:cubicBezTo>
                  <a:pt x="722" y="92"/>
                  <a:pt x="726" y="103"/>
                  <a:pt x="726" y="116"/>
                </a:cubicBezTo>
                <a:close/>
                <a:moveTo>
                  <a:pt x="712" y="117"/>
                </a:moveTo>
                <a:cubicBezTo>
                  <a:pt x="712" y="106"/>
                  <a:pt x="709" y="98"/>
                  <a:pt x="705" y="92"/>
                </a:cubicBezTo>
                <a:cubicBezTo>
                  <a:pt x="700" y="87"/>
                  <a:pt x="693" y="84"/>
                  <a:pt x="684" y="84"/>
                </a:cubicBezTo>
                <a:cubicBezTo>
                  <a:pt x="676" y="84"/>
                  <a:pt x="669" y="87"/>
                  <a:pt x="664" y="92"/>
                </a:cubicBezTo>
                <a:cubicBezTo>
                  <a:pt x="658" y="98"/>
                  <a:pt x="656" y="107"/>
                  <a:pt x="656" y="117"/>
                </a:cubicBezTo>
                <a:cubicBezTo>
                  <a:pt x="656" y="127"/>
                  <a:pt x="658" y="135"/>
                  <a:pt x="664" y="141"/>
                </a:cubicBezTo>
                <a:cubicBezTo>
                  <a:pt x="669" y="147"/>
                  <a:pt x="676" y="150"/>
                  <a:pt x="684" y="150"/>
                </a:cubicBezTo>
                <a:cubicBezTo>
                  <a:pt x="693" y="150"/>
                  <a:pt x="700" y="147"/>
                  <a:pt x="705" y="141"/>
                </a:cubicBezTo>
                <a:cubicBezTo>
                  <a:pt x="709" y="136"/>
                  <a:pt x="712" y="127"/>
                  <a:pt x="712" y="117"/>
                </a:cubicBezTo>
                <a:close/>
                <a:moveTo>
                  <a:pt x="850" y="74"/>
                </a:moveTo>
                <a:cubicBezTo>
                  <a:pt x="825" y="159"/>
                  <a:pt x="825" y="159"/>
                  <a:pt x="825" y="159"/>
                </a:cubicBezTo>
                <a:cubicBezTo>
                  <a:pt x="811" y="159"/>
                  <a:pt x="811" y="159"/>
                  <a:pt x="811" y="159"/>
                </a:cubicBezTo>
                <a:cubicBezTo>
                  <a:pt x="793" y="98"/>
                  <a:pt x="793" y="98"/>
                  <a:pt x="793" y="98"/>
                </a:cubicBezTo>
                <a:cubicBezTo>
                  <a:pt x="793" y="96"/>
                  <a:pt x="792" y="94"/>
                  <a:pt x="792" y="90"/>
                </a:cubicBezTo>
                <a:cubicBezTo>
                  <a:pt x="792" y="90"/>
                  <a:pt x="792" y="90"/>
                  <a:pt x="792" y="90"/>
                </a:cubicBezTo>
                <a:cubicBezTo>
                  <a:pt x="791" y="92"/>
                  <a:pt x="791" y="95"/>
                  <a:pt x="790" y="98"/>
                </a:cubicBezTo>
                <a:cubicBezTo>
                  <a:pt x="771" y="159"/>
                  <a:pt x="771" y="159"/>
                  <a:pt x="771" y="159"/>
                </a:cubicBezTo>
                <a:cubicBezTo>
                  <a:pt x="757" y="159"/>
                  <a:pt x="757" y="159"/>
                  <a:pt x="757" y="159"/>
                </a:cubicBezTo>
                <a:cubicBezTo>
                  <a:pt x="731" y="74"/>
                  <a:pt x="731" y="74"/>
                  <a:pt x="731" y="74"/>
                </a:cubicBezTo>
                <a:cubicBezTo>
                  <a:pt x="746" y="74"/>
                  <a:pt x="746" y="74"/>
                  <a:pt x="746" y="74"/>
                </a:cubicBezTo>
                <a:cubicBezTo>
                  <a:pt x="763" y="138"/>
                  <a:pt x="763" y="138"/>
                  <a:pt x="763" y="138"/>
                </a:cubicBezTo>
                <a:cubicBezTo>
                  <a:pt x="764" y="140"/>
                  <a:pt x="764" y="143"/>
                  <a:pt x="764" y="146"/>
                </a:cubicBezTo>
                <a:cubicBezTo>
                  <a:pt x="765" y="146"/>
                  <a:pt x="765" y="146"/>
                  <a:pt x="765" y="146"/>
                </a:cubicBezTo>
                <a:cubicBezTo>
                  <a:pt x="765" y="144"/>
                  <a:pt x="766" y="141"/>
                  <a:pt x="767" y="138"/>
                </a:cubicBezTo>
                <a:cubicBezTo>
                  <a:pt x="786" y="74"/>
                  <a:pt x="786" y="74"/>
                  <a:pt x="786" y="74"/>
                </a:cubicBezTo>
                <a:cubicBezTo>
                  <a:pt x="799" y="74"/>
                  <a:pt x="799" y="74"/>
                  <a:pt x="799" y="74"/>
                </a:cubicBezTo>
                <a:cubicBezTo>
                  <a:pt x="816" y="138"/>
                  <a:pt x="816" y="138"/>
                  <a:pt x="816" y="138"/>
                </a:cubicBezTo>
                <a:cubicBezTo>
                  <a:pt x="817" y="140"/>
                  <a:pt x="817" y="143"/>
                  <a:pt x="818" y="146"/>
                </a:cubicBezTo>
                <a:cubicBezTo>
                  <a:pt x="818" y="146"/>
                  <a:pt x="818" y="146"/>
                  <a:pt x="818" y="146"/>
                </a:cubicBezTo>
                <a:cubicBezTo>
                  <a:pt x="818" y="143"/>
                  <a:pt x="819" y="141"/>
                  <a:pt x="820" y="138"/>
                </a:cubicBezTo>
                <a:cubicBezTo>
                  <a:pt x="837" y="74"/>
                  <a:pt x="837" y="74"/>
                  <a:pt x="837" y="74"/>
                </a:cubicBezTo>
                <a:lnTo>
                  <a:pt x="850" y="74"/>
                </a:lnTo>
                <a:close/>
                <a:moveTo>
                  <a:pt x="909" y="136"/>
                </a:moveTo>
                <a:cubicBezTo>
                  <a:pt x="909" y="144"/>
                  <a:pt x="906" y="150"/>
                  <a:pt x="901" y="154"/>
                </a:cubicBezTo>
                <a:cubicBezTo>
                  <a:pt x="895" y="159"/>
                  <a:pt x="887" y="161"/>
                  <a:pt x="878" y="161"/>
                </a:cubicBezTo>
                <a:cubicBezTo>
                  <a:pt x="870" y="161"/>
                  <a:pt x="863" y="160"/>
                  <a:pt x="857" y="156"/>
                </a:cubicBezTo>
                <a:cubicBezTo>
                  <a:pt x="857" y="142"/>
                  <a:pt x="857" y="142"/>
                  <a:pt x="857" y="142"/>
                </a:cubicBezTo>
                <a:cubicBezTo>
                  <a:pt x="864" y="147"/>
                  <a:pt x="871" y="150"/>
                  <a:pt x="879" y="150"/>
                </a:cubicBezTo>
                <a:cubicBezTo>
                  <a:pt x="890" y="150"/>
                  <a:pt x="895" y="146"/>
                  <a:pt x="895" y="138"/>
                </a:cubicBezTo>
                <a:cubicBezTo>
                  <a:pt x="895" y="135"/>
                  <a:pt x="894" y="132"/>
                  <a:pt x="892" y="130"/>
                </a:cubicBezTo>
                <a:cubicBezTo>
                  <a:pt x="890" y="128"/>
                  <a:pt x="885" y="125"/>
                  <a:pt x="878" y="122"/>
                </a:cubicBezTo>
                <a:cubicBezTo>
                  <a:pt x="870" y="119"/>
                  <a:pt x="865" y="115"/>
                  <a:pt x="862" y="111"/>
                </a:cubicBezTo>
                <a:cubicBezTo>
                  <a:pt x="859" y="108"/>
                  <a:pt x="857" y="103"/>
                  <a:pt x="857" y="97"/>
                </a:cubicBezTo>
                <a:cubicBezTo>
                  <a:pt x="857" y="90"/>
                  <a:pt x="860" y="84"/>
                  <a:pt x="866" y="79"/>
                </a:cubicBezTo>
                <a:cubicBezTo>
                  <a:pt x="871" y="74"/>
                  <a:pt x="878" y="72"/>
                  <a:pt x="887" y="72"/>
                </a:cubicBezTo>
                <a:cubicBezTo>
                  <a:pt x="894" y="72"/>
                  <a:pt x="900" y="73"/>
                  <a:pt x="905" y="76"/>
                </a:cubicBezTo>
                <a:cubicBezTo>
                  <a:pt x="905" y="90"/>
                  <a:pt x="905" y="90"/>
                  <a:pt x="905" y="90"/>
                </a:cubicBezTo>
                <a:cubicBezTo>
                  <a:pt x="900" y="86"/>
                  <a:pt x="893" y="84"/>
                  <a:pt x="886" y="84"/>
                </a:cubicBezTo>
                <a:cubicBezTo>
                  <a:pt x="881" y="84"/>
                  <a:pt x="878" y="85"/>
                  <a:pt x="875" y="87"/>
                </a:cubicBezTo>
                <a:cubicBezTo>
                  <a:pt x="872" y="89"/>
                  <a:pt x="871" y="92"/>
                  <a:pt x="871" y="96"/>
                </a:cubicBezTo>
                <a:cubicBezTo>
                  <a:pt x="871" y="99"/>
                  <a:pt x="872" y="102"/>
                  <a:pt x="874" y="104"/>
                </a:cubicBezTo>
                <a:cubicBezTo>
                  <a:pt x="876" y="106"/>
                  <a:pt x="881" y="109"/>
                  <a:pt x="887" y="111"/>
                </a:cubicBezTo>
                <a:cubicBezTo>
                  <a:pt x="895" y="115"/>
                  <a:pt x="901" y="118"/>
                  <a:pt x="904" y="122"/>
                </a:cubicBezTo>
                <a:cubicBezTo>
                  <a:pt x="908" y="126"/>
                  <a:pt x="909" y="131"/>
                  <a:pt x="909" y="1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
        <p:nvSpPr>
          <p:cNvPr id="7" name="Free upgrade"/>
          <p:cNvSpPr txBox="1"/>
          <p:nvPr/>
        </p:nvSpPr>
        <p:spPr>
          <a:xfrm>
            <a:off x="1997157" y="4341902"/>
            <a:ext cx="8140784" cy="866668"/>
          </a:xfrm>
          <a:prstGeom prst="rect">
            <a:avLst/>
          </a:prstGeom>
          <a:noFill/>
        </p:spPr>
        <p:txBody>
          <a:bodyPr wrap="square" lIns="179259" tIns="143407" rIns="179259" bIns="143407" rtlCol="0">
            <a:spAutoFit/>
          </a:bodyPr>
          <a:lstStyle/>
          <a:p>
            <a:pPr algn="ctr" defTabSz="914246">
              <a:lnSpc>
                <a:spcPct val="90000"/>
              </a:lnSpc>
              <a:spcAft>
                <a:spcPts val="588"/>
              </a:spcAft>
            </a:pPr>
            <a:r>
              <a:rPr lang="en-US" sz="4166" b="1" kern="0" dirty="0">
                <a:gradFill>
                  <a:gsLst>
                    <a:gs pos="2917">
                      <a:srgbClr val="FFFFFF"/>
                    </a:gs>
                    <a:gs pos="30000">
                      <a:srgbClr val="FFFFFF"/>
                    </a:gs>
                  </a:gsLst>
                  <a:lin ang="5400000" scaled="0"/>
                </a:gradFill>
              </a:rPr>
              <a:t>Free upgrade </a:t>
            </a:r>
            <a:r>
              <a:rPr lang="en-US" sz="4166" kern="0" dirty="0">
                <a:gradFill>
                  <a:gsLst>
                    <a:gs pos="2917">
                      <a:srgbClr val="FFFFFF"/>
                    </a:gs>
                    <a:gs pos="30000">
                      <a:srgbClr val="FFFFFF"/>
                    </a:gs>
                  </a:gsLst>
                  <a:lin ang="5400000" scaled="0"/>
                </a:gradFill>
              </a:rPr>
              <a:t>for the first year</a:t>
            </a:r>
            <a:endParaRPr lang="en-US" sz="4166" kern="0" dirty="0">
              <a:gradFill>
                <a:gsLst>
                  <a:gs pos="2917">
                    <a:srgbClr val="FFFFFF"/>
                  </a:gs>
                  <a:gs pos="30000">
                    <a:srgbClr val="FFFFFF"/>
                  </a:gs>
                </a:gsLst>
                <a:lin ang="5400000" scaled="0"/>
              </a:gradFill>
              <a:latin typeface="Segoe UI Light"/>
            </a:endParaRPr>
          </a:p>
        </p:txBody>
      </p:sp>
      <p:sp>
        <p:nvSpPr>
          <p:cNvPr id="23" name="1B Windows 10 Devices"/>
          <p:cNvSpPr txBox="1"/>
          <p:nvPr/>
        </p:nvSpPr>
        <p:spPr>
          <a:xfrm>
            <a:off x="2596878" y="3429000"/>
            <a:ext cx="6956877" cy="1104277"/>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882" kern="0" spc="-99" dirty="0">
                <a:gradFill>
                  <a:gsLst>
                    <a:gs pos="2917">
                      <a:srgbClr val="FFFFFF"/>
                    </a:gs>
                    <a:gs pos="30000">
                      <a:srgbClr val="FFFFFF"/>
                    </a:gs>
                  </a:gsLst>
                  <a:lin ang="5400000" scaled="0"/>
                </a:gradFill>
              </a:rPr>
              <a:t>Windows 10 Devices</a:t>
            </a:r>
          </a:p>
        </p:txBody>
      </p:sp>
      <p:sp>
        <p:nvSpPr>
          <p:cNvPr id="2" name="TextBox 1"/>
          <p:cNvSpPr txBox="1"/>
          <p:nvPr/>
        </p:nvSpPr>
        <p:spPr>
          <a:xfrm>
            <a:off x="3152188" y="2503587"/>
            <a:ext cx="5887625" cy="1850924"/>
          </a:xfrm>
          <a:prstGeom prst="rect">
            <a:avLst/>
          </a:prstGeom>
          <a:noFill/>
        </p:spPr>
        <p:txBody>
          <a:bodyPr wrap="square" lIns="179259" tIns="143407" rIns="179259" bIns="143407" rtlCol="0">
            <a:spAutoFit/>
          </a:bodyPr>
          <a:lstStyle/>
          <a:p>
            <a:pPr algn="ctr" defTabSz="914246">
              <a:lnSpc>
                <a:spcPct val="90000"/>
              </a:lnSpc>
              <a:spcAft>
                <a:spcPts val="588"/>
              </a:spcAft>
            </a:pPr>
            <a:r>
              <a:rPr lang="en-US" sz="11272" b="1" kern="0" dirty="0">
                <a:gradFill>
                  <a:gsLst>
                    <a:gs pos="2917">
                      <a:srgbClr val="FFFFFF"/>
                    </a:gs>
                    <a:gs pos="30000">
                      <a:srgbClr val="FFFFFF"/>
                    </a:gs>
                  </a:gsLst>
                  <a:lin ang="5400000" scaled="0"/>
                </a:gradFill>
              </a:rPr>
              <a:t>1 Billion</a:t>
            </a:r>
          </a:p>
        </p:txBody>
      </p:sp>
    </p:spTree>
    <p:extLst>
      <p:ext uri="{BB962C8B-B14F-4D97-AF65-F5344CB8AC3E}">
        <p14:creationId xmlns:p14="http://schemas.microsoft.com/office/powerpoint/2010/main" val="50245681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500"/>
                                        <p:tgtEl>
                                          <p:spTgt spid="4"/>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250"/>
                                        <p:tgtEl>
                                          <p:spTgt spid="2"/>
                                        </p:tgtEl>
                                      </p:cBhvr>
                                    </p:animEffect>
                                  </p:childTnLst>
                                </p:cTn>
                              </p:par>
                              <p:par>
                                <p:cTn id="22" presetID="63" presetClass="path" presetSubtype="0" decel="100000" fill="hold" grpId="1" nodeType="withEffect">
                                  <p:stCondLst>
                                    <p:cond delay="750"/>
                                  </p:stCondLst>
                                  <p:childTnLst>
                                    <p:animMotion origin="layout" path="M 0 0 L 0.00013 0.10213 " pathEditMode="relative" rAng="0" ptsTypes="AA">
                                      <p:cBhvr>
                                        <p:cTn id="23" dur="750" spd="-100000" fill="hold"/>
                                        <p:tgtEl>
                                          <p:spTgt spid="2"/>
                                        </p:tgtEl>
                                        <p:attrNameLst>
                                          <p:attrName>ppt_x</p:attrName>
                                          <p:attrName>ppt_y</p:attrName>
                                        </p:attrNameLst>
                                      </p:cBhvr>
                                      <p:rCtr x="0" y="5107"/>
                                    </p:animMotion>
                                  </p:childTnLst>
                                </p:cTn>
                              </p:par>
                            </p:childTnLst>
                          </p:cTn>
                        </p:par>
                      </p:childTnLst>
                    </p:cTn>
                  </p:par>
                  <p:par>
                    <p:cTn id="24" fill="hold">
                      <p:stCondLst>
                        <p:cond delay="indefinite"/>
                      </p:stCondLst>
                      <p:childTnLst>
                        <p:par>
                          <p:cTn id="25" fill="hold">
                            <p:stCondLst>
                              <p:cond delay="0"/>
                            </p:stCondLst>
                            <p:childTnLst>
                              <p:par>
                                <p:cTn id="26" presetID="6" presetClass="emph" presetSubtype="0" accel="50000" decel="50000" fill="hold" grpId="2" nodeType="clickEffect">
                                  <p:stCondLst>
                                    <p:cond delay="0"/>
                                  </p:stCondLst>
                                  <p:childTnLst>
                                    <p:animScale>
                                      <p:cBhvr>
                                        <p:cTn id="27" dur="1000" fill="hold"/>
                                        <p:tgtEl>
                                          <p:spTgt spid="2"/>
                                        </p:tgtEl>
                                      </p:cBhvr>
                                      <p:by x="75000" y="75000"/>
                                    </p:animScale>
                                  </p:childTnLst>
                                </p:cTn>
                              </p:par>
                              <p:par>
                                <p:cTn id="28" presetID="35" presetClass="path" presetSubtype="0" accel="50000" decel="50000" fill="hold" grpId="3" nodeType="withEffect">
                                  <p:stCondLst>
                                    <p:cond delay="0"/>
                                  </p:stCondLst>
                                  <p:childTnLst>
                                    <p:animMotion origin="layout" path="M 0 0 L 0 -0.05606 " pathEditMode="relative" rAng="0" ptsTypes="AA">
                                      <p:cBhvr>
                                        <p:cTn id="29" dur="1000" fill="hold"/>
                                        <p:tgtEl>
                                          <p:spTgt spid="2"/>
                                        </p:tgtEl>
                                        <p:attrNameLst>
                                          <p:attrName>ppt_x</p:attrName>
                                          <p:attrName>ppt_y</p:attrName>
                                        </p:attrNameLst>
                                      </p:cBhvr>
                                      <p:rCtr x="0" y="-2814"/>
                                    </p:animMotion>
                                  </p:childTnLst>
                                </p:cTn>
                              </p:par>
                              <p:par>
                                <p:cTn id="30" presetID="10" presetClass="entr" presetSubtype="0" fill="hold" grpId="0" nodeType="withEffect">
                                  <p:stCondLst>
                                    <p:cond delay="6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250"/>
                                        <p:tgtEl>
                                          <p:spTgt spid="23"/>
                                        </p:tgtEl>
                                      </p:cBhvr>
                                    </p:animEffect>
                                  </p:childTnLst>
                                </p:cTn>
                              </p:par>
                              <p:par>
                                <p:cTn id="33" presetID="63" presetClass="path" presetSubtype="0" decel="100000" fill="hold" grpId="1" nodeType="withEffect">
                                  <p:stCondLst>
                                    <p:cond delay="400"/>
                                  </p:stCondLst>
                                  <p:childTnLst>
                                    <p:animMotion origin="layout" path="M -5.6676E-7 -1.94734E-6 L -0.09791 0.00046 " pathEditMode="relative" rAng="0" ptsTypes="AA">
                                      <p:cBhvr>
                                        <p:cTn id="34" dur="750" spd="-100000" fill="hold"/>
                                        <p:tgtEl>
                                          <p:spTgt spid="23"/>
                                        </p:tgtEl>
                                        <p:attrNameLst>
                                          <p:attrName>ppt_x</p:attrName>
                                          <p:attrName>ppt_y</p:attrName>
                                        </p:attrNameLst>
                                      </p:cBhvr>
                                      <p:rCtr x="-4902"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p:bldP spid="7" grpId="1"/>
      <p:bldP spid="23" grpId="0"/>
      <p:bldP spid="23" grpId="1"/>
      <p:bldP spid="2" grpId="0"/>
      <p:bldP spid="2" grpId="1"/>
      <p:bldP spid="2" grpId="2"/>
      <p:bldP spid="2" grpId="3"/>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ad"/>
          <p:cNvSpPr/>
          <p:nvPr/>
        </p:nvSpPr>
        <p:spPr bwMode="auto">
          <a:xfrm>
            <a:off x="868" y="3639084"/>
            <a:ext cx="12243117" cy="3236618"/>
          </a:xfrm>
          <a:custGeom>
            <a:avLst/>
            <a:gdLst>
              <a:gd name="connsiteX0" fmla="*/ 0 w 12436475"/>
              <a:gd name="connsiteY0" fmla="*/ 0 h 2692387"/>
              <a:gd name="connsiteX1" fmla="*/ 12436475 w 12436475"/>
              <a:gd name="connsiteY1" fmla="*/ 0 h 2692387"/>
              <a:gd name="connsiteX2" fmla="*/ 12436475 w 12436475"/>
              <a:gd name="connsiteY2" fmla="*/ 2692387 h 2692387"/>
              <a:gd name="connsiteX3" fmla="*/ 0 w 12436475"/>
              <a:gd name="connsiteY3" fmla="*/ 2692387 h 2692387"/>
              <a:gd name="connsiteX4" fmla="*/ 0 w 12436475"/>
              <a:gd name="connsiteY4" fmla="*/ 0 h 2692387"/>
              <a:gd name="connsiteX0" fmla="*/ 0 w 12436475"/>
              <a:gd name="connsiteY0" fmla="*/ 0 h 3301987"/>
              <a:gd name="connsiteX1" fmla="*/ 12436475 w 12436475"/>
              <a:gd name="connsiteY1" fmla="*/ 0 h 3301987"/>
              <a:gd name="connsiteX2" fmla="*/ 12436475 w 12436475"/>
              <a:gd name="connsiteY2" fmla="*/ 2692387 h 3301987"/>
              <a:gd name="connsiteX3" fmla="*/ 0 w 12436475"/>
              <a:gd name="connsiteY3" fmla="*/ 3301987 h 3301987"/>
              <a:gd name="connsiteX4" fmla="*/ 0 w 12436475"/>
              <a:gd name="connsiteY4" fmla="*/ 0 h 3301987"/>
              <a:gd name="connsiteX0" fmla="*/ 0 w 12465504"/>
              <a:gd name="connsiteY0" fmla="*/ 0 h 3301987"/>
              <a:gd name="connsiteX1" fmla="*/ 12436475 w 12465504"/>
              <a:gd name="connsiteY1" fmla="*/ 0 h 3301987"/>
              <a:gd name="connsiteX2" fmla="*/ 12465504 w 12465504"/>
              <a:gd name="connsiteY2" fmla="*/ 3272959 h 3301987"/>
              <a:gd name="connsiteX3" fmla="*/ 0 w 12465504"/>
              <a:gd name="connsiteY3" fmla="*/ 3301987 h 3301987"/>
              <a:gd name="connsiteX4" fmla="*/ 0 w 12465504"/>
              <a:gd name="connsiteY4" fmla="*/ 0 h 3301987"/>
              <a:gd name="connsiteX0" fmla="*/ 0 w 12474381"/>
              <a:gd name="connsiteY0" fmla="*/ 0 h 3301987"/>
              <a:gd name="connsiteX1" fmla="*/ 12436475 w 12474381"/>
              <a:gd name="connsiteY1" fmla="*/ 0 h 3301987"/>
              <a:gd name="connsiteX2" fmla="*/ 12474381 w 12474381"/>
              <a:gd name="connsiteY2" fmla="*/ 3281837 h 3301987"/>
              <a:gd name="connsiteX3" fmla="*/ 0 w 12474381"/>
              <a:gd name="connsiteY3" fmla="*/ 3301987 h 3301987"/>
              <a:gd name="connsiteX4" fmla="*/ 0 w 12474381"/>
              <a:gd name="connsiteY4" fmla="*/ 0 h 3301987"/>
              <a:gd name="connsiteX0" fmla="*/ 0 w 12474381"/>
              <a:gd name="connsiteY0" fmla="*/ 0 h 3301987"/>
              <a:gd name="connsiteX1" fmla="*/ 12463108 w 12474381"/>
              <a:gd name="connsiteY1" fmla="*/ 8878 h 3301987"/>
              <a:gd name="connsiteX2" fmla="*/ 12474381 w 12474381"/>
              <a:gd name="connsiteY2" fmla="*/ 3281837 h 3301987"/>
              <a:gd name="connsiteX3" fmla="*/ 0 w 12474381"/>
              <a:gd name="connsiteY3" fmla="*/ 3301987 h 3301987"/>
              <a:gd name="connsiteX4" fmla="*/ 0 w 12474381"/>
              <a:gd name="connsiteY4" fmla="*/ 0 h 3301987"/>
              <a:gd name="connsiteX0" fmla="*/ 0 w 12483259"/>
              <a:gd name="connsiteY0" fmla="*/ 0 h 3301987"/>
              <a:gd name="connsiteX1" fmla="*/ 12463108 w 12483259"/>
              <a:gd name="connsiteY1" fmla="*/ 8878 h 3301987"/>
              <a:gd name="connsiteX2" fmla="*/ 12483259 w 12483259"/>
              <a:gd name="connsiteY2" fmla="*/ 3290715 h 3301987"/>
              <a:gd name="connsiteX3" fmla="*/ 0 w 12483259"/>
              <a:gd name="connsiteY3" fmla="*/ 3301987 h 3301987"/>
              <a:gd name="connsiteX4" fmla="*/ 0 w 12483259"/>
              <a:gd name="connsiteY4" fmla="*/ 0 h 3301987"/>
              <a:gd name="connsiteX0" fmla="*/ 0 w 12490388"/>
              <a:gd name="connsiteY0" fmla="*/ 0 h 3301987"/>
              <a:gd name="connsiteX1" fmla="*/ 12489741 w 12490388"/>
              <a:gd name="connsiteY1" fmla="*/ 8878 h 3301987"/>
              <a:gd name="connsiteX2" fmla="*/ 12483259 w 12490388"/>
              <a:gd name="connsiteY2" fmla="*/ 3290715 h 3301987"/>
              <a:gd name="connsiteX3" fmla="*/ 0 w 12490388"/>
              <a:gd name="connsiteY3" fmla="*/ 3301987 h 3301987"/>
              <a:gd name="connsiteX4" fmla="*/ 0 w 12490388"/>
              <a:gd name="connsiteY4" fmla="*/ 0 h 330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0388" h="3301987">
                <a:moveTo>
                  <a:pt x="0" y="0"/>
                </a:moveTo>
                <a:lnTo>
                  <a:pt x="12489741" y="8878"/>
                </a:lnTo>
                <a:cubicBezTo>
                  <a:pt x="12493499" y="1099864"/>
                  <a:pt x="12479501" y="2199729"/>
                  <a:pt x="12483259" y="3290715"/>
                </a:cubicBezTo>
                <a:lnTo>
                  <a:pt x="0" y="3301987"/>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6035" fontAlgn="base">
              <a:lnSpc>
                <a:spcPct val="90000"/>
              </a:lnSpc>
              <a:spcBef>
                <a:spcPct val="0"/>
              </a:spcBef>
              <a:spcAft>
                <a:spcPct val="0"/>
              </a:spcAft>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MASK TOP"/>
          <p:cNvSpPr>
            <a:spLocks noEditPoints="1"/>
          </p:cNvSpPr>
          <p:nvPr/>
        </p:nvSpPr>
        <p:spPr bwMode="auto">
          <a:xfrm>
            <a:off x="-2221030" y="-1079235"/>
            <a:ext cx="16660240" cy="6780772"/>
          </a:xfrm>
          <a:custGeom>
            <a:avLst/>
            <a:gdLst>
              <a:gd name="T0" fmla="*/ 3577 w 7408"/>
              <a:gd name="T1" fmla="*/ 2095 h 3013"/>
              <a:gd name="T2" fmla="*/ 8 w 7408"/>
              <a:gd name="T3" fmla="*/ 3000 h 3013"/>
              <a:gd name="T4" fmla="*/ 0 w 7408"/>
              <a:gd name="T5" fmla="*/ 0 h 3013"/>
              <a:gd name="T6" fmla="*/ 7408 w 7408"/>
              <a:gd name="T7" fmla="*/ 0 h 3013"/>
              <a:gd name="T8" fmla="*/ 7408 w 7408"/>
              <a:gd name="T9" fmla="*/ 3000 h 3013"/>
              <a:gd name="T10" fmla="*/ 7408 w 7408"/>
              <a:gd name="T11" fmla="*/ 3000 h 3013"/>
              <a:gd name="T12" fmla="*/ 3839 w 7408"/>
              <a:gd name="T13" fmla="*/ 2095 h 3013"/>
              <a:gd name="T14" fmla="*/ 3577 w 7408"/>
              <a:gd name="T15" fmla="*/ 2095 h 3013"/>
              <a:gd name="T16" fmla="*/ 7408 w 7408"/>
              <a:gd name="T17" fmla="*/ 3000 h 3013"/>
              <a:gd name="T18" fmla="*/ 7408 w 7408"/>
              <a:gd name="T19" fmla="*/ 3000 h 3013"/>
              <a:gd name="T20" fmla="*/ 3839 w 7408"/>
              <a:gd name="T21" fmla="*/ 2095 h 3013"/>
              <a:gd name="T22" fmla="*/ 3839 w 7408"/>
              <a:gd name="T23" fmla="*/ 2095 h 3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08" h="3013">
                <a:moveTo>
                  <a:pt x="3577" y="2095"/>
                </a:moveTo>
                <a:cubicBezTo>
                  <a:pt x="3492" y="2095"/>
                  <a:pt x="8" y="3000"/>
                  <a:pt x="8" y="3000"/>
                </a:cubicBezTo>
                <a:cubicBezTo>
                  <a:pt x="20" y="3013"/>
                  <a:pt x="0" y="0"/>
                  <a:pt x="0" y="0"/>
                </a:cubicBezTo>
                <a:cubicBezTo>
                  <a:pt x="7408" y="0"/>
                  <a:pt x="7408" y="0"/>
                  <a:pt x="7408" y="0"/>
                </a:cubicBezTo>
                <a:cubicBezTo>
                  <a:pt x="7408" y="3000"/>
                  <a:pt x="7408" y="3000"/>
                  <a:pt x="7408" y="3000"/>
                </a:cubicBezTo>
                <a:moveTo>
                  <a:pt x="7408" y="3000"/>
                </a:moveTo>
                <a:cubicBezTo>
                  <a:pt x="7408" y="3000"/>
                  <a:pt x="3924" y="2095"/>
                  <a:pt x="3839" y="2095"/>
                </a:cubicBezTo>
                <a:cubicBezTo>
                  <a:pt x="3577" y="2095"/>
                  <a:pt x="3577" y="2095"/>
                  <a:pt x="3577" y="2095"/>
                </a:cubicBezTo>
                <a:moveTo>
                  <a:pt x="7408" y="3000"/>
                </a:moveTo>
                <a:cubicBezTo>
                  <a:pt x="7408" y="3000"/>
                  <a:pt x="7408" y="3000"/>
                  <a:pt x="7408" y="3000"/>
                </a:cubicBezTo>
                <a:moveTo>
                  <a:pt x="3839" y="2095"/>
                </a:moveTo>
                <a:cubicBezTo>
                  <a:pt x="3839" y="2095"/>
                  <a:pt x="3839" y="2095"/>
                  <a:pt x="3839" y="2095"/>
                </a:cubicBezTo>
              </a:path>
            </a:pathLst>
          </a:custGeom>
          <a:solidFill>
            <a:schemeClr val="tx1"/>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2" name="Support Lines"/>
          <p:cNvSpPr>
            <a:spLocks noEditPoints="1"/>
          </p:cNvSpPr>
          <p:nvPr/>
        </p:nvSpPr>
        <p:spPr bwMode="auto">
          <a:xfrm>
            <a:off x="-393066" y="1967154"/>
            <a:ext cx="13023053" cy="2085337"/>
          </a:xfrm>
          <a:custGeom>
            <a:avLst/>
            <a:gdLst>
              <a:gd name="T0" fmla="*/ 20 w 5778"/>
              <a:gd name="T1" fmla="*/ 923 h 924"/>
              <a:gd name="T2" fmla="*/ 1256 w 5778"/>
              <a:gd name="T3" fmla="*/ 385 h 924"/>
              <a:gd name="T4" fmla="*/ 1770 w 5778"/>
              <a:gd name="T5" fmla="*/ 396 h 924"/>
              <a:gd name="T6" fmla="*/ 2031 w 5778"/>
              <a:gd name="T7" fmla="*/ 769 h 924"/>
              <a:gd name="T8" fmla="*/ 2011 w 5778"/>
              <a:gd name="T9" fmla="*/ 770 h 924"/>
              <a:gd name="T10" fmla="*/ 2176 w 5778"/>
              <a:gd name="T11" fmla="*/ 395 h 924"/>
              <a:gd name="T12" fmla="*/ 2304 w 5778"/>
              <a:gd name="T13" fmla="*/ 379 h 924"/>
              <a:gd name="T14" fmla="*/ 2386 w 5778"/>
              <a:gd name="T15" fmla="*/ 745 h 924"/>
              <a:gd name="T16" fmla="*/ 2386 w 5778"/>
              <a:gd name="T17" fmla="*/ 745 h 924"/>
              <a:gd name="T18" fmla="*/ 2429 w 5778"/>
              <a:gd name="T19" fmla="*/ 742 h 924"/>
              <a:gd name="T20" fmla="*/ 2479 w 5778"/>
              <a:gd name="T21" fmla="*/ 328 h 924"/>
              <a:gd name="T22" fmla="*/ 2528 w 5778"/>
              <a:gd name="T23" fmla="*/ 303 h 924"/>
              <a:gd name="T24" fmla="*/ 2560 w 5778"/>
              <a:gd name="T25" fmla="*/ 734 h 924"/>
              <a:gd name="T26" fmla="*/ 2560 w 5778"/>
              <a:gd name="T27" fmla="*/ 734 h 924"/>
              <a:gd name="T28" fmla="*/ 2575 w 5778"/>
              <a:gd name="T29" fmla="*/ 733 h 924"/>
              <a:gd name="T30" fmla="*/ 2600 w 5778"/>
              <a:gd name="T31" fmla="*/ 249 h 924"/>
              <a:gd name="T32" fmla="*/ 2628 w 5778"/>
              <a:gd name="T33" fmla="*/ 731 h 924"/>
              <a:gd name="T34" fmla="*/ 2628 w 5778"/>
              <a:gd name="T35" fmla="*/ 731 h 924"/>
              <a:gd name="T36" fmla="*/ 2638 w 5778"/>
              <a:gd name="T37" fmla="*/ 730 h 924"/>
              <a:gd name="T38" fmla="*/ 2657 w 5778"/>
              <a:gd name="T39" fmla="*/ 181 h 924"/>
              <a:gd name="T40" fmla="*/ 2682 w 5778"/>
              <a:gd name="T41" fmla="*/ 141 h 924"/>
              <a:gd name="T42" fmla="*/ 2698 w 5778"/>
              <a:gd name="T43" fmla="*/ 727 h 924"/>
              <a:gd name="T44" fmla="*/ 2698 w 5778"/>
              <a:gd name="T45" fmla="*/ 727 h 924"/>
              <a:gd name="T46" fmla="*/ 2715 w 5778"/>
              <a:gd name="T47" fmla="*/ 727 h 924"/>
              <a:gd name="T48" fmla="*/ 2736 w 5778"/>
              <a:gd name="T49" fmla="*/ 13 h 924"/>
              <a:gd name="T50" fmla="*/ 5758 w 5778"/>
              <a:gd name="T51" fmla="*/ 338 h 924"/>
              <a:gd name="T52" fmla="*/ 4522 w 5778"/>
              <a:gd name="T53" fmla="*/ 826 h 924"/>
              <a:gd name="T54" fmla="*/ 4522 w 5778"/>
              <a:gd name="T55" fmla="*/ 826 h 924"/>
              <a:gd name="T56" fmla="*/ 4008 w 5778"/>
              <a:gd name="T57" fmla="*/ 788 h 924"/>
              <a:gd name="T58" fmla="*/ 3762 w 5778"/>
              <a:gd name="T59" fmla="*/ 398 h 924"/>
              <a:gd name="T60" fmla="*/ 3602 w 5778"/>
              <a:gd name="T61" fmla="*/ 759 h 924"/>
              <a:gd name="T62" fmla="*/ 3602 w 5778"/>
              <a:gd name="T63" fmla="*/ 759 h 924"/>
              <a:gd name="T64" fmla="*/ 3474 w 5778"/>
              <a:gd name="T65" fmla="*/ 750 h 924"/>
              <a:gd name="T66" fmla="*/ 3392 w 5778"/>
              <a:gd name="T67" fmla="*/ 360 h 924"/>
              <a:gd name="T68" fmla="*/ 3349 w 5778"/>
              <a:gd name="T69" fmla="*/ 347 h 924"/>
              <a:gd name="T70" fmla="*/ 3299 w 5778"/>
              <a:gd name="T71" fmla="*/ 739 h 924"/>
              <a:gd name="T72" fmla="*/ 3299 w 5778"/>
              <a:gd name="T73" fmla="*/ 739 h 924"/>
              <a:gd name="T74" fmla="*/ 3250 w 5778"/>
              <a:gd name="T75" fmla="*/ 736 h 924"/>
              <a:gd name="T76" fmla="*/ 3218 w 5778"/>
              <a:gd name="T77" fmla="*/ 282 h 924"/>
              <a:gd name="T78" fmla="*/ 3203 w 5778"/>
              <a:gd name="T79" fmla="*/ 271 h 924"/>
              <a:gd name="T80" fmla="*/ 3180 w 5778"/>
              <a:gd name="T81" fmla="*/ 732 h 924"/>
              <a:gd name="T82" fmla="*/ 3172 w 5778"/>
              <a:gd name="T83" fmla="*/ 732 h 924"/>
              <a:gd name="T84" fmla="*/ 3150 w 5778"/>
              <a:gd name="T85" fmla="*/ 220 h 924"/>
              <a:gd name="T86" fmla="*/ 3140 w 5778"/>
              <a:gd name="T87" fmla="*/ 207 h 924"/>
              <a:gd name="T88" fmla="*/ 3121 w 5778"/>
              <a:gd name="T89" fmla="*/ 729 h 924"/>
              <a:gd name="T90" fmla="*/ 3121 w 5778"/>
              <a:gd name="T91" fmla="*/ 729 h 924"/>
              <a:gd name="T92" fmla="*/ 3096 w 5778"/>
              <a:gd name="T93" fmla="*/ 728 h 924"/>
              <a:gd name="T94" fmla="*/ 3080 w 5778"/>
              <a:gd name="T95" fmla="*/ 110 h 924"/>
              <a:gd name="T96" fmla="*/ 3063 w 5778"/>
              <a:gd name="T97" fmla="*/ 72 h 924"/>
              <a:gd name="T98" fmla="*/ 3042 w 5778"/>
              <a:gd name="T99" fmla="*/ 726 h 924"/>
              <a:gd name="T100" fmla="*/ 3042 w 5778"/>
              <a:gd name="T101" fmla="*/ 726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78" h="924">
                <a:moveTo>
                  <a:pt x="0" y="924"/>
                </a:moveTo>
                <a:cubicBezTo>
                  <a:pt x="0" y="337"/>
                  <a:pt x="0" y="337"/>
                  <a:pt x="0" y="337"/>
                </a:cubicBezTo>
                <a:cubicBezTo>
                  <a:pt x="7" y="337"/>
                  <a:pt x="14" y="337"/>
                  <a:pt x="20" y="338"/>
                </a:cubicBezTo>
                <a:cubicBezTo>
                  <a:pt x="20" y="923"/>
                  <a:pt x="20" y="923"/>
                  <a:pt x="20" y="923"/>
                </a:cubicBezTo>
                <a:cubicBezTo>
                  <a:pt x="14" y="923"/>
                  <a:pt x="7" y="924"/>
                  <a:pt x="0" y="924"/>
                </a:cubicBezTo>
                <a:close/>
                <a:moveTo>
                  <a:pt x="1276" y="824"/>
                </a:moveTo>
                <a:cubicBezTo>
                  <a:pt x="1276" y="386"/>
                  <a:pt x="1276" y="386"/>
                  <a:pt x="1276" y="386"/>
                </a:cubicBezTo>
                <a:cubicBezTo>
                  <a:pt x="1270" y="385"/>
                  <a:pt x="1263" y="385"/>
                  <a:pt x="1256" y="385"/>
                </a:cubicBezTo>
                <a:cubicBezTo>
                  <a:pt x="1256" y="826"/>
                  <a:pt x="1256" y="826"/>
                  <a:pt x="1256" y="826"/>
                </a:cubicBezTo>
                <a:cubicBezTo>
                  <a:pt x="1263" y="825"/>
                  <a:pt x="1270" y="825"/>
                  <a:pt x="1276" y="824"/>
                </a:cubicBezTo>
                <a:close/>
                <a:moveTo>
                  <a:pt x="1770" y="788"/>
                </a:moveTo>
                <a:cubicBezTo>
                  <a:pt x="1770" y="396"/>
                  <a:pt x="1770" y="396"/>
                  <a:pt x="1770" y="396"/>
                </a:cubicBezTo>
                <a:cubicBezTo>
                  <a:pt x="1763" y="396"/>
                  <a:pt x="1756" y="396"/>
                  <a:pt x="1750" y="396"/>
                </a:cubicBezTo>
                <a:cubicBezTo>
                  <a:pt x="1750" y="789"/>
                  <a:pt x="1750" y="789"/>
                  <a:pt x="1750" y="789"/>
                </a:cubicBezTo>
                <a:cubicBezTo>
                  <a:pt x="1756" y="789"/>
                  <a:pt x="1763" y="788"/>
                  <a:pt x="1770" y="788"/>
                </a:cubicBezTo>
                <a:close/>
                <a:moveTo>
                  <a:pt x="2031" y="769"/>
                </a:moveTo>
                <a:cubicBezTo>
                  <a:pt x="2031" y="399"/>
                  <a:pt x="2031" y="399"/>
                  <a:pt x="2031" y="399"/>
                </a:cubicBezTo>
                <a:cubicBezTo>
                  <a:pt x="2021" y="398"/>
                  <a:pt x="2016" y="398"/>
                  <a:pt x="2016" y="398"/>
                </a:cubicBezTo>
                <a:cubicBezTo>
                  <a:pt x="2014" y="398"/>
                  <a:pt x="2013" y="398"/>
                  <a:pt x="2011" y="398"/>
                </a:cubicBezTo>
                <a:cubicBezTo>
                  <a:pt x="2011" y="770"/>
                  <a:pt x="2011" y="770"/>
                  <a:pt x="2011" y="770"/>
                </a:cubicBezTo>
                <a:cubicBezTo>
                  <a:pt x="2018" y="770"/>
                  <a:pt x="2024" y="769"/>
                  <a:pt x="2031" y="769"/>
                </a:cubicBezTo>
                <a:close/>
                <a:moveTo>
                  <a:pt x="2196" y="757"/>
                </a:moveTo>
                <a:cubicBezTo>
                  <a:pt x="2196" y="393"/>
                  <a:pt x="2196" y="393"/>
                  <a:pt x="2196" y="393"/>
                </a:cubicBezTo>
                <a:cubicBezTo>
                  <a:pt x="2190" y="394"/>
                  <a:pt x="2183" y="395"/>
                  <a:pt x="2176" y="395"/>
                </a:cubicBezTo>
                <a:cubicBezTo>
                  <a:pt x="2176" y="759"/>
                  <a:pt x="2176" y="759"/>
                  <a:pt x="2176" y="759"/>
                </a:cubicBezTo>
                <a:cubicBezTo>
                  <a:pt x="2183" y="758"/>
                  <a:pt x="2190" y="758"/>
                  <a:pt x="2196" y="757"/>
                </a:cubicBezTo>
                <a:close/>
                <a:moveTo>
                  <a:pt x="2304" y="750"/>
                </a:moveTo>
                <a:cubicBezTo>
                  <a:pt x="2304" y="379"/>
                  <a:pt x="2304" y="379"/>
                  <a:pt x="2304" y="379"/>
                </a:cubicBezTo>
                <a:cubicBezTo>
                  <a:pt x="2298" y="380"/>
                  <a:pt x="2293" y="381"/>
                  <a:pt x="2288" y="382"/>
                </a:cubicBezTo>
                <a:cubicBezTo>
                  <a:pt x="2288" y="751"/>
                  <a:pt x="2288" y="751"/>
                  <a:pt x="2288" y="751"/>
                </a:cubicBezTo>
                <a:cubicBezTo>
                  <a:pt x="2293" y="751"/>
                  <a:pt x="2298" y="750"/>
                  <a:pt x="2304" y="750"/>
                </a:cubicBezTo>
                <a:close/>
                <a:moveTo>
                  <a:pt x="2386" y="745"/>
                </a:moveTo>
                <a:cubicBezTo>
                  <a:pt x="2386" y="360"/>
                  <a:pt x="2386" y="360"/>
                  <a:pt x="2386" y="360"/>
                </a:cubicBezTo>
                <a:cubicBezTo>
                  <a:pt x="2381" y="362"/>
                  <a:pt x="2376" y="363"/>
                  <a:pt x="2370" y="365"/>
                </a:cubicBezTo>
                <a:cubicBezTo>
                  <a:pt x="2370" y="746"/>
                  <a:pt x="2370" y="746"/>
                  <a:pt x="2370" y="746"/>
                </a:cubicBezTo>
                <a:cubicBezTo>
                  <a:pt x="2376" y="745"/>
                  <a:pt x="2381" y="745"/>
                  <a:pt x="2386" y="745"/>
                </a:cubicBezTo>
                <a:close/>
                <a:moveTo>
                  <a:pt x="2445" y="741"/>
                </a:moveTo>
                <a:cubicBezTo>
                  <a:pt x="2445" y="342"/>
                  <a:pt x="2445" y="342"/>
                  <a:pt x="2445" y="342"/>
                </a:cubicBezTo>
                <a:cubicBezTo>
                  <a:pt x="2440" y="344"/>
                  <a:pt x="2434" y="346"/>
                  <a:pt x="2429" y="347"/>
                </a:cubicBezTo>
                <a:cubicBezTo>
                  <a:pt x="2429" y="742"/>
                  <a:pt x="2429" y="742"/>
                  <a:pt x="2429" y="742"/>
                </a:cubicBezTo>
                <a:cubicBezTo>
                  <a:pt x="2434" y="742"/>
                  <a:pt x="2440" y="741"/>
                  <a:pt x="2445" y="741"/>
                </a:cubicBezTo>
                <a:close/>
                <a:moveTo>
                  <a:pt x="2491" y="738"/>
                </a:moveTo>
                <a:cubicBezTo>
                  <a:pt x="2491" y="322"/>
                  <a:pt x="2491" y="322"/>
                  <a:pt x="2491" y="322"/>
                </a:cubicBezTo>
                <a:cubicBezTo>
                  <a:pt x="2487" y="324"/>
                  <a:pt x="2483" y="326"/>
                  <a:pt x="2479" y="328"/>
                </a:cubicBezTo>
                <a:cubicBezTo>
                  <a:pt x="2479" y="739"/>
                  <a:pt x="2479" y="739"/>
                  <a:pt x="2479" y="739"/>
                </a:cubicBezTo>
                <a:cubicBezTo>
                  <a:pt x="2483" y="739"/>
                  <a:pt x="2487" y="738"/>
                  <a:pt x="2491" y="738"/>
                </a:cubicBezTo>
                <a:close/>
                <a:moveTo>
                  <a:pt x="2528" y="736"/>
                </a:moveTo>
                <a:cubicBezTo>
                  <a:pt x="2528" y="303"/>
                  <a:pt x="2528" y="303"/>
                  <a:pt x="2528" y="303"/>
                </a:cubicBezTo>
                <a:cubicBezTo>
                  <a:pt x="2524" y="305"/>
                  <a:pt x="2520" y="307"/>
                  <a:pt x="2516" y="310"/>
                </a:cubicBezTo>
                <a:cubicBezTo>
                  <a:pt x="2516" y="737"/>
                  <a:pt x="2516" y="737"/>
                  <a:pt x="2516" y="737"/>
                </a:cubicBezTo>
                <a:cubicBezTo>
                  <a:pt x="2520" y="736"/>
                  <a:pt x="2524" y="736"/>
                  <a:pt x="2528" y="736"/>
                </a:cubicBezTo>
                <a:close/>
                <a:moveTo>
                  <a:pt x="2560" y="734"/>
                </a:moveTo>
                <a:cubicBezTo>
                  <a:pt x="2560" y="282"/>
                  <a:pt x="2560" y="282"/>
                  <a:pt x="2560" y="282"/>
                </a:cubicBezTo>
                <a:cubicBezTo>
                  <a:pt x="2556" y="285"/>
                  <a:pt x="2552" y="288"/>
                  <a:pt x="2548" y="290"/>
                </a:cubicBezTo>
                <a:cubicBezTo>
                  <a:pt x="2548" y="735"/>
                  <a:pt x="2548" y="735"/>
                  <a:pt x="2548" y="735"/>
                </a:cubicBezTo>
                <a:cubicBezTo>
                  <a:pt x="2552" y="735"/>
                  <a:pt x="2556" y="734"/>
                  <a:pt x="2560" y="734"/>
                </a:cubicBezTo>
                <a:close/>
                <a:moveTo>
                  <a:pt x="2587" y="733"/>
                </a:moveTo>
                <a:cubicBezTo>
                  <a:pt x="2587" y="261"/>
                  <a:pt x="2587" y="261"/>
                  <a:pt x="2587" y="261"/>
                </a:cubicBezTo>
                <a:cubicBezTo>
                  <a:pt x="2583" y="264"/>
                  <a:pt x="2579" y="268"/>
                  <a:pt x="2575" y="271"/>
                </a:cubicBezTo>
                <a:cubicBezTo>
                  <a:pt x="2575" y="733"/>
                  <a:pt x="2575" y="733"/>
                  <a:pt x="2575" y="733"/>
                </a:cubicBezTo>
                <a:cubicBezTo>
                  <a:pt x="2579" y="733"/>
                  <a:pt x="2583" y="733"/>
                  <a:pt x="2587" y="733"/>
                </a:cubicBezTo>
                <a:close/>
                <a:moveTo>
                  <a:pt x="2606" y="732"/>
                </a:moveTo>
                <a:cubicBezTo>
                  <a:pt x="2606" y="243"/>
                  <a:pt x="2606" y="243"/>
                  <a:pt x="2606" y="243"/>
                </a:cubicBezTo>
                <a:cubicBezTo>
                  <a:pt x="2602" y="247"/>
                  <a:pt x="2600" y="249"/>
                  <a:pt x="2600" y="249"/>
                </a:cubicBezTo>
                <a:cubicBezTo>
                  <a:pt x="2599" y="249"/>
                  <a:pt x="2599" y="250"/>
                  <a:pt x="2598" y="250"/>
                </a:cubicBezTo>
                <a:cubicBezTo>
                  <a:pt x="2598" y="732"/>
                  <a:pt x="2598" y="732"/>
                  <a:pt x="2598" y="732"/>
                </a:cubicBezTo>
                <a:cubicBezTo>
                  <a:pt x="2601" y="732"/>
                  <a:pt x="2604" y="732"/>
                  <a:pt x="2606" y="732"/>
                </a:cubicBezTo>
                <a:close/>
                <a:moveTo>
                  <a:pt x="2628" y="731"/>
                </a:moveTo>
                <a:cubicBezTo>
                  <a:pt x="2628" y="220"/>
                  <a:pt x="2628" y="220"/>
                  <a:pt x="2628" y="220"/>
                </a:cubicBezTo>
                <a:cubicBezTo>
                  <a:pt x="2625" y="223"/>
                  <a:pt x="2622" y="227"/>
                  <a:pt x="2620" y="229"/>
                </a:cubicBezTo>
                <a:cubicBezTo>
                  <a:pt x="2620" y="731"/>
                  <a:pt x="2620" y="731"/>
                  <a:pt x="2620" y="731"/>
                </a:cubicBezTo>
                <a:cubicBezTo>
                  <a:pt x="2622" y="731"/>
                  <a:pt x="2625" y="731"/>
                  <a:pt x="2628" y="731"/>
                </a:cubicBezTo>
                <a:close/>
                <a:moveTo>
                  <a:pt x="2646" y="730"/>
                </a:moveTo>
                <a:cubicBezTo>
                  <a:pt x="2646" y="197"/>
                  <a:pt x="2646" y="197"/>
                  <a:pt x="2646" y="197"/>
                </a:cubicBezTo>
                <a:cubicBezTo>
                  <a:pt x="2644" y="200"/>
                  <a:pt x="2641" y="204"/>
                  <a:pt x="2638" y="207"/>
                </a:cubicBezTo>
                <a:cubicBezTo>
                  <a:pt x="2638" y="730"/>
                  <a:pt x="2638" y="730"/>
                  <a:pt x="2638" y="730"/>
                </a:cubicBezTo>
                <a:cubicBezTo>
                  <a:pt x="2641" y="730"/>
                  <a:pt x="2644" y="730"/>
                  <a:pt x="2646" y="730"/>
                </a:cubicBezTo>
                <a:close/>
                <a:moveTo>
                  <a:pt x="2665" y="729"/>
                </a:moveTo>
                <a:cubicBezTo>
                  <a:pt x="2665" y="169"/>
                  <a:pt x="2665" y="169"/>
                  <a:pt x="2665" y="169"/>
                </a:cubicBezTo>
                <a:cubicBezTo>
                  <a:pt x="2662" y="173"/>
                  <a:pt x="2660" y="178"/>
                  <a:pt x="2657" y="181"/>
                </a:cubicBezTo>
                <a:cubicBezTo>
                  <a:pt x="2657" y="729"/>
                  <a:pt x="2657" y="729"/>
                  <a:pt x="2657" y="729"/>
                </a:cubicBezTo>
                <a:cubicBezTo>
                  <a:pt x="2660" y="729"/>
                  <a:pt x="2662" y="729"/>
                  <a:pt x="2665" y="729"/>
                </a:cubicBezTo>
                <a:close/>
                <a:moveTo>
                  <a:pt x="2682" y="728"/>
                </a:moveTo>
                <a:cubicBezTo>
                  <a:pt x="2682" y="141"/>
                  <a:pt x="2682" y="141"/>
                  <a:pt x="2682" y="141"/>
                </a:cubicBezTo>
                <a:cubicBezTo>
                  <a:pt x="2680" y="144"/>
                  <a:pt x="2679" y="146"/>
                  <a:pt x="2678" y="148"/>
                </a:cubicBezTo>
                <a:cubicBezTo>
                  <a:pt x="2678" y="728"/>
                  <a:pt x="2678" y="728"/>
                  <a:pt x="2678" y="728"/>
                </a:cubicBezTo>
                <a:cubicBezTo>
                  <a:pt x="2679" y="728"/>
                  <a:pt x="2680" y="728"/>
                  <a:pt x="2682" y="728"/>
                </a:cubicBezTo>
                <a:close/>
                <a:moveTo>
                  <a:pt x="2698" y="727"/>
                </a:moveTo>
                <a:cubicBezTo>
                  <a:pt x="2698" y="110"/>
                  <a:pt x="2698" y="110"/>
                  <a:pt x="2698" y="110"/>
                </a:cubicBezTo>
                <a:cubicBezTo>
                  <a:pt x="2696" y="113"/>
                  <a:pt x="2695" y="116"/>
                  <a:pt x="2694" y="119"/>
                </a:cubicBezTo>
                <a:cubicBezTo>
                  <a:pt x="2694" y="728"/>
                  <a:pt x="2694" y="728"/>
                  <a:pt x="2694" y="728"/>
                </a:cubicBezTo>
                <a:cubicBezTo>
                  <a:pt x="2695" y="728"/>
                  <a:pt x="2696" y="728"/>
                  <a:pt x="2698" y="727"/>
                </a:cubicBezTo>
                <a:close/>
                <a:moveTo>
                  <a:pt x="2719" y="727"/>
                </a:moveTo>
                <a:cubicBezTo>
                  <a:pt x="2719" y="62"/>
                  <a:pt x="2719" y="62"/>
                  <a:pt x="2719" y="62"/>
                </a:cubicBezTo>
                <a:cubicBezTo>
                  <a:pt x="2718" y="65"/>
                  <a:pt x="2716" y="68"/>
                  <a:pt x="2715" y="72"/>
                </a:cubicBezTo>
                <a:cubicBezTo>
                  <a:pt x="2715" y="727"/>
                  <a:pt x="2715" y="727"/>
                  <a:pt x="2715" y="727"/>
                </a:cubicBezTo>
                <a:cubicBezTo>
                  <a:pt x="2716" y="727"/>
                  <a:pt x="2718" y="727"/>
                  <a:pt x="2719" y="727"/>
                </a:cubicBezTo>
                <a:close/>
                <a:moveTo>
                  <a:pt x="2740" y="726"/>
                </a:moveTo>
                <a:cubicBezTo>
                  <a:pt x="2740" y="0"/>
                  <a:pt x="2740" y="0"/>
                  <a:pt x="2740" y="0"/>
                </a:cubicBezTo>
                <a:cubicBezTo>
                  <a:pt x="2739" y="4"/>
                  <a:pt x="2738" y="9"/>
                  <a:pt x="2736" y="13"/>
                </a:cubicBezTo>
                <a:cubicBezTo>
                  <a:pt x="2736" y="726"/>
                  <a:pt x="2736" y="726"/>
                  <a:pt x="2736" y="726"/>
                </a:cubicBezTo>
                <a:cubicBezTo>
                  <a:pt x="2738" y="726"/>
                  <a:pt x="2739" y="726"/>
                  <a:pt x="2740" y="726"/>
                </a:cubicBezTo>
                <a:close/>
                <a:moveTo>
                  <a:pt x="5758" y="923"/>
                </a:moveTo>
                <a:cubicBezTo>
                  <a:pt x="5758" y="338"/>
                  <a:pt x="5758" y="338"/>
                  <a:pt x="5758" y="338"/>
                </a:cubicBezTo>
                <a:cubicBezTo>
                  <a:pt x="5764" y="337"/>
                  <a:pt x="5771" y="337"/>
                  <a:pt x="5778" y="337"/>
                </a:cubicBezTo>
                <a:cubicBezTo>
                  <a:pt x="5778" y="924"/>
                  <a:pt x="5778" y="924"/>
                  <a:pt x="5778" y="924"/>
                </a:cubicBezTo>
                <a:cubicBezTo>
                  <a:pt x="5771" y="924"/>
                  <a:pt x="5764" y="923"/>
                  <a:pt x="5758" y="923"/>
                </a:cubicBezTo>
                <a:close/>
                <a:moveTo>
                  <a:pt x="4522" y="826"/>
                </a:moveTo>
                <a:cubicBezTo>
                  <a:pt x="4522" y="385"/>
                  <a:pt x="4522" y="385"/>
                  <a:pt x="4522" y="385"/>
                </a:cubicBezTo>
                <a:cubicBezTo>
                  <a:pt x="4515" y="385"/>
                  <a:pt x="4508" y="385"/>
                  <a:pt x="4502" y="386"/>
                </a:cubicBezTo>
                <a:cubicBezTo>
                  <a:pt x="4502" y="824"/>
                  <a:pt x="4502" y="824"/>
                  <a:pt x="4502" y="824"/>
                </a:cubicBezTo>
                <a:cubicBezTo>
                  <a:pt x="4508" y="825"/>
                  <a:pt x="4515" y="825"/>
                  <a:pt x="4522" y="826"/>
                </a:cubicBezTo>
                <a:close/>
                <a:moveTo>
                  <a:pt x="4028" y="789"/>
                </a:moveTo>
                <a:cubicBezTo>
                  <a:pt x="4028" y="396"/>
                  <a:pt x="4028" y="396"/>
                  <a:pt x="4028" y="396"/>
                </a:cubicBezTo>
                <a:cubicBezTo>
                  <a:pt x="4022" y="396"/>
                  <a:pt x="4015" y="396"/>
                  <a:pt x="4008" y="396"/>
                </a:cubicBezTo>
                <a:cubicBezTo>
                  <a:pt x="4008" y="788"/>
                  <a:pt x="4008" y="788"/>
                  <a:pt x="4008" y="788"/>
                </a:cubicBezTo>
                <a:cubicBezTo>
                  <a:pt x="4015" y="788"/>
                  <a:pt x="4022" y="789"/>
                  <a:pt x="4028" y="789"/>
                </a:cubicBezTo>
                <a:close/>
                <a:moveTo>
                  <a:pt x="3767" y="770"/>
                </a:moveTo>
                <a:cubicBezTo>
                  <a:pt x="3767" y="398"/>
                  <a:pt x="3767" y="398"/>
                  <a:pt x="3767" y="398"/>
                </a:cubicBezTo>
                <a:cubicBezTo>
                  <a:pt x="3765" y="398"/>
                  <a:pt x="3764" y="398"/>
                  <a:pt x="3762" y="398"/>
                </a:cubicBezTo>
                <a:cubicBezTo>
                  <a:pt x="3762" y="398"/>
                  <a:pt x="3757" y="398"/>
                  <a:pt x="3747" y="399"/>
                </a:cubicBezTo>
                <a:cubicBezTo>
                  <a:pt x="3747" y="769"/>
                  <a:pt x="3747" y="769"/>
                  <a:pt x="3747" y="769"/>
                </a:cubicBezTo>
                <a:cubicBezTo>
                  <a:pt x="3754" y="769"/>
                  <a:pt x="3760" y="770"/>
                  <a:pt x="3767" y="770"/>
                </a:cubicBezTo>
                <a:close/>
                <a:moveTo>
                  <a:pt x="3602" y="759"/>
                </a:moveTo>
                <a:cubicBezTo>
                  <a:pt x="3602" y="395"/>
                  <a:pt x="3602" y="395"/>
                  <a:pt x="3602" y="395"/>
                </a:cubicBezTo>
                <a:cubicBezTo>
                  <a:pt x="3595" y="395"/>
                  <a:pt x="3588" y="394"/>
                  <a:pt x="3582" y="393"/>
                </a:cubicBezTo>
                <a:cubicBezTo>
                  <a:pt x="3582" y="757"/>
                  <a:pt x="3582" y="757"/>
                  <a:pt x="3582" y="757"/>
                </a:cubicBezTo>
                <a:cubicBezTo>
                  <a:pt x="3588" y="758"/>
                  <a:pt x="3595" y="758"/>
                  <a:pt x="3602" y="759"/>
                </a:cubicBezTo>
                <a:close/>
                <a:moveTo>
                  <a:pt x="3490" y="751"/>
                </a:moveTo>
                <a:cubicBezTo>
                  <a:pt x="3490" y="382"/>
                  <a:pt x="3490" y="382"/>
                  <a:pt x="3490" y="382"/>
                </a:cubicBezTo>
                <a:cubicBezTo>
                  <a:pt x="3485" y="381"/>
                  <a:pt x="3480" y="380"/>
                  <a:pt x="3474" y="379"/>
                </a:cubicBezTo>
                <a:cubicBezTo>
                  <a:pt x="3474" y="750"/>
                  <a:pt x="3474" y="750"/>
                  <a:pt x="3474" y="750"/>
                </a:cubicBezTo>
                <a:cubicBezTo>
                  <a:pt x="3480" y="750"/>
                  <a:pt x="3485" y="751"/>
                  <a:pt x="3490" y="751"/>
                </a:cubicBezTo>
                <a:close/>
                <a:moveTo>
                  <a:pt x="3408" y="746"/>
                </a:moveTo>
                <a:cubicBezTo>
                  <a:pt x="3408" y="365"/>
                  <a:pt x="3408" y="365"/>
                  <a:pt x="3408" y="365"/>
                </a:cubicBezTo>
                <a:cubicBezTo>
                  <a:pt x="3402" y="363"/>
                  <a:pt x="3397" y="362"/>
                  <a:pt x="3392" y="360"/>
                </a:cubicBezTo>
                <a:cubicBezTo>
                  <a:pt x="3392" y="745"/>
                  <a:pt x="3392" y="745"/>
                  <a:pt x="3392" y="745"/>
                </a:cubicBezTo>
                <a:cubicBezTo>
                  <a:pt x="3397" y="745"/>
                  <a:pt x="3402" y="745"/>
                  <a:pt x="3408" y="746"/>
                </a:cubicBezTo>
                <a:close/>
                <a:moveTo>
                  <a:pt x="3349" y="742"/>
                </a:moveTo>
                <a:cubicBezTo>
                  <a:pt x="3349" y="347"/>
                  <a:pt x="3349" y="347"/>
                  <a:pt x="3349" y="347"/>
                </a:cubicBezTo>
                <a:cubicBezTo>
                  <a:pt x="3344" y="346"/>
                  <a:pt x="3338" y="344"/>
                  <a:pt x="3333" y="342"/>
                </a:cubicBezTo>
                <a:cubicBezTo>
                  <a:pt x="3333" y="741"/>
                  <a:pt x="3333" y="741"/>
                  <a:pt x="3333" y="741"/>
                </a:cubicBezTo>
                <a:cubicBezTo>
                  <a:pt x="3338" y="741"/>
                  <a:pt x="3343" y="742"/>
                  <a:pt x="3349" y="742"/>
                </a:cubicBezTo>
                <a:close/>
                <a:moveTo>
                  <a:pt x="3299" y="739"/>
                </a:moveTo>
                <a:cubicBezTo>
                  <a:pt x="3299" y="328"/>
                  <a:pt x="3299" y="328"/>
                  <a:pt x="3299" y="328"/>
                </a:cubicBezTo>
                <a:cubicBezTo>
                  <a:pt x="3295" y="326"/>
                  <a:pt x="3291" y="324"/>
                  <a:pt x="3287" y="322"/>
                </a:cubicBezTo>
                <a:cubicBezTo>
                  <a:pt x="3287" y="738"/>
                  <a:pt x="3287" y="738"/>
                  <a:pt x="3287" y="738"/>
                </a:cubicBezTo>
                <a:cubicBezTo>
                  <a:pt x="3291" y="738"/>
                  <a:pt x="3295" y="739"/>
                  <a:pt x="3299" y="739"/>
                </a:cubicBezTo>
                <a:close/>
                <a:moveTo>
                  <a:pt x="3262" y="737"/>
                </a:moveTo>
                <a:cubicBezTo>
                  <a:pt x="3262" y="310"/>
                  <a:pt x="3262" y="310"/>
                  <a:pt x="3262" y="310"/>
                </a:cubicBezTo>
                <a:cubicBezTo>
                  <a:pt x="3257" y="307"/>
                  <a:pt x="3253" y="305"/>
                  <a:pt x="3250" y="303"/>
                </a:cubicBezTo>
                <a:cubicBezTo>
                  <a:pt x="3250" y="736"/>
                  <a:pt x="3250" y="736"/>
                  <a:pt x="3250" y="736"/>
                </a:cubicBezTo>
                <a:cubicBezTo>
                  <a:pt x="3254" y="736"/>
                  <a:pt x="3258" y="736"/>
                  <a:pt x="3262" y="737"/>
                </a:cubicBezTo>
                <a:close/>
                <a:moveTo>
                  <a:pt x="3230" y="735"/>
                </a:moveTo>
                <a:cubicBezTo>
                  <a:pt x="3230" y="290"/>
                  <a:pt x="3230" y="290"/>
                  <a:pt x="3230" y="290"/>
                </a:cubicBezTo>
                <a:cubicBezTo>
                  <a:pt x="3225" y="288"/>
                  <a:pt x="3221" y="285"/>
                  <a:pt x="3218" y="282"/>
                </a:cubicBezTo>
                <a:cubicBezTo>
                  <a:pt x="3218" y="734"/>
                  <a:pt x="3218" y="734"/>
                  <a:pt x="3218" y="734"/>
                </a:cubicBezTo>
                <a:cubicBezTo>
                  <a:pt x="3222" y="734"/>
                  <a:pt x="3225" y="735"/>
                  <a:pt x="3230" y="735"/>
                </a:cubicBezTo>
                <a:close/>
                <a:moveTo>
                  <a:pt x="3203" y="733"/>
                </a:moveTo>
                <a:cubicBezTo>
                  <a:pt x="3203" y="271"/>
                  <a:pt x="3203" y="271"/>
                  <a:pt x="3203" y="271"/>
                </a:cubicBezTo>
                <a:cubicBezTo>
                  <a:pt x="3199" y="268"/>
                  <a:pt x="3195" y="264"/>
                  <a:pt x="3191" y="261"/>
                </a:cubicBezTo>
                <a:cubicBezTo>
                  <a:pt x="3191" y="733"/>
                  <a:pt x="3191" y="733"/>
                  <a:pt x="3191" y="733"/>
                </a:cubicBezTo>
                <a:cubicBezTo>
                  <a:pt x="3195" y="733"/>
                  <a:pt x="3199" y="733"/>
                  <a:pt x="3203" y="733"/>
                </a:cubicBezTo>
                <a:close/>
                <a:moveTo>
                  <a:pt x="3180" y="732"/>
                </a:moveTo>
                <a:cubicBezTo>
                  <a:pt x="3180" y="250"/>
                  <a:pt x="3180" y="250"/>
                  <a:pt x="3180" y="250"/>
                </a:cubicBezTo>
                <a:cubicBezTo>
                  <a:pt x="3179" y="250"/>
                  <a:pt x="3179" y="249"/>
                  <a:pt x="3178" y="249"/>
                </a:cubicBezTo>
                <a:cubicBezTo>
                  <a:pt x="3178" y="249"/>
                  <a:pt x="3176" y="247"/>
                  <a:pt x="3172" y="243"/>
                </a:cubicBezTo>
                <a:cubicBezTo>
                  <a:pt x="3172" y="732"/>
                  <a:pt x="3172" y="732"/>
                  <a:pt x="3172" y="732"/>
                </a:cubicBezTo>
                <a:cubicBezTo>
                  <a:pt x="3174" y="732"/>
                  <a:pt x="3177" y="732"/>
                  <a:pt x="3180" y="732"/>
                </a:cubicBezTo>
                <a:close/>
                <a:moveTo>
                  <a:pt x="3158" y="731"/>
                </a:moveTo>
                <a:cubicBezTo>
                  <a:pt x="3158" y="229"/>
                  <a:pt x="3158" y="229"/>
                  <a:pt x="3158" y="229"/>
                </a:cubicBezTo>
                <a:cubicBezTo>
                  <a:pt x="3156" y="227"/>
                  <a:pt x="3153" y="223"/>
                  <a:pt x="3150" y="220"/>
                </a:cubicBezTo>
                <a:cubicBezTo>
                  <a:pt x="3150" y="731"/>
                  <a:pt x="3150" y="731"/>
                  <a:pt x="3150" y="731"/>
                </a:cubicBezTo>
                <a:cubicBezTo>
                  <a:pt x="3153" y="731"/>
                  <a:pt x="3156" y="731"/>
                  <a:pt x="3158" y="731"/>
                </a:cubicBezTo>
                <a:close/>
                <a:moveTo>
                  <a:pt x="3140" y="730"/>
                </a:moveTo>
                <a:cubicBezTo>
                  <a:pt x="3140" y="207"/>
                  <a:pt x="3140" y="207"/>
                  <a:pt x="3140" y="207"/>
                </a:cubicBezTo>
                <a:cubicBezTo>
                  <a:pt x="3137" y="204"/>
                  <a:pt x="3134" y="200"/>
                  <a:pt x="3132" y="197"/>
                </a:cubicBezTo>
                <a:cubicBezTo>
                  <a:pt x="3132" y="730"/>
                  <a:pt x="3132" y="730"/>
                  <a:pt x="3132" y="730"/>
                </a:cubicBezTo>
                <a:cubicBezTo>
                  <a:pt x="3134" y="730"/>
                  <a:pt x="3137" y="730"/>
                  <a:pt x="3140" y="730"/>
                </a:cubicBezTo>
                <a:close/>
                <a:moveTo>
                  <a:pt x="3121" y="729"/>
                </a:moveTo>
                <a:cubicBezTo>
                  <a:pt x="3121" y="181"/>
                  <a:pt x="3121" y="181"/>
                  <a:pt x="3121" y="181"/>
                </a:cubicBezTo>
                <a:cubicBezTo>
                  <a:pt x="3118" y="178"/>
                  <a:pt x="3116" y="173"/>
                  <a:pt x="3113" y="169"/>
                </a:cubicBezTo>
                <a:cubicBezTo>
                  <a:pt x="3113" y="729"/>
                  <a:pt x="3113" y="729"/>
                  <a:pt x="3113" y="729"/>
                </a:cubicBezTo>
                <a:cubicBezTo>
                  <a:pt x="3116" y="729"/>
                  <a:pt x="3118" y="729"/>
                  <a:pt x="3121" y="729"/>
                </a:cubicBezTo>
                <a:close/>
                <a:moveTo>
                  <a:pt x="3100" y="728"/>
                </a:moveTo>
                <a:cubicBezTo>
                  <a:pt x="3100" y="148"/>
                  <a:pt x="3100" y="148"/>
                  <a:pt x="3100" y="148"/>
                </a:cubicBezTo>
                <a:cubicBezTo>
                  <a:pt x="3099" y="146"/>
                  <a:pt x="3098" y="144"/>
                  <a:pt x="3096" y="141"/>
                </a:cubicBezTo>
                <a:cubicBezTo>
                  <a:pt x="3096" y="728"/>
                  <a:pt x="3096" y="728"/>
                  <a:pt x="3096" y="728"/>
                </a:cubicBezTo>
                <a:cubicBezTo>
                  <a:pt x="3098" y="728"/>
                  <a:pt x="3099" y="728"/>
                  <a:pt x="3100" y="728"/>
                </a:cubicBezTo>
                <a:close/>
                <a:moveTo>
                  <a:pt x="3084" y="728"/>
                </a:moveTo>
                <a:cubicBezTo>
                  <a:pt x="3084" y="119"/>
                  <a:pt x="3084" y="119"/>
                  <a:pt x="3084" y="119"/>
                </a:cubicBezTo>
                <a:cubicBezTo>
                  <a:pt x="3083" y="116"/>
                  <a:pt x="3082" y="113"/>
                  <a:pt x="3080" y="110"/>
                </a:cubicBezTo>
                <a:cubicBezTo>
                  <a:pt x="3080" y="727"/>
                  <a:pt x="3080" y="727"/>
                  <a:pt x="3080" y="727"/>
                </a:cubicBezTo>
                <a:cubicBezTo>
                  <a:pt x="3082" y="728"/>
                  <a:pt x="3083" y="728"/>
                  <a:pt x="3084" y="728"/>
                </a:cubicBezTo>
                <a:close/>
                <a:moveTo>
                  <a:pt x="3063" y="727"/>
                </a:moveTo>
                <a:cubicBezTo>
                  <a:pt x="3063" y="72"/>
                  <a:pt x="3063" y="72"/>
                  <a:pt x="3063" y="72"/>
                </a:cubicBezTo>
                <a:cubicBezTo>
                  <a:pt x="3062" y="68"/>
                  <a:pt x="3060" y="65"/>
                  <a:pt x="3059" y="62"/>
                </a:cubicBezTo>
                <a:cubicBezTo>
                  <a:pt x="3059" y="727"/>
                  <a:pt x="3059" y="727"/>
                  <a:pt x="3059" y="727"/>
                </a:cubicBezTo>
                <a:cubicBezTo>
                  <a:pt x="3060" y="727"/>
                  <a:pt x="3062" y="727"/>
                  <a:pt x="3063" y="727"/>
                </a:cubicBezTo>
                <a:close/>
                <a:moveTo>
                  <a:pt x="3042" y="726"/>
                </a:moveTo>
                <a:cubicBezTo>
                  <a:pt x="3042" y="13"/>
                  <a:pt x="3042" y="13"/>
                  <a:pt x="3042" y="13"/>
                </a:cubicBezTo>
                <a:cubicBezTo>
                  <a:pt x="3040" y="9"/>
                  <a:pt x="3039" y="4"/>
                  <a:pt x="3038" y="0"/>
                </a:cubicBezTo>
                <a:cubicBezTo>
                  <a:pt x="3038" y="726"/>
                  <a:pt x="3038" y="726"/>
                  <a:pt x="3038" y="726"/>
                </a:cubicBezTo>
                <a:cubicBezTo>
                  <a:pt x="3039" y="726"/>
                  <a:pt x="3040" y="726"/>
                  <a:pt x="3042" y="726"/>
                </a:cubicBez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3" name="Column"/>
          <p:cNvSpPr>
            <a:spLocks noEditPoints="1"/>
          </p:cNvSpPr>
          <p:nvPr/>
        </p:nvSpPr>
        <p:spPr bwMode="auto">
          <a:xfrm>
            <a:off x="5823280" y="1242549"/>
            <a:ext cx="590363" cy="2410263"/>
          </a:xfrm>
          <a:custGeom>
            <a:avLst/>
            <a:gdLst>
              <a:gd name="T0" fmla="*/ 208 w 262"/>
              <a:gd name="T1" fmla="*/ 1069 h 1069"/>
              <a:gd name="T2" fmla="*/ 208 w 262"/>
              <a:gd name="T3" fmla="*/ 870 h 1069"/>
              <a:gd name="T4" fmla="*/ 187 w 262"/>
              <a:gd name="T5" fmla="*/ 849 h 1069"/>
              <a:gd name="T6" fmla="*/ 75 w 262"/>
              <a:gd name="T7" fmla="*/ 849 h 1069"/>
              <a:gd name="T8" fmla="*/ 54 w 262"/>
              <a:gd name="T9" fmla="*/ 870 h 1069"/>
              <a:gd name="T10" fmla="*/ 54 w 262"/>
              <a:gd name="T11" fmla="*/ 1069 h 1069"/>
              <a:gd name="T12" fmla="*/ 0 w 262"/>
              <a:gd name="T13" fmla="*/ 1069 h 1069"/>
              <a:gd name="T14" fmla="*/ 0 w 262"/>
              <a:gd name="T15" fmla="*/ 481 h 1069"/>
              <a:gd name="T16" fmla="*/ 8 w 262"/>
              <a:gd name="T17" fmla="*/ 470 h 1069"/>
              <a:gd name="T18" fmla="*/ 8 w 262"/>
              <a:gd name="T19" fmla="*/ 253 h 1069"/>
              <a:gd name="T20" fmla="*/ 17 w 262"/>
              <a:gd name="T21" fmla="*/ 241 h 1069"/>
              <a:gd name="T22" fmla="*/ 17 w 262"/>
              <a:gd name="T23" fmla="*/ 38 h 1069"/>
              <a:gd name="T24" fmla="*/ 29 w 262"/>
              <a:gd name="T25" fmla="*/ 17 h 1069"/>
              <a:gd name="T26" fmla="*/ 29 w 262"/>
              <a:gd name="T27" fmla="*/ 0 h 1069"/>
              <a:gd name="T28" fmla="*/ 37 w 262"/>
              <a:gd name="T29" fmla="*/ 0 h 1069"/>
              <a:gd name="T30" fmla="*/ 37 w 262"/>
              <a:gd name="T31" fmla="*/ 17 h 1069"/>
              <a:gd name="T32" fmla="*/ 48 w 262"/>
              <a:gd name="T33" fmla="*/ 34 h 1069"/>
              <a:gd name="T34" fmla="*/ 58 w 262"/>
              <a:gd name="T35" fmla="*/ 41 h 1069"/>
              <a:gd name="T36" fmla="*/ 73 w 262"/>
              <a:gd name="T37" fmla="*/ 44 h 1069"/>
              <a:gd name="T38" fmla="*/ 126 w 262"/>
              <a:gd name="T39" fmla="*/ 44 h 1069"/>
              <a:gd name="T40" fmla="*/ 136 w 262"/>
              <a:gd name="T41" fmla="*/ 44 h 1069"/>
              <a:gd name="T42" fmla="*/ 189 w 262"/>
              <a:gd name="T43" fmla="*/ 44 h 1069"/>
              <a:gd name="T44" fmla="*/ 204 w 262"/>
              <a:gd name="T45" fmla="*/ 41 h 1069"/>
              <a:gd name="T46" fmla="*/ 214 w 262"/>
              <a:gd name="T47" fmla="*/ 34 h 1069"/>
              <a:gd name="T48" fmla="*/ 225 w 262"/>
              <a:gd name="T49" fmla="*/ 17 h 1069"/>
              <a:gd name="T50" fmla="*/ 225 w 262"/>
              <a:gd name="T51" fmla="*/ 0 h 1069"/>
              <a:gd name="T52" fmla="*/ 233 w 262"/>
              <a:gd name="T53" fmla="*/ 0 h 1069"/>
              <a:gd name="T54" fmla="*/ 233 w 262"/>
              <a:gd name="T55" fmla="*/ 17 h 1069"/>
              <a:gd name="T56" fmla="*/ 245 w 262"/>
              <a:gd name="T57" fmla="*/ 38 h 1069"/>
              <a:gd name="T58" fmla="*/ 245 w 262"/>
              <a:gd name="T59" fmla="*/ 241 h 1069"/>
              <a:gd name="T60" fmla="*/ 254 w 262"/>
              <a:gd name="T61" fmla="*/ 253 h 1069"/>
              <a:gd name="T62" fmla="*/ 254 w 262"/>
              <a:gd name="T63" fmla="*/ 470 h 1069"/>
              <a:gd name="T64" fmla="*/ 262 w 262"/>
              <a:gd name="T65" fmla="*/ 481 h 1069"/>
              <a:gd name="T66" fmla="*/ 262 w 262"/>
              <a:gd name="T67" fmla="*/ 1069 h 1069"/>
              <a:gd name="T68" fmla="*/ 208 w 262"/>
              <a:gd name="T69" fmla="*/ 1069 h 1069"/>
              <a:gd name="T70" fmla="*/ 208 w 262"/>
              <a:gd name="T71" fmla="*/ 744 h 1069"/>
              <a:gd name="T72" fmla="*/ 208 w 262"/>
              <a:gd name="T73" fmla="*/ 584 h 1069"/>
              <a:gd name="T74" fmla="*/ 187 w 262"/>
              <a:gd name="T75" fmla="*/ 563 h 1069"/>
              <a:gd name="T76" fmla="*/ 75 w 262"/>
              <a:gd name="T77" fmla="*/ 563 h 1069"/>
              <a:gd name="T78" fmla="*/ 54 w 262"/>
              <a:gd name="T79" fmla="*/ 584 h 1069"/>
              <a:gd name="T80" fmla="*/ 54 w 262"/>
              <a:gd name="T81" fmla="*/ 744 h 1069"/>
              <a:gd name="T82" fmla="*/ 74 w 262"/>
              <a:gd name="T83" fmla="*/ 764 h 1069"/>
              <a:gd name="T84" fmla="*/ 188 w 262"/>
              <a:gd name="T85" fmla="*/ 764 h 1069"/>
              <a:gd name="T86" fmla="*/ 208 w 262"/>
              <a:gd name="T87" fmla="*/ 744 h 1069"/>
              <a:gd name="T88" fmla="*/ 208 w 262"/>
              <a:gd name="T89" fmla="*/ 470 h 1069"/>
              <a:gd name="T90" fmla="*/ 208 w 262"/>
              <a:gd name="T91" fmla="*/ 346 h 1069"/>
              <a:gd name="T92" fmla="*/ 187 w 262"/>
              <a:gd name="T93" fmla="*/ 325 h 1069"/>
              <a:gd name="T94" fmla="*/ 75 w 262"/>
              <a:gd name="T95" fmla="*/ 325 h 1069"/>
              <a:gd name="T96" fmla="*/ 54 w 262"/>
              <a:gd name="T97" fmla="*/ 346 h 1069"/>
              <a:gd name="T98" fmla="*/ 54 w 262"/>
              <a:gd name="T99" fmla="*/ 470 h 1069"/>
              <a:gd name="T100" fmla="*/ 74 w 262"/>
              <a:gd name="T101" fmla="*/ 490 h 1069"/>
              <a:gd name="T102" fmla="*/ 188 w 262"/>
              <a:gd name="T103" fmla="*/ 490 h 1069"/>
              <a:gd name="T104" fmla="*/ 208 w 262"/>
              <a:gd name="T105" fmla="*/ 470 h 1069"/>
              <a:gd name="T106" fmla="*/ 208 w 262"/>
              <a:gd name="T107" fmla="*/ 238 h 1069"/>
              <a:gd name="T108" fmla="*/ 208 w 262"/>
              <a:gd name="T109" fmla="*/ 122 h 1069"/>
              <a:gd name="T110" fmla="*/ 187 w 262"/>
              <a:gd name="T111" fmla="*/ 101 h 1069"/>
              <a:gd name="T112" fmla="*/ 75 w 262"/>
              <a:gd name="T113" fmla="*/ 101 h 1069"/>
              <a:gd name="T114" fmla="*/ 54 w 262"/>
              <a:gd name="T115" fmla="*/ 122 h 1069"/>
              <a:gd name="T116" fmla="*/ 54 w 262"/>
              <a:gd name="T117" fmla="*/ 238 h 1069"/>
              <a:gd name="T118" fmla="*/ 74 w 262"/>
              <a:gd name="T119" fmla="*/ 258 h 1069"/>
              <a:gd name="T120" fmla="*/ 188 w 262"/>
              <a:gd name="T121" fmla="*/ 258 h 1069"/>
              <a:gd name="T122" fmla="*/ 208 w 262"/>
              <a:gd name="T123" fmla="*/ 238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1069">
                <a:moveTo>
                  <a:pt x="208" y="1069"/>
                </a:moveTo>
                <a:cubicBezTo>
                  <a:pt x="208" y="870"/>
                  <a:pt x="208" y="870"/>
                  <a:pt x="208" y="870"/>
                </a:cubicBezTo>
                <a:cubicBezTo>
                  <a:pt x="208" y="859"/>
                  <a:pt x="199" y="849"/>
                  <a:pt x="187" y="849"/>
                </a:cubicBezTo>
                <a:cubicBezTo>
                  <a:pt x="75" y="849"/>
                  <a:pt x="75" y="849"/>
                  <a:pt x="75" y="849"/>
                </a:cubicBezTo>
                <a:cubicBezTo>
                  <a:pt x="63" y="849"/>
                  <a:pt x="54" y="859"/>
                  <a:pt x="54" y="870"/>
                </a:cubicBezTo>
                <a:cubicBezTo>
                  <a:pt x="54" y="1069"/>
                  <a:pt x="54" y="1069"/>
                  <a:pt x="54" y="1069"/>
                </a:cubicBezTo>
                <a:cubicBezTo>
                  <a:pt x="0" y="1069"/>
                  <a:pt x="0" y="1069"/>
                  <a:pt x="0" y="1069"/>
                </a:cubicBezTo>
                <a:cubicBezTo>
                  <a:pt x="0" y="481"/>
                  <a:pt x="0" y="481"/>
                  <a:pt x="0" y="481"/>
                </a:cubicBezTo>
                <a:cubicBezTo>
                  <a:pt x="8" y="470"/>
                  <a:pt x="8" y="470"/>
                  <a:pt x="8" y="470"/>
                </a:cubicBezTo>
                <a:cubicBezTo>
                  <a:pt x="8" y="253"/>
                  <a:pt x="8" y="253"/>
                  <a:pt x="8" y="253"/>
                </a:cubicBezTo>
                <a:cubicBezTo>
                  <a:pt x="17" y="241"/>
                  <a:pt x="17" y="241"/>
                  <a:pt x="17" y="241"/>
                </a:cubicBezTo>
                <a:cubicBezTo>
                  <a:pt x="17" y="38"/>
                  <a:pt x="17" y="38"/>
                  <a:pt x="17" y="38"/>
                </a:cubicBezTo>
                <a:cubicBezTo>
                  <a:pt x="29" y="17"/>
                  <a:pt x="29" y="17"/>
                  <a:pt x="29" y="17"/>
                </a:cubicBezTo>
                <a:cubicBezTo>
                  <a:pt x="29" y="0"/>
                  <a:pt x="29" y="0"/>
                  <a:pt x="29" y="0"/>
                </a:cubicBezTo>
                <a:cubicBezTo>
                  <a:pt x="37" y="0"/>
                  <a:pt x="37" y="0"/>
                  <a:pt x="37" y="0"/>
                </a:cubicBezTo>
                <a:cubicBezTo>
                  <a:pt x="37" y="17"/>
                  <a:pt x="37" y="17"/>
                  <a:pt x="37" y="17"/>
                </a:cubicBezTo>
                <a:cubicBezTo>
                  <a:pt x="48" y="34"/>
                  <a:pt x="48" y="34"/>
                  <a:pt x="48" y="34"/>
                </a:cubicBezTo>
                <a:cubicBezTo>
                  <a:pt x="58" y="41"/>
                  <a:pt x="58" y="41"/>
                  <a:pt x="58" y="41"/>
                </a:cubicBezTo>
                <a:cubicBezTo>
                  <a:pt x="73" y="44"/>
                  <a:pt x="73" y="44"/>
                  <a:pt x="73" y="44"/>
                </a:cubicBezTo>
                <a:cubicBezTo>
                  <a:pt x="126" y="44"/>
                  <a:pt x="126" y="44"/>
                  <a:pt x="126" y="44"/>
                </a:cubicBezTo>
                <a:cubicBezTo>
                  <a:pt x="136" y="44"/>
                  <a:pt x="136" y="44"/>
                  <a:pt x="136" y="44"/>
                </a:cubicBezTo>
                <a:cubicBezTo>
                  <a:pt x="189" y="44"/>
                  <a:pt x="189" y="44"/>
                  <a:pt x="189" y="44"/>
                </a:cubicBezTo>
                <a:cubicBezTo>
                  <a:pt x="204" y="41"/>
                  <a:pt x="204" y="41"/>
                  <a:pt x="204" y="41"/>
                </a:cubicBezTo>
                <a:cubicBezTo>
                  <a:pt x="214" y="34"/>
                  <a:pt x="214" y="34"/>
                  <a:pt x="214" y="34"/>
                </a:cubicBezTo>
                <a:cubicBezTo>
                  <a:pt x="225" y="17"/>
                  <a:pt x="225" y="17"/>
                  <a:pt x="225" y="17"/>
                </a:cubicBezTo>
                <a:cubicBezTo>
                  <a:pt x="225" y="0"/>
                  <a:pt x="225" y="0"/>
                  <a:pt x="225" y="0"/>
                </a:cubicBezTo>
                <a:cubicBezTo>
                  <a:pt x="233" y="0"/>
                  <a:pt x="233" y="0"/>
                  <a:pt x="233" y="0"/>
                </a:cubicBezTo>
                <a:cubicBezTo>
                  <a:pt x="233" y="17"/>
                  <a:pt x="233" y="17"/>
                  <a:pt x="233" y="17"/>
                </a:cubicBezTo>
                <a:cubicBezTo>
                  <a:pt x="245" y="38"/>
                  <a:pt x="245" y="38"/>
                  <a:pt x="245" y="38"/>
                </a:cubicBezTo>
                <a:cubicBezTo>
                  <a:pt x="245" y="241"/>
                  <a:pt x="245" y="241"/>
                  <a:pt x="245" y="241"/>
                </a:cubicBezTo>
                <a:cubicBezTo>
                  <a:pt x="254" y="253"/>
                  <a:pt x="254" y="253"/>
                  <a:pt x="254" y="253"/>
                </a:cubicBezTo>
                <a:cubicBezTo>
                  <a:pt x="254" y="470"/>
                  <a:pt x="254" y="470"/>
                  <a:pt x="254" y="470"/>
                </a:cubicBezTo>
                <a:cubicBezTo>
                  <a:pt x="262" y="481"/>
                  <a:pt x="262" y="481"/>
                  <a:pt x="262" y="481"/>
                </a:cubicBezTo>
                <a:cubicBezTo>
                  <a:pt x="262" y="1069"/>
                  <a:pt x="262" y="1069"/>
                  <a:pt x="262" y="1069"/>
                </a:cubicBezTo>
                <a:lnTo>
                  <a:pt x="208" y="1069"/>
                </a:lnTo>
                <a:close/>
                <a:moveTo>
                  <a:pt x="208" y="744"/>
                </a:moveTo>
                <a:cubicBezTo>
                  <a:pt x="208" y="584"/>
                  <a:pt x="208" y="584"/>
                  <a:pt x="208" y="584"/>
                </a:cubicBezTo>
                <a:cubicBezTo>
                  <a:pt x="208" y="573"/>
                  <a:pt x="199" y="563"/>
                  <a:pt x="187" y="563"/>
                </a:cubicBezTo>
                <a:cubicBezTo>
                  <a:pt x="75" y="563"/>
                  <a:pt x="75" y="563"/>
                  <a:pt x="75" y="563"/>
                </a:cubicBezTo>
                <a:cubicBezTo>
                  <a:pt x="63" y="563"/>
                  <a:pt x="54" y="573"/>
                  <a:pt x="54" y="584"/>
                </a:cubicBezTo>
                <a:cubicBezTo>
                  <a:pt x="54" y="744"/>
                  <a:pt x="54" y="744"/>
                  <a:pt x="54" y="744"/>
                </a:cubicBezTo>
                <a:cubicBezTo>
                  <a:pt x="54" y="755"/>
                  <a:pt x="63" y="764"/>
                  <a:pt x="74" y="764"/>
                </a:cubicBezTo>
                <a:cubicBezTo>
                  <a:pt x="188" y="764"/>
                  <a:pt x="188" y="764"/>
                  <a:pt x="188" y="764"/>
                </a:cubicBezTo>
                <a:cubicBezTo>
                  <a:pt x="199" y="764"/>
                  <a:pt x="208" y="755"/>
                  <a:pt x="208" y="744"/>
                </a:cubicBezTo>
                <a:close/>
                <a:moveTo>
                  <a:pt x="208" y="470"/>
                </a:moveTo>
                <a:cubicBezTo>
                  <a:pt x="208" y="346"/>
                  <a:pt x="208" y="346"/>
                  <a:pt x="208" y="346"/>
                </a:cubicBezTo>
                <a:cubicBezTo>
                  <a:pt x="208" y="335"/>
                  <a:pt x="199" y="325"/>
                  <a:pt x="187" y="325"/>
                </a:cubicBezTo>
                <a:cubicBezTo>
                  <a:pt x="75" y="325"/>
                  <a:pt x="75" y="325"/>
                  <a:pt x="75" y="325"/>
                </a:cubicBezTo>
                <a:cubicBezTo>
                  <a:pt x="63" y="325"/>
                  <a:pt x="54" y="335"/>
                  <a:pt x="54" y="346"/>
                </a:cubicBezTo>
                <a:cubicBezTo>
                  <a:pt x="54" y="470"/>
                  <a:pt x="54" y="470"/>
                  <a:pt x="54" y="470"/>
                </a:cubicBezTo>
                <a:cubicBezTo>
                  <a:pt x="54" y="481"/>
                  <a:pt x="63" y="490"/>
                  <a:pt x="74" y="490"/>
                </a:cubicBezTo>
                <a:cubicBezTo>
                  <a:pt x="188" y="490"/>
                  <a:pt x="188" y="490"/>
                  <a:pt x="188" y="490"/>
                </a:cubicBezTo>
                <a:cubicBezTo>
                  <a:pt x="199" y="490"/>
                  <a:pt x="208" y="481"/>
                  <a:pt x="208" y="470"/>
                </a:cubicBezTo>
                <a:close/>
                <a:moveTo>
                  <a:pt x="208" y="238"/>
                </a:moveTo>
                <a:cubicBezTo>
                  <a:pt x="208" y="122"/>
                  <a:pt x="208" y="122"/>
                  <a:pt x="208" y="122"/>
                </a:cubicBezTo>
                <a:cubicBezTo>
                  <a:pt x="208" y="111"/>
                  <a:pt x="199" y="101"/>
                  <a:pt x="187" y="101"/>
                </a:cubicBezTo>
                <a:cubicBezTo>
                  <a:pt x="75" y="101"/>
                  <a:pt x="75" y="101"/>
                  <a:pt x="75" y="101"/>
                </a:cubicBezTo>
                <a:cubicBezTo>
                  <a:pt x="63" y="101"/>
                  <a:pt x="54" y="111"/>
                  <a:pt x="54" y="122"/>
                </a:cubicBezTo>
                <a:cubicBezTo>
                  <a:pt x="54" y="238"/>
                  <a:pt x="54" y="238"/>
                  <a:pt x="54" y="238"/>
                </a:cubicBezTo>
                <a:cubicBezTo>
                  <a:pt x="54" y="249"/>
                  <a:pt x="63" y="258"/>
                  <a:pt x="74" y="258"/>
                </a:cubicBezTo>
                <a:cubicBezTo>
                  <a:pt x="188" y="258"/>
                  <a:pt x="188" y="258"/>
                  <a:pt x="188" y="258"/>
                </a:cubicBezTo>
                <a:cubicBezTo>
                  <a:pt x="199" y="258"/>
                  <a:pt x="208" y="249"/>
                  <a:pt x="208" y="238"/>
                </a:cubicBezTo>
                <a:close/>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4" name="MASK COLUMN"/>
          <p:cNvSpPr/>
          <p:nvPr/>
        </p:nvSpPr>
        <p:spPr bwMode="auto">
          <a:xfrm>
            <a:off x="5823280" y="3651520"/>
            <a:ext cx="590363" cy="320550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6035" fontAlgn="base">
              <a:lnSpc>
                <a:spcPct val="90000"/>
              </a:lnSpc>
              <a:spcBef>
                <a:spcPct val="0"/>
              </a:spcBef>
              <a:spcAft>
                <a:spcPct val="0"/>
              </a:spcAft>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Cables"/>
          <p:cNvSpPr>
            <a:spLocks noEditPoints="1"/>
          </p:cNvSpPr>
          <p:nvPr/>
        </p:nvSpPr>
        <p:spPr bwMode="auto">
          <a:xfrm>
            <a:off x="-2211440" y="1405777"/>
            <a:ext cx="16659803" cy="1513280"/>
          </a:xfrm>
          <a:custGeom>
            <a:avLst/>
            <a:gdLst>
              <a:gd name="T0" fmla="*/ 0 w 7392"/>
              <a:gd name="T1" fmla="*/ 292 h 671"/>
              <a:gd name="T2" fmla="*/ 2552 w 7392"/>
              <a:gd name="T3" fmla="*/ 572 h 671"/>
              <a:gd name="T4" fmla="*/ 3252 w 7392"/>
              <a:gd name="T5" fmla="*/ 552 h 671"/>
              <a:gd name="T6" fmla="*/ 3582 w 7392"/>
              <a:gd name="T7" fmla="*/ 0 h 671"/>
              <a:gd name="T8" fmla="*/ 3583 w 7392"/>
              <a:gd name="T9" fmla="*/ 71 h 671"/>
              <a:gd name="T10" fmla="*/ 3407 w 7392"/>
              <a:gd name="T11" fmla="*/ 498 h 671"/>
              <a:gd name="T12" fmla="*/ 2823 w 7392"/>
              <a:gd name="T13" fmla="*/ 647 h 671"/>
              <a:gd name="T14" fmla="*/ 1 w 7392"/>
              <a:gd name="T15" fmla="*/ 546 h 671"/>
              <a:gd name="T16" fmla="*/ 0 w 7392"/>
              <a:gd name="T17" fmla="*/ 292 h 671"/>
              <a:gd name="T18" fmla="*/ 7391 w 7392"/>
              <a:gd name="T19" fmla="*/ 546 h 671"/>
              <a:gd name="T20" fmla="*/ 4569 w 7392"/>
              <a:gd name="T21" fmla="*/ 647 h 671"/>
              <a:gd name="T22" fmla="*/ 3985 w 7392"/>
              <a:gd name="T23" fmla="*/ 498 h 671"/>
              <a:gd name="T24" fmla="*/ 3809 w 7392"/>
              <a:gd name="T25" fmla="*/ 71 h 671"/>
              <a:gd name="T26" fmla="*/ 3810 w 7392"/>
              <a:gd name="T27" fmla="*/ 0 h 671"/>
              <a:gd name="T28" fmla="*/ 4140 w 7392"/>
              <a:gd name="T29" fmla="*/ 552 h 671"/>
              <a:gd name="T30" fmla="*/ 4840 w 7392"/>
              <a:gd name="T31" fmla="*/ 572 h 671"/>
              <a:gd name="T32" fmla="*/ 7392 w 7392"/>
              <a:gd name="T33" fmla="*/ 292 h 671"/>
              <a:gd name="T34" fmla="*/ 7391 w 7392"/>
              <a:gd name="T35" fmla="*/ 54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92" h="671">
                <a:moveTo>
                  <a:pt x="0" y="292"/>
                </a:moveTo>
                <a:cubicBezTo>
                  <a:pt x="633" y="399"/>
                  <a:pt x="2552" y="572"/>
                  <a:pt x="2552" y="572"/>
                </a:cubicBezTo>
                <a:cubicBezTo>
                  <a:pt x="2552" y="572"/>
                  <a:pt x="3088" y="600"/>
                  <a:pt x="3252" y="552"/>
                </a:cubicBezTo>
                <a:cubicBezTo>
                  <a:pt x="3252" y="552"/>
                  <a:pt x="3538" y="524"/>
                  <a:pt x="3582" y="0"/>
                </a:cubicBezTo>
                <a:cubicBezTo>
                  <a:pt x="3583" y="71"/>
                  <a:pt x="3583" y="71"/>
                  <a:pt x="3583" y="71"/>
                </a:cubicBezTo>
                <a:cubicBezTo>
                  <a:pt x="3548" y="386"/>
                  <a:pt x="3407" y="498"/>
                  <a:pt x="3407" y="498"/>
                </a:cubicBezTo>
                <a:cubicBezTo>
                  <a:pt x="3233" y="671"/>
                  <a:pt x="2823" y="647"/>
                  <a:pt x="2823" y="647"/>
                </a:cubicBezTo>
                <a:cubicBezTo>
                  <a:pt x="1841" y="647"/>
                  <a:pt x="1" y="546"/>
                  <a:pt x="1" y="546"/>
                </a:cubicBezTo>
                <a:lnTo>
                  <a:pt x="0" y="292"/>
                </a:lnTo>
                <a:close/>
                <a:moveTo>
                  <a:pt x="7391" y="546"/>
                </a:moveTo>
                <a:cubicBezTo>
                  <a:pt x="7391" y="546"/>
                  <a:pt x="5551" y="647"/>
                  <a:pt x="4569" y="647"/>
                </a:cubicBezTo>
                <a:cubicBezTo>
                  <a:pt x="4569" y="647"/>
                  <a:pt x="4159" y="671"/>
                  <a:pt x="3985" y="498"/>
                </a:cubicBezTo>
                <a:cubicBezTo>
                  <a:pt x="3985" y="498"/>
                  <a:pt x="3844" y="386"/>
                  <a:pt x="3809" y="71"/>
                </a:cubicBezTo>
                <a:cubicBezTo>
                  <a:pt x="3810" y="0"/>
                  <a:pt x="3810" y="0"/>
                  <a:pt x="3810" y="0"/>
                </a:cubicBezTo>
                <a:cubicBezTo>
                  <a:pt x="3854" y="524"/>
                  <a:pt x="4140" y="552"/>
                  <a:pt x="4140" y="552"/>
                </a:cubicBezTo>
                <a:cubicBezTo>
                  <a:pt x="4304" y="600"/>
                  <a:pt x="4840" y="572"/>
                  <a:pt x="4840" y="572"/>
                </a:cubicBezTo>
                <a:cubicBezTo>
                  <a:pt x="4840" y="572"/>
                  <a:pt x="6759" y="399"/>
                  <a:pt x="7392" y="292"/>
                </a:cubicBezTo>
                <a:lnTo>
                  <a:pt x="7391" y="546"/>
                </a:lnTo>
                <a:close/>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grpSp>
        <p:nvGrpSpPr>
          <p:cNvPr id="46" name="Sidewalk"/>
          <p:cNvGrpSpPr/>
          <p:nvPr/>
        </p:nvGrpSpPr>
        <p:grpSpPr>
          <a:xfrm>
            <a:off x="-2245001" y="3605524"/>
            <a:ext cx="16726924" cy="2086861"/>
            <a:chOff x="-2487613" y="4213226"/>
            <a:chExt cx="17406939" cy="2171700"/>
          </a:xfrm>
        </p:grpSpPr>
        <p:sp>
          <p:nvSpPr>
            <p:cNvPr id="47" name="Freeform 19"/>
            <p:cNvSpPr>
              <a:spLocks noEditPoints="1"/>
            </p:cNvSpPr>
            <p:nvPr/>
          </p:nvSpPr>
          <p:spPr bwMode="auto">
            <a:xfrm>
              <a:off x="-2462213" y="4243388"/>
              <a:ext cx="17356139" cy="1592263"/>
            </a:xfrm>
            <a:custGeom>
              <a:avLst/>
              <a:gdLst>
                <a:gd name="T0" fmla="*/ 0 w 7400"/>
                <a:gd name="T1" fmla="*/ 678 h 678"/>
                <a:gd name="T2" fmla="*/ 0 w 7400"/>
                <a:gd name="T3" fmla="*/ 540 h 678"/>
                <a:gd name="T4" fmla="*/ 3569 w 7400"/>
                <a:gd name="T5" fmla="*/ 0 h 678"/>
                <a:gd name="T6" fmla="*/ 0 w 7400"/>
                <a:gd name="T7" fmla="*/ 678 h 678"/>
                <a:gd name="T8" fmla="*/ 3831 w 7400"/>
                <a:gd name="T9" fmla="*/ 0 h 678"/>
                <a:gd name="T10" fmla="*/ 7400 w 7400"/>
                <a:gd name="T11" fmla="*/ 540 h 678"/>
                <a:gd name="T12" fmla="*/ 7400 w 7400"/>
                <a:gd name="T13" fmla="*/ 678 h 678"/>
                <a:gd name="T14" fmla="*/ 3831 w 7400"/>
                <a:gd name="T15" fmla="*/ 0 h 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00" h="678">
                  <a:moveTo>
                    <a:pt x="0" y="678"/>
                  </a:moveTo>
                  <a:cubicBezTo>
                    <a:pt x="0" y="540"/>
                    <a:pt x="0" y="540"/>
                    <a:pt x="0" y="540"/>
                  </a:cubicBezTo>
                  <a:cubicBezTo>
                    <a:pt x="568" y="442"/>
                    <a:pt x="3569" y="0"/>
                    <a:pt x="3569" y="0"/>
                  </a:cubicBezTo>
                  <a:lnTo>
                    <a:pt x="0" y="678"/>
                  </a:lnTo>
                  <a:close/>
                  <a:moveTo>
                    <a:pt x="3831" y="0"/>
                  </a:moveTo>
                  <a:cubicBezTo>
                    <a:pt x="3831" y="0"/>
                    <a:pt x="6832" y="442"/>
                    <a:pt x="7400" y="540"/>
                  </a:cubicBezTo>
                  <a:cubicBezTo>
                    <a:pt x="7400" y="678"/>
                    <a:pt x="7400" y="678"/>
                    <a:pt x="7400" y="678"/>
                  </a:cubicBezTo>
                  <a:lnTo>
                    <a:pt x="3831" y="0"/>
                  </a:lnTo>
                  <a:close/>
                </a:path>
              </a:pathLst>
            </a:custGeom>
            <a:solidFill>
              <a:srgbClr val="0069BC"/>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8" name="Freeform 20"/>
            <p:cNvSpPr>
              <a:spLocks noEditPoints="1"/>
            </p:cNvSpPr>
            <p:nvPr/>
          </p:nvSpPr>
          <p:spPr bwMode="auto">
            <a:xfrm>
              <a:off x="-2462213" y="4243388"/>
              <a:ext cx="17356139" cy="2141538"/>
            </a:xfrm>
            <a:custGeom>
              <a:avLst/>
              <a:gdLst>
                <a:gd name="T0" fmla="*/ 3569 w 7400"/>
                <a:gd name="T1" fmla="*/ 0 h 912"/>
                <a:gd name="T2" fmla="*/ 3569 w 7400"/>
                <a:gd name="T3" fmla="*/ 7 h 912"/>
                <a:gd name="T4" fmla="*/ 0 w 7400"/>
                <a:gd name="T5" fmla="*/ 912 h 912"/>
                <a:gd name="T6" fmla="*/ 0 w 7400"/>
                <a:gd name="T7" fmla="*/ 678 h 912"/>
                <a:gd name="T8" fmla="*/ 3569 w 7400"/>
                <a:gd name="T9" fmla="*/ 0 h 912"/>
                <a:gd name="T10" fmla="*/ 7400 w 7400"/>
                <a:gd name="T11" fmla="*/ 678 h 912"/>
                <a:gd name="T12" fmla="*/ 7400 w 7400"/>
                <a:gd name="T13" fmla="*/ 912 h 912"/>
                <a:gd name="T14" fmla="*/ 3831 w 7400"/>
                <a:gd name="T15" fmla="*/ 7 h 912"/>
                <a:gd name="T16" fmla="*/ 3831 w 7400"/>
                <a:gd name="T17" fmla="*/ 0 h 912"/>
                <a:gd name="T18" fmla="*/ 7400 w 7400"/>
                <a:gd name="T19" fmla="*/ 678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00" h="912">
                  <a:moveTo>
                    <a:pt x="3569" y="0"/>
                  </a:moveTo>
                  <a:cubicBezTo>
                    <a:pt x="3569" y="7"/>
                    <a:pt x="3569" y="7"/>
                    <a:pt x="3569" y="7"/>
                  </a:cubicBezTo>
                  <a:cubicBezTo>
                    <a:pt x="3484" y="7"/>
                    <a:pt x="0" y="912"/>
                    <a:pt x="0" y="912"/>
                  </a:cubicBezTo>
                  <a:cubicBezTo>
                    <a:pt x="0" y="678"/>
                    <a:pt x="0" y="678"/>
                    <a:pt x="0" y="678"/>
                  </a:cubicBezTo>
                  <a:lnTo>
                    <a:pt x="3569" y="0"/>
                  </a:lnTo>
                  <a:close/>
                  <a:moveTo>
                    <a:pt x="7400" y="678"/>
                  </a:moveTo>
                  <a:cubicBezTo>
                    <a:pt x="7400" y="912"/>
                    <a:pt x="7400" y="912"/>
                    <a:pt x="7400" y="912"/>
                  </a:cubicBezTo>
                  <a:cubicBezTo>
                    <a:pt x="7400" y="912"/>
                    <a:pt x="3916" y="7"/>
                    <a:pt x="3831" y="7"/>
                  </a:cubicBezTo>
                  <a:cubicBezTo>
                    <a:pt x="3831" y="0"/>
                    <a:pt x="3831" y="0"/>
                    <a:pt x="3831" y="0"/>
                  </a:cubicBezTo>
                  <a:lnTo>
                    <a:pt x="7400" y="678"/>
                  </a:lnTo>
                  <a:close/>
                </a:path>
              </a:pathLst>
            </a:custGeom>
            <a:solidFill>
              <a:srgbClr val="005AA1"/>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9" name="Freeform 22"/>
            <p:cNvSpPr>
              <a:spLocks noEditPoints="1"/>
            </p:cNvSpPr>
            <p:nvPr/>
          </p:nvSpPr>
          <p:spPr bwMode="auto">
            <a:xfrm>
              <a:off x="-2487613" y="4213226"/>
              <a:ext cx="17406939" cy="1298575"/>
            </a:xfrm>
            <a:custGeom>
              <a:avLst/>
              <a:gdLst>
                <a:gd name="T0" fmla="*/ 4 w 7422"/>
                <a:gd name="T1" fmla="*/ 264 h 553"/>
                <a:gd name="T2" fmla="*/ 3580 w 7422"/>
                <a:gd name="T3" fmla="*/ 0 h 553"/>
                <a:gd name="T4" fmla="*/ 3580 w 7422"/>
                <a:gd name="T5" fmla="*/ 13 h 553"/>
                <a:gd name="T6" fmla="*/ 11 w 7422"/>
                <a:gd name="T7" fmla="*/ 553 h 553"/>
                <a:gd name="T8" fmla="*/ 4 w 7422"/>
                <a:gd name="T9" fmla="*/ 264 h 553"/>
                <a:gd name="T10" fmla="*/ 7411 w 7422"/>
                <a:gd name="T11" fmla="*/ 553 h 553"/>
                <a:gd name="T12" fmla="*/ 3842 w 7422"/>
                <a:gd name="T13" fmla="*/ 13 h 553"/>
                <a:gd name="T14" fmla="*/ 3842 w 7422"/>
                <a:gd name="T15" fmla="*/ 0 h 553"/>
                <a:gd name="T16" fmla="*/ 7418 w 7422"/>
                <a:gd name="T17" fmla="*/ 264 h 553"/>
                <a:gd name="T18" fmla="*/ 7411 w 7422"/>
                <a:gd name="T19"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22" h="553">
                  <a:moveTo>
                    <a:pt x="4" y="264"/>
                  </a:moveTo>
                  <a:cubicBezTo>
                    <a:pt x="4" y="264"/>
                    <a:pt x="3230" y="0"/>
                    <a:pt x="3580" y="0"/>
                  </a:cubicBezTo>
                  <a:cubicBezTo>
                    <a:pt x="3580" y="13"/>
                    <a:pt x="3580" y="13"/>
                    <a:pt x="3580" y="13"/>
                  </a:cubicBezTo>
                  <a:cubicBezTo>
                    <a:pt x="3580" y="13"/>
                    <a:pt x="579" y="455"/>
                    <a:pt x="11" y="553"/>
                  </a:cubicBezTo>
                  <a:cubicBezTo>
                    <a:pt x="11" y="553"/>
                    <a:pt x="0" y="264"/>
                    <a:pt x="4" y="264"/>
                  </a:cubicBezTo>
                  <a:close/>
                  <a:moveTo>
                    <a:pt x="7411" y="553"/>
                  </a:moveTo>
                  <a:cubicBezTo>
                    <a:pt x="6843" y="455"/>
                    <a:pt x="3842" y="13"/>
                    <a:pt x="3842" y="13"/>
                  </a:cubicBezTo>
                  <a:cubicBezTo>
                    <a:pt x="3842" y="0"/>
                    <a:pt x="3842" y="0"/>
                    <a:pt x="3842" y="0"/>
                  </a:cubicBezTo>
                  <a:cubicBezTo>
                    <a:pt x="4192" y="0"/>
                    <a:pt x="7418" y="264"/>
                    <a:pt x="7418" y="264"/>
                  </a:cubicBezTo>
                  <a:cubicBezTo>
                    <a:pt x="7422" y="264"/>
                    <a:pt x="7411" y="553"/>
                    <a:pt x="7411" y="553"/>
                  </a:cubicBezTo>
                  <a:close/>
                </a:path>
              </a:pathLst>
            </a:custGeom>
            <a:solidFill>
              <a:srgbClr val="005AA1"/>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grpSp>
      <p:grpSp>
        <p:nvGrpSpPr>
          <p:cNvPr id="3" name="Lines"/>
          <p:cNvGrpSpPr/>
          <p:nvPr/>
        </p:nvGrpSpPr>
        <p:grpSpPr>
          <a:xfrm>
            <a:off x="471850" y="3363830"/>
            <a:ext cx="9920467" cy="3816861"/>
            <a:chOff x="480496" y="3430775"/>
            <a:chExt cx="10120829" cy="3893950"/>
          </a:xfrm>
        </p:grpSpPr>
        <p:cxnSp>
          <p:nvCxnSpPr>
            <p:cNvPr id="60" name="Straight Connector 59"/>
            <p:cNvCxnSpPr/>
            <p:nvPr/>
          </p:nvCxnSpPr>
          <p:spPr>
            <a:xfrm flipV="1">
              <a:off x="480496" y="3724280"/>
              <a:ext cx="5553523" cy="3441565"/>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flipV="1">
              <a:off x="6238023" y="3430775"/>
              <a:ext cx="7054" cy="3630672"/>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6451639" y="3775211"/>
              <a:ext cx="4149686" cy="3549514"/>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 name="MASK2"/>
          <p:cNvSpPr/>
          <p:nvPr/>
        </p:nvSpPr>
        <p:spPr bwMode="auto">
          <a:xfrm>
            <a:off x="5271283" y="3720610"/>
            <a:ext cx="1526506" cy="332694"/>
          </a:xfrm>
          <a:prstGeom prst="rect">
            <a:avLst/>
          </a:prstGeom>
          <a:gradFill>
            <a:gsLst>
              <a:gs pos="91000">
                <a:srgbClr val="0078D7">
                  <a:alpha val="0"/>
                </a:srgbClr>
              </a:gs>
              <a:gs pos="11000">
                <a:srgbClr val="0078D7">
                  <a:alpha val="0"/>
                </a:srgbClr>
              </a:gs>
              <a:gs pos="75000">
                <a:srgbClr val="0078D7"/>
              </a:gs>
              <a:gs pos="25000">
                <a:srgbClr val="0078D7"/>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MASK1"/>
          <p:cNvSpPr/>
          <p:nvPr/>
        </p:nvSpPr>
        <p:spPr bwMode="auto">
          <a:xfrm>
            <a:off x="4230492" y="4074422"/>
            <a:ext cx="3320437" cy="510398"/>
          </a:xfrm>
          <a:prstGeom prst="rect">
            <a:avLst/>
          </a:prstGeom>
          <a:gradFill>
            <a:gsLst>
              <a:gs pos="100000">
                <a:srgbClr val="0078D7">
                  <a:alpha val="0"/>
                </a:srgbClr>
              </a:gs>
              <a:gs pos="0">
                <a:srgbClr val="0078D7">
                  <a:alpha val="0"/>
                </a:srgbClr>
              </a:gs>
              <a:gs pos="75000">
                <a:srgbClr val="0078D7"/>
              </a:gs>
              <a:gs pos="25000">
                <a:srgbClr val="0078D7"/>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Web"/>
          <p:cNvSpPr txBox="1"/>
          <p:nvPr/>
        </p:nvSpPr>
        <p:spPr>
          <a:xfrm>
            <a:off x="706272" y="5669747"/>
            <a:ext cx="970816" cy="615480"/>
          </a:xfrm>
          <a:prstGeom prst="rect">
            <a:avLst/>
          </a:prstGeom>
          <a:noFill/>
        </p:spPr>
        <p:txBody>
          <a:bodyPr wrap="none" lIns="179259" tIns="143407" rIns="179259" bIns="143407" rtlCol="0">
            <a:spAutoFit/>
          </a:bodyPr>
          <a:lstStyle/>
          <a:p>
            <a:pPr defTabSz="914246">
              <a:lnSpc>
                <a:spcPct val="90000"/>
              </a:lnSpc>
              <a:spcAft>
                <a:spcPts val="588"/>
              </a:spcAft>
            </a:pPr>
            <a:r>
              <a:rPr lang="en-US" sz="2353" kern="0" dirty="0">
                <a:gradFill>
                  <a:gsLst>
                    <a:gs pos="2917">
                      <a:srgbClr val="FFFFFF"/>
                    </a:gs>
                    <a:gs pos="30000">
                      <a:srgbClr val="FFFFFF"/>
                    </a:gs>
                  </a:gsLst>
                  <a:lin ang="5400000" scaled="0"/>
                </a:gradFill>
              </a:rPr>
              <a:t>Web</a:t>
            </a:r>
          </a:p>
        </p:txBody>
      </p:sp>
      <p:sp>
        <p:nvSpPr>
          <p:cNvPr id="68" name=".NET"/>
          <p:cNvSpPr txBox="1"/>
          <p:nvPr/>
        </p:nvSpPr>
        <p:spPr>
          <a:xfrm>
            <a:off x="3364901" y="5669747"/>
            <a:ext cx="2152515" cy="615480"/>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spc="-49" dirty="0">
                <a:gradFill>
                  <a:gsLst>
                    <a:gs pos="2917">
                      <a:srgbClr val="FFFFFF"/>
                    </a:gs>
                    <a:gs pos="30000">
                      <a:srgbClr val="FFFFFF"/>
                    </a:gs>
                  </a:gsLst>
                  <a:lin ang="5400000" scaled="0"/>
                </a:gradFill>
              </a:rPr>
              <a:t>.NET &amp; Win32</a:t>
            </a:r>
          </a:p>
        </p:txBody>
      </p:sp>
      <p:sp>
        <p:nvSpPr>
          <p:cNvPr id="69" name="Android"/>
          <p:cNvSpPr txBox="1"/>
          <p:nvPr/>
        </p:nvSpPr>
        <p:spPr>
          <a:xfrm>
            <a:off x="6512651" y="5438201"/>
            <a:ext cx="1630213" cy="941344"/>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dirty="0">
                <a:gradFill>
                  <a:gsLst>
                    <a:gs pos="2917">
                      <a:srgbClr val="FFFFFF"/>
                    </a:gs>
                    <a:gs pos="30000">
                      <a:srgbClr val="FFFFFF"/>
                    </a:gs>
                  </a:gsLst>
                  <a:lin ang="5400000" scaled="0"/>
                </a:gradFill>
              </a:rPr>
              <a:t>Android</a:t>
            </a:r>
            <a:br>
              <a:rPr lang="en-US" sz="2353" kern="0" dirty="0">
                <a:gradFill>
                  <a:gsLst>
                    <a:gs pos="2917">
                      <a:srgbClr val="FFFFFF"/>
                    </a:gs>
                    <a:gs pos="30000">
                      <a:srgbClr val="FFFFFF"/>
                    </a:gs>
                  </a:gsLst>
                  <a:lin ang="5400000" scaled="0"/>
                </a:gradFill>
              </a:rPr>
            </a:br>
            <a:r>
              <a:rPr lang="en-US" sz="2353" kern="0" dirty="0">
                <a:gradFill>
                  <a:gsLst>
                    <a:gs pos="2917">
                      <a:srgbClr val="FFFFFF"/>
                    </a:gs>
                    <a:gs pos="30000">
                      <a:srgbClr val="FFFFFF"/>
                    </a:gs>
                  </a:gsLst>
                  <a:lin ang="5400000" scaled="0"/>
                </a:gradFill>
              </a:rPr>
              <a:t>Java/C++</a:t>
            </a:r>
          </a:p>
        </p:txBody>
      </p:sp>
      <p:sp>
        <p:nvSpPr>
          <p:cNvPr id="70" name="iOS"/>
          <p:cNvSpPr txBox="1"/>
          <p:nvPr/>
        </p:nvSpPr>
        <p:spPr>
          <a:xfrm>
            <a:off x="9758182" y="5438201"/>
            <a:ext cx="1884607" cy="941344"/>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dirty="0">
                <a:gradFill>
                  <a:gsLst>
                    <a:gs pos="2917">
                      <a:srgbClr val="FFFFFF"/>
                    </a:gs>
                    <a:gs pos="30000">
                      <a:srgbClr val="FFFFFF"/>
                    </a:gs>
                  </a:gsLst>
                  <a:lin ang="5400000" scaled="0"/>
                </a:gradFill>
              </a:rPr>
              <a:t>iOS</a:t>
            </a:r>
            <a:br>
              <a:rPr lang="en-US" sz="2353" kern="0" dirty="0">
                <a:gradFill>
                  <a:gsLst>
                    <a:gs pos="2917">
                      <a:srgbClr val="FFFFFF"/>
                    </a:gs>
                    <a:gs pos="30000">
                      <a:srgbClr val="FFFFFF"/>
                    </a:gs>
                  </a:gsLst>
                  <a:lin ang="5400000" scaled="0"/>
                </a:gradFill>
              </a:rPr>
            </a:br>
            <a:r>
              <a:rPr lang="en-US" sz="2353" kern="0" dirty="0">
                <a:gradFill>
                  <a:gsLst>
                    <a:gs pos="2917">
                      <a:srgbClr val="FFFFFF"/>
                    </a:gs>
                    <a:gs pos="30000">
                      <a:srgbClr val="FFFFFF"/>
                    </a:gs>
                  </a:gsLst>
                  <a:lin ang="5400000" scaled="0"/>
                </a:gradFill>
              </a:rPr>
              <a:t>Objective C</a:t>
            </a:r>
          </a:p>
        </p:txBody>
      </p:sp>
      <p:sp>
        <p:nvSpPr>
          <p:cNvPr id="57" name="1 Billion Windows 10 Devices"/>
          <p:cNvSpPr txBox="1"/>
          <p:nvPr/>
        </p:nvSpPr>
        <p:spPr>
          <a:xfrm>
            <a:off x="2959361" y="310720"/>
            <a:ext cx="6273280" cy="1546808"/>
          </a:xfrm>
          <a:prstGeom prst="rect">
            <a:avLst/>
          </a:prstGeom>
          <a:noFill/>
        </p:spPr>
        <p:txBody>
          <a:bodyPr wrap="none" lIns="179259" tIns="143407" rIns="179259" bIns="143407" rtlCol="0">
            <a:spAutoFit/>
          </a:bodyPr>
          <a:lstStyle/>
          <a:p>
            <a:pPr algn="ctr" defTabSz="914246">
              <a:lnSpc>
                <a:spcPts val="4902"/>
              </a:lnSpc>
            </a:pPr>
            <a:r>
              <a:rPr lang="en-US" sz="5294" b="1" kern="0" spc="-99" dirty="0">
                <a:gradFill>
                  <a:gsLst>
                    <a:gs pos="2917">
                      <a:srgbClr val="0078D7"/>
                    </a:gs>
                    <a:gs pos="30000">
                      <a:srgbClr val="0078D7"/>
                    </a:gs>
                  </a:gsLst>
                  <a:lin ang="5400000" scaled="0"/>
                </a:gradFill>
              </a:rPr>
              <a:t>1 Billion</a:t>
            </a:r>
            <a:br>
              <a:rPr lang="en-US" sz="5294" b="1" kern="0" spc="-99" dirty="0">
                <a:gradFill>
                  <a:gsLst>
                    <a:gs pos="2917">
                      <a:srgbClr val="0078D7"/>
                    </a:gs>
                    <a:gs pos="30000">
                      <a:srgbClr val="0078D7"/>
                    </a:gs>
                  </a:gsLst>
                  <a:lin ang="5400000" scaled="0"/>
                </a:gradFill>
              </a:rPr>
            </a:br>
            <a:r>
              <a:rPr lang="en-US" sz="5294" kern="0" spc="-99" dirty="0">
                <a:gradFill>
                  <a:gsLst>
                    <a:gs pos="2917">
                      <a:srgbClr val="0078D7"/>
                    </a:gs>
                    <a:gs pos="30000">
                      <a:srgbClr val="0078D7"/>
                    </a:gs>
                  </a:gsLst>
                  <a:lin ang="5400000" scaled="0"/>
                </a:gradFill>
              </a:rPr>
              <a:t>Windows 10 Devices</a:t>
            </a:r>
          </a:p>
        </p:txBody>
      </p:sp>
      <p:sp>
        <p:nvSpPr>
          <p:cNvPr id="72" name="Windows Store"/>
          <p:cNvSpPr txBox="1"/>
          <p:nvPr/>
        </p:nvSpPr>
        <p:spPr>
          <a:xfrm>
            <a:off x="3754191" y="5145995"/>
            <a:ext cx="4683621" cy="1022811"/>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294" kern="0" spc="-99" dirty="0">
                <a:gradFill>
                  <a:gsLst>
                    <a:gs pos="2917">
                      <a:srgbClr val="FFFFFF"/>
                    </a:gs>
                    <a:gs pos="30000">
                      <a:srgbClr val="FFFFFF"/>
                    </a:gs>
                  </a:gsLst>
                  <a:lin ang="5400000" scaled="0"/>
                </a:gradFill>
              </a:rPr>
              <a:t>Windows Store</a:t>
            </a:r>
          </a:p>
        </p:txBody>
      </p:sp>
      <p:sp>
        <p:nvSpPr>
          <p:cNvPr id="79" name="Universal Windows Platform"/>
          <p:cNvSpPr txBox="1"/>
          <p:nvPr/>
        </p:nvSpPr>
        <p:spPr>
          <a:xfrm>
            <a:off x="1875853" y="5155329"/>
            <a:ext cx="8440301" cy="1022811"/>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294" kern="0" spc="-99" dirty="0">
                <a:gradFill>
                  <a:gsLst>
                    <a:gs pos="2917">
                      <a:srgbClr val="FFFFFF"/>
                    </a:gs>
                    <a:gs pos="30000">
                      <a:srgbClr val="FFFFFF"/>
                    </a:gs>
                  </a:gsLst>
                  <a:lin ang="5400000" scaled="0"/>
                </a:gradFill>
              </a:rPr>
              <a:t>Universal Windows Platform</a:t>
            </a:r>
          </a:p>
        </p:txBody>
      </p:sp>
    </p:spTree>
    <p:extLst>
      <p:ext uri="{BB962C8B-B14F-4D97-AF65-F5344CB8AC3E}">
        <p14:creationId xmlns:p14="http://schemas.microsoft.com/office/powerpoint/2010/main" val="420784900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par>
                          <p:cTn id="7" fill="hold">
                            <p:stCondLst>
                              <p:cond delay="0"/>
                            </p:stCondLst>
                            <p:childTnLst>
                              <p:par>
                                <p:cTn id="8" presetID="2" presetClass="entr" presetSubtype="4" decel="100000" fill="hold" grpId="0" nodeType="afterEffect">
                                  <p:stCondLst>
                                    <p:cond delay="0"/>
                                  </p:stCondLst>
                                  <p:childTnLst>
                                    <p:set>
                                      <p:cBhvr>
                                        <p:cTn id="9" dur="1" fill="hold">
                                          <p:stCondLst>
                                            <p:cond delay="0"/>
                                          </p:stCondLst>
                                        </p:cTn>
                                        <p:tgtEl>
                                          <p:spTgt spid="34"/>
                                        </p:tgtEl>
                                        <p:attrNameLst>
                                          <p:attrName>style.visibility</p:attrName>
                                        </p:attrNameLst>
                                      </p:cBhvr>
                                      <p:to>
                                        <p:strVal val="visible"/>
                                      </p:to>
                                    </p:set>
                                    <p:anim calcmode="lin" valueType="num">
                                      <p:cBhvr additive="base">
                                        <p:cTn id="10" dur="750" fill="hold"/>
                                        <p:tgtEl>
                                          <p:spTgt spid="34"/>
                                        </p:tgtEl>
                                        <p:attrNameLst>
                                          <p:attrName>ppt_x</p:attrName>
                                        </p:attrNameLst>
                                      </p:cBhvr>
                                      <p:tavLst>
                                        <p:tav tm="0">
                                          <p:val>
                                            <p:strVal val="#ppt_x"/>
                                          </p:val>
                                        </p:tav>
                                        <p:tav tm="100000">
                                          <p:val>
                                            <p:strVal val="#ppt_x"/>
                                          </p:val>
                                        </p:tav>
                                      </p:tavLst>
                                    </p:anim>
                                    <p:anim calcmode="lin" valueType="num">
                                      <p:cBhvr additive="base">
                                        <p:cTn id="11" dur="750" fill="hold"/>
                                        <p:tgtEl>
                                          <p:spTgt spid="34"/>
                                        </p:tgtEl>
                                        <p:attrNameLst>
                                          <p:attrName>ppt_y</p:attrName>
                                        </p:attrNameLst>
                                      </p:cBhvr>
                                      <p:tavLst>
                                        <p:tav tm="0">
                                          <p:val>
                                            <p:strVal val="1+#ppt_h/2"/>
                                          </p:val>
                                        </p:tav>
                                        <p:tav tm="100000">
                                          <p:val>
                                            <p:strVal val="#ppt_y"/>
                                          </p:val>
                                        </p:tav>
                                      </p:tavLst>
                                    </p:anim>
                                  </p:childTnLst>
                                </p:cTn>
                              </p:par>
                              <p:par>
                                <p:cTn id="12" presetID="16" presetClass="entr" presetSubtype="21" fill="hold" nodeType="withEffect">
                                  <p:stCondLst>
                                    <p:cond delay="250"/>
                                  </p:stCondLst>
                                  <p:childTnLst>
                                    <p:set>
                                      <p:cBhvr>
                                        <p:cTn id="13" dur="1" fill="hold">
                                          <p:stCondLst>
                                            <p:cond delay="0"/>
                                          </p:stCondLst>
                                        </p:cTn>
                                        <p:tgtEl>
                                          <p:spTgt spid="46"/>
                                        </p:tgtEl>
                                        <p:attrNameLst>
                                          <p:attrName>style.visibility</p:attrName>
                                        </p:attrNameLst>
                                      </p:cBhvr>
                                      <p:to>
                                        <p:strVal val="visible"/>
                                      </p:to>
                                    </p:set>
                                    <p:animEffect transition="in" filter="barn(inVertical)">
                                      <p:cBhvr>
                                        <p:cTn id="14" dur="1000"/>
                                        <p:tgtEl>
                                          <p:spTgt spid="46"/>
                                        </p:tgtEl>
                                      </p:cBhvr>
                                    </p:animEffect>
                                  </p:childTnLst>
                                </p:cTn>
                              </p:par>
                              <p:par>
                                <p:cTn id="15" presetID="2" presetClass="entr" presetSubtype="4" decel="100000" fill="hold" grpId="0" nodeType="withEffect">
                                  <p:stCondLst>
                                    <p:cond delay="750"/>
                                  </p:stCondLst>
                                  <p:childTnLst>
                                    <p:set>
                                      <p:cBhvr>
                                        <p:cTn id="16" dur="1" fill="hold">
                                          <p:stCondLst>
                                            <p:cond delay="0"/>
                                          </p:stCondLst>
                                        </p:cTn>
                                        <p:tgtEl>
                                          <p:spTgt spid="43"/>
                                        </p:tgtEl>
                                        <p:attrNameLst>
                                          <p:attrName>style.visibility</p:attrName>
                                        </p:attrNameLst>
                                      </p:cBhvr>
                                      <p:to>
                                        <p:strVal val="visible"/>
                                      </p:to>
                                    </p:set>
                                    <p:anim calcmode="lin" valueType="num">
                                      <p:cBhvr additive="base">
                                        <p:cTn id="17" dur="1000" fill="hold"/>
                                        <p:tgtEl>
                                          <p:spTgt spid="43"/>
                                        </p:tgtEl>
                                        <p:attrNameLst>
                                          <p:attrName>ppt_x</p:attrName>
                                        </p:attrNameLst>
                                      </p:cBhvr>
                                      <p:tavLst>
                                        <p:tav tm="0">
                                          <p:val>
                                            <p:strVal val="#ppt_x"/>
                                          </p:val>
                                        </p:tav>
                                        <p:tav tm="100000">
                                          <p:val>
                                            <p:strVal val="#ppt_x"/>
                                          </p:val>
                                        </p:tav>
                                      </p:tavLst>
                                    </p:anim>
                                    <p:anim calcmode="lin" valueType="num">
                                      <p:cBhvr additive="base">
                                        <p:cTn id="18" dur="1000" fill="hold"/>
                                        <p:tgtEl>
                                          <p:spTgt spid="43"/>
                                        </p:tgtEl>
                                        <p:attrNameLst>
                                          <p:attrName>ppt_y</p:attrName>
                                        </p:attrNameLst>
                                      </p:cBhvr>
                                      <p:tavLst>
                                        <p:tav tm="0">
                                          <p:val>
                                            <p:strVal val="1+#ppt_h/2"/>
                                          </p:val>
                                        </p:tav>
                                        <p:tav tm="100000">
                                          <p:val>
                                            <p:strVal val="#ppt_y"/>
                                          </p:val>
                                        </p:tav>
                                      </p:tavLst>
                                    </p:anim>
                                  </p:childTnLst>
                                </p:cTn>
                              </p:par>
                              <p:par>
                                <p:cTn id="19" presetID="1" presetClass="entr" presetSubtype="0" fill="hold" grpId="0" nodeType="withEffect">
                                  <p:stCondLst>
                                    <p:cond delay="750"/>
                                  </p:stCondLst>
                                  <p:childTnLst>
                                    <p:set>
                                      <p:cBhvr>
                                        <p:cTn id="20" dur="1" fill="hold">
                                          <p:stCondLst>
                                            <p:cond delay="0"/>
                                          </p:stCondLst>
                                        </p:cTn>
                                        <p:tgtEl>
                                          <p:spTgt spid="44"/>
                                        </p:tgtEl>
                                        <p:attrNameLst>
                                          <p:attrName>style.visibility</p:attrName>
                                        </p:attrNameLst>
                                      </p:cBhvr>
                                      <p:to>
                                        <p:strVal val="visible"/>
                                      </p:to>
                                    </p:set>
                                  </p:childTnLst>
                                </p:cTn>
                              </p:par>
                              <p:par>
                                <p:cTn id="21" presetID="16" presetClass="entr" presetSubtype="21" fill="hold" grpId="0" nodeType="withEffect">
                                  <p:stCondLst>
                                    <p:cond delay="750"/>
                                  </p:stCondLst>
                                  <p:childTnLst>
                                    <p:set>
                                      <p:cBhvr>
                                        <p:cTn id="22" dur="1" fill="hold">
                                          <p:stCondLst>
                                            <p:cond delay="0"/>
                                          </p:stCondLst>
                                        </p:cTn>
                                        <p:tgtEl>
                                          <p:spTgt spid="45"/>
                                        </p:tgtEl>
                                        <p:attrNameLst>
                                          <p:attrName>style.visibility</p:attrName>
                                        </p:attrNameLst>
                                      </p:cBhvr>
                                      <p:to>
                                        <p:strVal val="visible"/>
                                      </p:to>
                                    </p:set>
                                    <p:animEffect transition="in" filter="barn(inVertical)">
                                      <p:cBhvr>
                                        <p:cTn id="23" dur="1000"/>
                                        <p:tgtEl>
                                          <p:spTgt spid="45"/>
                                        </p:tgtEl>
                                      </p:cBhvr>
                                    </p:animEffect>
                                  </p:childTnLst>
                                </p:cTn>
                              </p:par>
                              <p:par>
                                <p:cTn id="24" presetID="16" presetClass="entr" presetSubtype="21" fill="hold" grpId="0" nodeType="withEffect">
                                  <p:stCondLst>
                                    <p:cond delay="750"/>
                                  </p:stCondLst>
                                  <p:childTnLst>
                                    <p:set>
                                      <p:cBhvr>
                                        <p:cTn id="25" dur="1" fill="hold">
                                          <p:stCondLst>
                                            <p:cond delay="0"/>
                                          </p:stCondLst>
                                        </p:cTn>
                                        <p:tgtEl>
                                          <p:spTgt spid="42"/>
                                        </p:tgtEl>
                                        <p:attrNameLst>
                                          <p:attrName>style.visibility</p:attrName>
                                        </p:attrNameLst>
                                      </p:cBhvr>
                                      <p:to>
                                        <p:strVal val="visible"/>
                                      </p:to>
                                    </p:set>
                                    <p:animEffect transition="in" filter="barn(inVertical)">
                                      <p:cBhvr>
                                        <p:cTn id="26" dur="1000"/>
                                        <p:tgtEl>
                                          <p:spTgt spid="4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2" nodeType="click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6" presetClass="emph" presetSubtype="0" accel="50000" decel="50000" fill="hold" grpId="0" nodeType="withEffect">
                                  <p:stCondLst>
                                    <p:cond delay="0"/>
                                  </p:stCondLst>
                                  <p:childTnLst>
                                    <p:animScale>
                                      <p:cBhvr>
                                        <p:cTn id="33" dur="1500" fill="hold"/>
                                        <p:tgtEl>
                                          <p:spTgt spid="57"/>
                                        </p:tgtEl>
                                      </p:cBhvr>
                                      <p:by x="75000" y="75000"/>
                                    </p:animScale>
                                  </p:childTnLst>
                                </p:cTn>
                              </p:par>
                              <p:par>
                                <p:cTn id="34" presetID="42" presetClass="path" presetSubtype="0" accel="50000" decel="50000" fill="hold" grpId="1" nodeType="withEffect">
                                  <p:stCondLst>
                                    <p:cond delay="0"/>
                                  </p:stCondLst>
                                  <p:childTnLst>
                                    <p:animMotion origin="layout" path="M 0 3.59056E-6 L 0 -0.03972 " pathEditMode="relative" rAng="0" ptsTypes="AA">
                                      <p:cBhvr>
                                        <p:cTn id="35" dur="1500" fill="hold"/>
                                        <p:tgtEl>
                                          <p:spTgt spid="57"/>
                                        </p:tgtEl>
                                        <p:attrNameLst>
                                          <p:attrName>ppt_x</p:attrName>
                                          <p:attrName>ppt_y</p:attrName>
                                        </p:attrNameLst>
                                      </p:cBhvr>
                                      <p:rCtr x="0" y="-1997"/>
                                    </p:animMotion>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64" presetClass="path" presetSubtype="0" accel="50000" decel="50000" fill="hold" grpId="1" nodeType="withEffect">
                                  <p:stCondLst>
                                    <p:cond delay="0"/>
                                  </p:stCondLst>
                                  <p:childTnLst>
                                    <p:animMotion origin="layout" path="M 0 -1.34816E-6 L 0.00268 -0.26486 " pathEditMode="relative" rAng="0" ptsTypes="AA">
                                      <p:cBhvr>
                                        <p:cTn id="42" dur="1000" fill="hold"/>
                                        <p:tgtEl>
                                          <p:spTgt spid="72"/>
                                        </p:tgtEl>
                                        <p:attrNameLst>
                                          <p:attrName>ppt_x</p:attrName>
                                          <p:attrName>ppt_y</p:attrName>
                                        </p:attrNameLst>
                                      </p:cBhvr>
                                      <p:rCtr x="128" y="-13255"/>
                                    </p:animMotion>
                                  </p:childTnLst>
                                </p:cTn>
                              </p:par>
                              <p:par>
                                <p:cTn id="43" presetID="6" presetClass="emph" presetSubtype="0" accel="50000" decel="50000" fill="hold" grpId="2" nodeType="withEffect">
                                  <p:stCondLst>
                                    <p:cond delay="0"/>
                                  </p:stCondLst>
                                  <p:childTnLst>
                                    <p:animScale>
                                      <p:cBhvr>
                                        <p:cTn id="44" dur="1000" fill="hold"/>
                                        <p:tgtEl>
                                          <p:spTgt spid="72"/>
                                        </p:tgtEl>
                                      </p:cBhvr>
                                      <p:by x="40000" y="40000"/>
                                    </p:animScale>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par>
                                <p:cTn id="52" presetID="64" presetClass="path" presetSubtype="0" accel="50000" decel="50000" fill="hold" grpId="1" nodeType="withEffect">
                                  <p:stCondLst>
                                    <p:cond delay="0"/>
                                  </p:stCondLst>
                                  <p:childTnLst>
                                    <p:animMotion origin="layout" path="M 0 -3.12755E-6 L 0.00204 -0.1995 " pathEditMode="relative" rAng="0" ptsTypes="AA">
                                      <p:cBhvr>
                                        <p:cTn id="53" dur="1000" fill="hold"/>
                                        <p:tgtEl>
                                          <p:spTgt spid="79"/>
                                        </p:tgtEl>
                                        <p:attrNameLst>
                                          <p:attrName>ppt_x</p:attrName>
                                          <p:attrName>ppt_y</p:attrName>
                                        </p:attrNameLst>
                                      </p:cBhvr>
                                      <p:rCtr x="102" y="-9986"/>
                                    </p:animMotion>
                                  </p:childTnLst>
                                </p:cTn>
                              </p:par>
                              <p:par>
                                <p:cTn id="54" presetID="6" presetClass="emph" presetSubtype="0" accel="50000" decel="50000" fill="hold" grpId="2" nodeType="withEffect">
                                  <p:stCondLst>
                                    <p:cond delay="0"/>
                                  </p:stCondLst>
                                  <p:childTnLst>
                                    <p:animScale>
                                      <p:cBhvr>
                                        <p:cTn id="55" dur="1000" fill="hold"/>
                                        <p:tgtEl>
                                          <p:spTgt spid="79"/>
                                        </p:tgtEl>
                                      </p:cBhvr>
                                      <p:by x="55000" y="55000"/>
                                    </p:animScale>
                                  </p:childTnLst>
                                </p:cTn>
                              </p:par>
                              <p:par>
                                <p:cTn id="56" presetID="1"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down)">
                                      <p:cBhvr>
                                        <p:cTn id="62" dur="1000"/>
                                        <p:tgtEl>
                                          <p:spTgt spid="3"/>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67"/>
                                        </p:tgtEl>
                                        <p:attrNameLst>
                                          <p:attrName>style.visibility</p:attrName>
                                        </p:attrNameLst>
                                      </p:cBhvr>
                                      <p:to>
                                        <p:strVal val="visible"/>
                                      </p:to>
                                    </p:set>
                                    <p:animEffect transition="in" filter="fade">
                                      <p:cBhvr>
                                        <p:cTn id="65" dur="250"/>
                                        <p:tgtEl>
                                          <p:spTgt spid="67"/>
                                        </p:tgtEl>
                                      </p:cBhvr>
                                    </p:animEffect>
                                  </p:childTnLst>
                                </p:cTn>
                              </p:par>
                              <p:par>
                                <p:cTn id="66" presetID="63" presetClass="path" presetSubtype="0" decel="100000" fill="hold" grpId="1" nodeType="withEffect">
                                  <p:stCondLst>
                                    <p:cond delay="400"/>
                                  </p:stCondLst>
                                  <p:childTnLst>
                                    <p:animMotion origin="layout" path="M -1.26372E-6 4.22606E-6 L -0.13326 0.12346 " pathEditMode="relative" rAng="0" ptsTypes="AA">
                                      <p:cBhvr>
                                        <p:cTn id="67" dur="500" spd="-100000" fill="hold"/>
                                        <p:tgtEl>
                                          <p:spTgt spid="67"/>
                                        </p:tgtEl>
                                        <p:attrNameLst>
                                          <p:attrName>ppt_x</p:attrName>
                                          <p:attrName>ppt_y</p:attrName>
                                        </p:attrNameLst>
                                      </p:cBhvr>
                                      <p:rCtr x="-6663" y="6173"/>
                                    </p:animMotion>
                                  </p:childTnLst>
                                </p:cTn>
                              </p:par>
                              <p:par>
                                <p:cTn id="68" presetID="10" presetClass="entr" presetSubtype="0" fill="hold" grpId="0" nodeType="withEffect">
                                  <p:stCondLst>
                                    <p:cond delay="500"/>
                                  </p:stCondLst>
                                  <p:childTnLst>
                                    <p:set>
                                      <p:cBhvr>
                                        <p:cTn id="69" dur="1" fill="hold">
                                          <p:stCondLst>
                                            <p:cond delay="0"/>
                                          </p:stCondLst>
                                        </p:cTn>
                                        <p:tgtEl>
                                          <p:spTgt spid="68"/>
                                        </p:tgtEl>
                                        <p:attrNameLst>
                                          <p:attrName>style.visibility</p:attrName>
                                        </p:attrNameLst>
                                      </p:cBhvr>
                                      <p:to>
                                        <p:strVal val="visible"/>
                                      </p:to>
                                    </p:set>
                                    <p:animEffect transition="in" filter="fade">
                                      <p:cBhvr>
                                        <p:cTn id="70" dur="250"/>
                                        <p:tgtEl>
                                          <p:spTgt spid="68"/>
                                        </p:tgtEl>
                                      </p:cBhvr>
                                    </p:animEffect>
                                  </p:childTnLst>
                                </p:cTn>
                              </p:par>
                              <p:par>
                                <p:cTn id="71" presetID="63" presetClass="path" presetSubtype="0" decel="100000" fill="hold" grpId="1" nodeType="withEffect">
                                  <p:stCondLst>
                                    <p:cond delay="400"/>
                                  </p:stCondLst>
                                  <p:childTnLst>
                                    <p:animMotion origin="layout" path="M -1.77176E-6 4.22606E-6 L -0.10888 0.19677 " pathEditMode="relative" rAng="0" ptsTypes="AA">
                                      <p:cBhvr>
                                        <p:cTn id="72" dur="500" spd="-100000" fill="hold"/>
                                        <p:tgtEl>
                                          <p:spTgt spid="68"/>
                                        </p:tgtEl>
                                        <p:attrNameLst>
                                          <p:attrName>ppt_x</p:attrName>
                                          <p:attrName>ppt_y</p:attrName>
                                        </p:attrNameLst>
                                      </p:cBhvr>
                                      <p:rCtr x="-5451" y="9828"/>
                                    </p:animMotion>
                                  </p:childTnLst>
                                </p:cTn>
                              </p:par>
                              <p:par>
                                <p:cTn id="73" presetID="10" presetClass="entr" presetSubtype="0" fill="hold" grpId="0" nodeType="withEffect">
                                  <p:stCondLst>
                                    <p:cond delay="50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250"/>
                                        <p:tgtEl>
                                          <p:spTgt spid="69"/>
                                        </p:tgtEl>
                                      </p:cBhvr>
                                    </p:animEffect>
                                  </p:childTnLst>
                                </p:cTn>
                              </p:par>
                              <p:par>
                                <p:cTn id="76" presetID="63" presetClass="path" presetSubtype="0" decel="100000" fill="hold" grpId="1" nodeType="withEffect">
                                  <p:stCondLst>
                                    <p:cond delay="400"/>
                                  </p:stCondLst>
                                  <p:childTnLst>
                                    <p:animMotion origin="layout" path="M -1.30202E-7 -2.42851E-6 L 0.03051 0.22719 " pathEditMode="relative" rAng="0" ptsTypes="AA">
                                      <p:cBhvr>
                                        <p:cTn id="77" dur="500" spd="-100000" fill="hold"/>
                                        <p:tgtEl>
                                          <p:spTgt spid="69"/>
                                        </p:tgtEl>
                                        <p:attrNameLst>
                                          <p:attrName>ppt_x</p:attrName>
                                          <p:attrName>ppt_y</p:attrName>
                                        </p:attrNameLst>
                                      </p:cBhvr>
                                      <p:rCtr x="1519" y="11348"/>
                                    </p:animMotion>
                                  </p:childTnLst>
                                </p:cTn>
                              </p:par>
                              <p:par>
                                <p:cTn id="78" presetID="10" presetClass="entr" presetSubtype="0" fill="hold" grpId="0" nodeType="withEffect">
                                  <p:stCondLst>
                                    <p:cond delay="50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250"/>
                                        <p:tgtEl>
                                          <p:spTgt spid="70"/>
                                        </p:tgtEl>
                                      </p:cBhvr>
                                    </p:animEffect>
                                  </p:childTnLst>
                                </p:cTn>
                              </p:par>
                              <p:par>
                                <p:cTn id="81" presetID="63" presetClass="path" presetSubtype="0" decel="100000" fill="hold" grpId="1" nodeType="withEffect">
                                  <p:stCondLst>
                                    <p:cond delay="400"/>
                                  </p:stCondLst>
                                  <p:childTnLst>
                                    <p:animMotion origin="layout" path="M -2.5351E-6 -2.42851E-6 L 0.1611 0.18384 " pathEditMode="relative" rAng="0" ptsTypes="AA">
                                      <p:cBhvr>
                                        <p:cTn id="82" dur="500" spd="-100000" fill="hold"/>
                                        <p:tgtEl>
                                          <p:spTgt spid="70"/>
                                        </p:tgtEl>
                                        <p:attrNameLst>
                                          <p:attrName>ppt_x</p:attrName>
                                          <p:attrName>ppt_y</p:attrName>
                                        </p:attrNameLst>
                                      </p:cBhvr>
                                      <p:rCtr x="8055" y="91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1" grpId="0" animBg="1"/>
      <p:bldP spid="42" grpId="0" animBg="1"/>
      <p:bldP spid="43" grpId="0" animBg="1"/>
      <p:bldP spid="44" grpId="0" animBg="1"/>
      <p:bldP spid="45" grpId="0" animBg="1"/>
      <p:bldP spid="23" grpId="0" animBg="1"/>
      <p:bldP spid="24" grpId="0" animBg="1"/>
      <p:bldP spid="67" grpId="0"/>
      <p:bldP spid="67" grpId="1"/>
      <p:bldP spid="68" grpId="0"/>
      <p:bldP spid="68" grpId="1"/>
      <p:bldP spid="69" grpId="0"/>
      <p:bldP spid="69" grpId="1"/>
      <p:bldP spid="70" grpId="0"/>
      <p:bldP spid="70" grpId="1"/>
      <p:bldP spid="57" grpId="0"/>
      <p:bldP spid="57" grpId="1"/>
      <p:bldP spid="57" grpId="2"/>
      <p:bldP spid="72" grpId="0"/>
      <p:bldP spid="72" grpId="1"/>
      <p:bldP spid="72" grpId="2"/>
      <p:bldP spid="79" grpId="0"/>
      <p:bldP spid="79" grpId="1"/>
      <p:bldP spid="79" grpId="2"/>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418249" y="626523"/>
            <a:ext cx="665719"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Phone</a:t>
            </a:r>
          </a:p>
        </p:txBody>
      </p:sp>
      <p:sp>
        <p:nvSpPr>
          <p:cNvPr id="40" name="TextBox 39"/>
          <p:cNvSpPr txBox="1"/>
          <p:nvPr/>
        </p:nvSpPr>
        <p:spPr>
          <a:xfrm>
            <a:off x="2599107" y="626523"/>
            <a:ext cx="1164287"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Small</a:t>
            </a:r>
            <a:r>
              <a:rPr lang="en-US" sz="1567" kern="0" dirty="0">
                <a:solidFill>
                  <a:srgbClr val="4F4F4F"/>
                </a:solidFill>
                <a:latin typeface="Segoe UI Light"/>
                <a:cs typeface="Segoe UI" panose="020B0502040204020203" pitchFamily="34" charset="0"/>
              </a:rPr>
              <a:t> </a:t>
            </a:r>
            <a:r>
              <a:rPr lang="en-US" sz="1567" kern="0" dirty="0">
                <a:solidFill>
                  <a:srgbClr val="4F4F4F"/>
                </a:solidFill>
                <a:latin typeface="Segoe Pro Light"/>
                <a:cs typeface="Segoe UI" panose="020B0502040204020203" pitchFamily="34" charset="0"/>
              </a:rPr>
              <a:t>Tablet</a:t>
            </a:r>
          </a:p>
        </p:txBody>
      </p:sp>
      <p:sp>
        <p:nvSpPr>
          <p:cNvPr id="41" name="TextBox 40"/>
          <p:cNvSpPr txBox="1"/>
          <p:nvPr/>
        </p:nvSpPr>
        <p:spPr>
          <a:xfrm>
            <a:off x="5776126" y="409577"/>
            <a:ext cx="1966650" cy="434093"/>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pPr defTabSz="896354">
              <a:spcAft>
                <a:spcPts val="588"/>
              </a:spcAft>
            </a:pPr>
            <a:r>
              <a:rPr lang="en-US" sz="1567" kern="0" dirty="0">
                <a:solidFill>
                  <a:srgbClr val="4F4F4F"/>
                </a:solidFill>
                <a:latin typeface="Segoe Pro Light"/>
              </a:rPr>
              <a:t>2-in-1s</a:t>
            </a:r>
            <a:br>
              <a:rPr lang="en-US" sz="1567" kern="0" dirty="0">
                <a:solidFill>
                  <a:srgbClr val="4F4F4F"/>
                </a:solidFill>
                <a:latin typeface="Segoe Pro Light"/>
              </a:rPr>
            </a:br>
            <a:r>
              <a:rPr lang="en-US" sz="1567" kern="0" dirty="0">
                <a:solidFill>
                  <a:srgbClr val="4F4F4F"/>
                </a:solidFill>
                <a:latin typeface="Segoe Pro Light"/>
              </a:rPr>
              <a:t>(Tablet or Laptop)</a:t>
            </a:r>
          </a:p>
        </p:txBody>
      </p:sp>
      <p:sp>
        <p:nvSpPr>
          <p:cNvPr id="42" name="TextBox 41"/>
          <p:cNvSpPr txBox="1"/>
          <p:nvPr/>
        </p:nvSpPr>
        <p:spPr>
          <a:xfrm>
            <a:off x="9685982" y="409578"/>
            <a:ext cx="1917897" cy="434093"/>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Desktops </a:t>
            </a:r>
            <a:br>
              <a:rPr lang="en-US" sz="1567" kern="0" dirty="0">
                <a:solidFill>
                  <a:srgbClr val="4F4F4F"/>
                </a:solidFill>
                <a:latin typeface="Segoe Pro Light"/>
                <a:cs typeface="Segoe UI" panose="020B0502040204020203" pitchFamily="34" charset="0"/>
              </a:rPr>
            </a:br>
            <a:r>
              <a:rPr lang="en-US" sz="1567" kern="0" dirty="0">
                <a:solidFill>
                  <a:srgbClr val="4F4F4F"/>
                </a:solidFill>
                <a:latin typeface="Segoe Pro Light"/>
                <a:cs typeface="Segoe UI" panose="020B0502040204020203" pitchFamily="34" charset="0"/>
              </a:rPr>
              <a:t>&amp; All-in-Ones</a:t>
            </a:r>
          </a:p>
        </p:txBody>
      </p:sp>
      <p:sp>
        <p:nvSpPr>
          <p:cNvPr id="44" name="TextBox 43"/>
          <p:cNvSpPr txBox="1"/>
          <p:nvPr/>
        </p:nvSpPr>
        <p:spPr>
          <a:xfrm>
            <a:off x="1476782" y="626523"/>
            <a:ext cx="840891"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Phablet</a:t>
            </a:r>
          </a:p>
        </p:txBody>
      </p:sp>
      <p:sp>
        <p:nvSpPr>
          <p:cNvPr id="48" name="TextBox 47"/>
          <p:cNvSpPr txBox="1"/>
          <p:nvPr/>
        </p:nvSpPr>
        <p:spPr>
          <a:xfrm>
            <a:off x="3839226" y="626523"/>
            <a:ext cx="1943984"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Large</a:t>
            </a:r>
            <a:r>
              <a:rPr lang="en-US" sz="1567" kern="0" dirty="0">
                <a:solidFill>
                  <a:srgbClr val="4F4F4F"/>
                </a:solidFill>
                <a:latin typeface="Segoe UI Light"/>
                <a:cs typeface="Segoe UI" panose="020B0502040204020203" pitchFamily="34" charset="0"/>
              </a:rPr>
              <a:t> </a:t>
            </a:r>
            <a:r>
              <a:rPr lang="en-US" sz="1567" kern="0" dirty="0">
                <a:solidFill>
                  <a:srgbClr val="4F4F4F"/>
                </a:solidFill>
                <a:latin typeface="Segoe Pro Light"/>
                <a:cs typeface="Segoe UI" panose="020B0502040204020203" pitchFamily="34" charset="0"/>
              </a:rPr>
              <a:t>Tablet</a:t>
            </a:r>
          </a:p>
        </p:txBody>
      </p:sp>
      <p:sp>
        <p:nvSpPr>
          <p:cNvPr id="49" name="TextBox 48"/>
          <p:cNvSpPr txBox="1"/>
          <p:nvPr/>
        </p:nvSpPr>
        <p:spPr>
          <a:xfrm>
            <a:off x="8257682" y="409578"/>
            <a:ext cx="953563" cy="434093"/>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Classic </a:t>
            </a:r>
            <a:br>
              <a:rPr lang="en-US" sz="1567" kern="0" dirty="0">
                <a:solidFill>
                  <a:srgbClr val="4F4F4F"/>
                </a:solidFill>
                <a:latin typeface="Segoe Pro Light"/>
                <a:cs typeface="Segoe UI" panose="020B0502040204020203" pitchFamily="34" charset="0"/>
              </a:rPr>
            </a:br>
            <a:r>
              <a:rPr lang="en-US" sz="1567" kern="0" dirty="0">
                <a:solidFill>
                  <a:srgbClr val="4F4F4F"/>
                </a:solidFill>
                <a:latin typeface="Segoe Pro Light"/>
                <a:cs typeface="Segoe UI" panose="020B0502040204020203" pitchFamily="34" charset="0"/>
              </a:rPr>
              <a:t>Laptop</a:t>
            </a:r>
          </a:p>
        </p:txBody>
      </p:sp>
      <p:pic>
        <p:nvPicPr>
          <p:cNvPr id="27" name="Picture 26"/>
          <p:cNvPicPr>
            <a:picLocks noChangeAspect="1"/>
          </p:cNvPicPr>
          <p:nvPr/>
        </p:nvPicPr>
        <p:blipFill rotWithShape="1">
          <a:blip r:embed="rId3" cstate="screen">
            <a:extLst>
              <a:ext uri="{28A0092B-C50C-407E-A947-70E740481C1C}">
                <a14:useLocalDpi xmlns:a14="http://schemas.microsoft.com/office/drawing/2010/main"/>
              </a:ext>
            </a:extLst>
          </a:blip>
          <a:srcRect r="10956" b="15432"/>
          <a:stretch/>
        </p:blipFill>
        <p:spPr>
          <a:xfrm>
            <a:off x="6024467" y="932183"/>
            <a:ext cx="1546899" cy="983917"/>
          </a:xfrm>
          <a:prstGeom prst="rect">
            <a:avLst/>
          </a:prstGeom>
        </p:spPr>
      </p:pic>
      <p:pic>
        <p:nvPicPr>
          <p:cNvPr id="29" name="Picture 2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17553" y="932184"/>
            <a:ext cx="1524395" cy="1121457"/>
          </a:xfrm>
          <a:prstGeom prst="rect">
            <a:avLst/>
          </a:prstGeom>
        </p:spPr>
      </p:pic>
      <p:pic>
        <p:nvPicPr>
          <p:cNvPr id="30" name="Picture 2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2717" y="932184"/>
            <a:ext cx="1497002" cy="957099"/>
          </a:xfrm>
          <a:prstGeom prst="rect">
            <a:avLst/>
          </a:prstGeom>
        </p:spPr>
      </p:pic>
      <p:pic>
        <p:nvPicPr>
          <p:cNvPr id="32" name="Picture 3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49055" y="932182"/>
            <a:ext cx="869151" cy="667384"/>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301" y="932182"/>
            <a:ext cx="594954" cy="579435"/>
          </a:xfrm>
          <a:prstGeom prst="rect">
            <a:avLst/>
          </a:prstGeom>
        </p:spPr>
      </p:pic>
      <p:pic>
        <p:nvPicPr>
          <p:cNvPr id="37" name="Picture 3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749580" y="932185"/>
            <a:ext cx="852133" cy="848797"/>
          </a:xfrm>
          <a:prstGeom prst="rect">
            <a:avLst/>
          </a:prstGeom>
        </p:spPr>
      </p:pic>
      <p:pic>
        <p:nvPicPr>
          <p:cNvPr id="38" name="Picture 3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009616" y="932184"/>
            <a:ext cx="1576562" cy="1015666"/>
          </a:xfrm>
          <a:prstGeom prst="rect">
            <a:avLst/>
          </a:prstGeom>
        </p:spPr>
      </p:pic>
      <p:sp>
        <p:nvSpPr>
          <p:cNvPr id="21" name="TextBox 20"/>
          <p:cNvSpPr txBox="1"/>
          <p:nvPr/>
        </p:nvSpPr>
        <p:spPr>
          <a:xfrm>
            <a:off x="5435443" y="4096544"/>
            <a:ext cx="665719"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Xbox</a:t>
            </a:r>
          </a:p>
        </p:txBody>
      </p:sp>
      <p:sp>
        <p:nvSpPr>
          <p:cNvPr id="22" name="TextBox 21"/>
          <p:cNvSpPr txBox="1"/>
          <p:nvPr/>
        </p:nvSpPr>
        <p:spPr>
          <a:xfrm>
            <a:off x="9890687" y="4096544"/>
            <a:ext cx="1224528"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IoT</a:t>
            </a:r>
          </a:p>
        </p:txBody>
      </p:sp>
      <p:sp>
        <p:nvSpPr>
          <p:cNvPr id="23" name="TextBox 22"/>
          <p:cNvSpPr txBox="1"/>
          <p:nvPr/>
        </p:nvSpPr>
        <p:spPr>
          <a:xfrm>
            <a:off x="2068714" y="4096544"/>
            <a:ext cx="1142183"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Surface Hub</a:t>
            </a:r>
          </a:p>
        </p:txBody>
      </p:sp>
      <p:grpSp>
        <p:nvGrpSpPr>
          <p:cNvPr id="24" name="Xbox"/>
          <p:cNvGrpSpPr/>
          <p:nvPr/>
        </p:nvGrpSpPr>
        <p:grpSpPr bwMode="ltGray">
          <a:xfrm>
            <a:off x="4777793" y="4360429"/>
            <a:ext cx="1989185" cy="1431110"/>
            <a:chOff x="8610991" y="1992417"/>
            <a:chExt cx="3186889" cy="2292792"/>
          </a:xfrm>
        </p:grpSpPr>
        <p:pic>
          <p:nvPicPr>
            <p:cNvPr id="33" name="Picture 3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35"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43" name="PPI"/>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ltGray">
          <a:xfrm>
            <a:off x="1204810" y="4367462"/>
            <a:ext cx="2869994" cy="1750947"/>
          </a:xfrm>
          <a:prstGeom prst="rect">
            <a:avLst/>
          </a:prstGeom>
        </p:spPr>
      </p:pic>
      <p:grpSp>
        <p:nvGrpSpPr>
          <p:cNvPr id="45" name="Group 44"/>
          <p:cNvGrpSpPr/>
          <p:nvPr/>
        </p:nvGrpSpPr>
        <p:grpSpPr>
          <a:xfrm>
            <a:off x="9960549" y="4364287"/>
            <a:ext cx="1093146" cy="619553"/>
            <a:chOff x="87532" y="3622341"/>
            <a:chExt cx="1116863" cy="632995"/>
          </a:xfrm>
        </p:grpSpPr>
        <p:sp>
          <p:nvSpPr>
            <p:cNvPr id="47" name="Rectangle 46"/>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97" tIns="143198" rIns="178997" bIns="143198" numCol="1" spcCol="0" rtlCol="0" fromWordArt="0" anchor="t" anchorCtr="0" forceAA="0" compatLnSpc="1">
              <a:prstTxWarp prst="textNoShape">
                <a:avLst/>
              </a:prstTxWarp>
              <a:noAutofit/>
            </a:bodyPr>
            <a:lstStyle/>
            <a:p>
              <a:pPr algn="ctr" defTabSz="912615">
                <a:lnSpc>
                  <a:spcPct val="90000"/>
                </a:lnSpc>
              </a:pPr>
              <a:endParaRPr lang="en-US" sz="235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53" name="Picture 52" descr="141215_B-hero_01.png"/>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314769" y="4358823"/>
            <a:ext cx="2195288" cy="866300"/>
          </a:xfrm>
          <a:prstGeom prst="rect">
            <a:avLst/>
          </a:prstGeom>
          <a:noFill/>
          <a:ln>
            <a:noFill/>
          </a:ln>
        </p:spPr>
      </p:pic>
      <p:sp>
        <p:nvSpPr>
          <p:cNvPr id="54" name="TextBox 53"/>
          <p:cNvSpPr txBox="1"/>
          <p:nvPr/>
        </p:nvSpPr>
        <p:spPr>
          <a:xfrm>
            <a:off x="7858771" y="4096544"/>
            <a:ext cx="1107288"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Holographic</a:t>
            </a:r>
          </a:p>
        </p:txBody>
      </p:sp>
      <p:sp>
        <p:nvSpPr>
          <p:cNvPr id="56" name="Rectangle 55"/>
          <p:cNvSpPr/>
          <p:nvPr/>
        </p:nvSpPr>
        <p:spPr bwMode="auto">
          <a:xfrm>
            <a:off x="6504" y="2530646"/>
            <a:ext cx="12178995" cy="92621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29" tIns="198744" rIns="248429" bIns="198744" numCol="1" spcCol="0" rtlCol="0" fromWordArt="0" anchor="t" anchorCtr="0" forceAA="0" compatLnSpc="1">
            <a:prstTxWarp prst="textNoShape">
              <a:avLst/>
            </a:prstTxWarp>
            <a:noAutofit/>
          </a:bodyPr>
          <a:lstStyle/>
          <a:p>
            <a:pPr algn="ctr" defTabSz="1266591">
              <a:lnSpc>
                <a:spcPct val="90000"/>
              </a:lnSpc>
            </a:pPr>
            <a:endParaRPr lang="en-US" sz="2398" kern="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2" name="Group 1"/>
          <p:cNvGrpSpPr/>
          <p:nvPr/>
        </p:nvGrpSpPr>
        <p:grpSpPr>
          <a:xfrm>
            <a:off x="5053156" y="1957265"/>
            <a:ext cx="2085692" cy="1973996"/>
            <a:chOff x="5052041" y="2528717"/>
            <a:chExt cx="2087919" cy="1976104"/>
          </a:xfrm>
        </p:grpSpPr>
        <p:sp>
          <p:nvSpPr>
            <p:cNvPr id="57"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nvGrpSpPr>
            <p:cNvPr id="58" name="Group 57"/>
            <p:cNvGrpSpPr/>
            <p:nvPr/>
          </p:nvGrpSpPr>
          <p:grpSpPr>
            <a:xfrm>
              <a:off x="5052041" y="2612844"/>
              <a:ext cx="2087919" cy="1807851"/>
              <a:chOff x="5052041" y="2485844"/>
              <a:chExt cx="2087919" cy="1807851"/>
            </a:xfrm>
          </p:grpSpPr>
          <p:sp>
            <p:nvSpPr>
              <p:cNvPr id="63"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nvGrpSpPr>
              <p:cNvPr id="64" name="Group 63"/>
              <p:cNvGrpSpPr/>
              <p:nvPr/>
            </p:nvGrpSpPr>
            <p:grpSpPr>
              <a:xfrm>
                <a:off x="5052041" y="2836625"/>
                <a:ext cx="2087919" cy="1066246"/>
                <a:chOff x="5052041" y="2836625"/>
                <a:chExt cx="2087919" cy="1066246"/>
              </a:xfrm>
            </p:grpSpPr>
            <p:sp>
              <p:nvSpPr>
                <p:cNvPr id="65" name="TextBox 35"/>
                <p:cNvSpPr txBox="1"/>
                <p:nvPr/>
              </p:nvSpPr>
              <p:spPr>
                <a:xfrm>
                  <a:off x="5052041" y="3644319"/>
                  <a:ext cx="2087919" cy="258552"/>
                </a:xfrm>
                <a:prstGeom prst="rect">
                  <a:avLst/>
                </a:prstGeom>
                <a:noFill/>
              </p:spPr>
              <p:txBody>
                <a:bodyPr wrap="square" lIns="0" tIns="0" rIns="0" bIns="0" rtlCol="0">
                  <a:spAutoFit/>
                </a:bodyPr>
                <a:lstStyle/>
                <a:p>
                  <a:pPr algn="ctr" defTabSz="913356">
                    <a:lnSpc>
                      <a:spcPct val="90000"/>
                    </a:lnSpc>
                  </a:pPr>
                  <a:r>
                    <a:rPr lang="en-US" sz="1865" kern="0" dirty="0">
                      <a:solidFill>
                        <a:prstClr val="white"/>
                      </a:solidFill>
                      <a:latin typeface="Segoe UI Light"/>
                      <a:cs typeface="Segoe UI Semibold" panose="020B0702040204020203" pitchFamily="34" charset="0"/>
                    </a:rPr>
                    <a:t>Windows 10</a:t>
                  </a:r>
                </a:p>
              </p:txBody>
            </p:sp>
            <p:sp>
              <p:nvSpPr>
                <p:cNvPr id="66"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790" tIns="60895" rIns="121790" bIns="60895" numCol="1" anchor="t" anchorCtr="0" compatLnSpc="1">
                  <a:prstTxWarp prst="textNoShape">
                    <a:avLst/>
                  </a:prstTxWarp>
                </a:bodyPr>
                <a:lstStyle/>
                <a:p>
                  <a:pPr defTabSz="913356"/>
                  <a:endParaRPr lang="en-US" sz="1865" kern="0">
                    <a:solidFill>
                      <a:srgbClr val="737373"/>
                    </a:solidFill>
                    <a:latin typeface="Segoe UI Light"/>
                  </a:endParaRPr>
                </a:p>
              </p:txBody>
            </p:sp>
          </p:grpSp>
        </p:grpSp>
      </p:grpSp>
    </p:spTree>
    <p:extLst>
      <p:ext uri="{BB962C8B-B14F-4D97-AF65-F5344CB8AC3E}">
        <p14:creationId xmlns:p14="http://schemas.microsoft.com/office/powerpoint/2010/main" val="2607684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nodeType="withEffect">
                                  <p:stCondLst>
                                    <p:cond delay="0"/>
                                  </p:stCondLst>
                                  <p:childTnLst>
                                    <p:animMotion origin="layout" path="M -0.03945 -0.00047 L -2.08333E-7 2.22222E-6 " pathEditMode="relative" rAng="0" ptsTypes="AA">
                                      <p:cBhvr>
                                        <p:cTn id="9" dur="600" fill="hold"/>
                                        <p:tgtEl>
                                          <p:spTgt spid="36"/>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10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par>
                                <p:cTn id="16" presetID="42" presetClass="path" presetSubtype="0" decel="100000" fill="hold" nodeType="withEffect">
                                  <p:stCondLst>
                                    <p:cond delay="100"/>
                                  </p:stCondLst>
                                  <p:childTnLst>
                                    <p:animMotion origin="layout" path="M -0.03946 -0.00046 L 3.33333E-6 7.40741E-7 " pathEditMode="relative" rAng="0" ptsTypes="AA">
                                      <p:cBhvr>
                                        <p:cTn id="17" dur="600" fill="hold"/>
                                        <p:tgtEl>
                                          <p:spTgt spid="32"/>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nodeType="withEffect">
                                  <p:stCondLst>
                                    <p:cond delay="20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42" presetClass="path" presetSubtype="0" decel="100000" fill="hold" nodeType="withEffect">
                                  <p:stCondLst>
                                    <p:cond delay="200"/>
                                  </p:stCondLst>
                                  <p:childTnLst>
                                    <p:animMotion origin="layout" path="M -0.03946 -0.00046 L 3.75E-6 -3.7037E-6 " pathEditMode="relative" rAng="0" ptsTypes="AA">
                                      <p:cBhvr>
                                        <p:cTn id="25" dur="600" fill="hold"/>
                                        <p:tgtEl>
                                          <p:spTgt spid="37"/>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nodeType="withEffect">
                                  <p:stCondLst>
                                    <p:cond delay="4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42" presetClass="path" presetSubtype="0" decel="100000" fill="hold" nodeType="withEffect">
                                  <p:stCondLst>
                                    <p:cond delay="400"/>
                                  </p:stCondLst>
                                  <p:childTnLst>
                                    <p:animMotion origin="layout" path="M -0.03945 -0.00046 L -1.25E-6 -4.07407E-6 " pathEditMode="relative" rAng="0" ptsTypes="AA">
                                      <p:cBhvr>
                                        <p:cTn id="33" dur="600" fill="hold"/>
                                        <p:tgtEl>
                                          <p:spTgt spid="30"/>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10" presetClass="entr" presetSubtype="0" fill="hold" nodeType="withEffect">
                                  <p:stCondLst>
                                    <p:cond delay="50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42" presetClass="path" presetSubtype="0" decel="100000" fill="hold" nodeType="withEffect">
                                  <p:stCondLst>
                                    <p:cond delay="500"/>
                                  </p:stCondLst>
                                  <p:childTnLst>
                                    <p:animMotion origin="layout" path="M -0.03945 -0.00047 L -2.08333E-6 2.59259E-6 " pathEditMode="relative" rAng="0" ptsTypes="AA">
                                      <p:cBhvr>
                                        <p:cTn id="41" dur="600" fill="hold"/>
                                        <p:tgtEl>
                                          <p:spTgt spid="27"/>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par>
                                <p:cTn id="45" presetID="10" presetClass="entr" presetSubtype="0" fill="hold" nodeType="withEffect">
                                  <p:stCondLst>
                                    <p:cond delay="6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42" presetClass="path" presetSubtype="0" decel="100000" fill="hold" nodeType="withEffect">
                                  <p:stCondLst>
                                    <p:cond delay="600"/>
                                  </p:stCondLst>
                                  <p:childTnLst>
                                    <p:animMotion origin="layout" path="M -0.03945 -0.00046 L 5E-6 -2.22222E-6 " pathEditMode="relative" rAng="0" ptsTypes="AA">
                                      <p:cBhvr>
                                        <p:cTn id="49" dur="600" fill="hold"/>
                                        <p:tgtEl>
                                          <p:spTgt spid="38"/>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70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42" presetClass="path" presetSubtype="0" decel="100000" fill="hold" nodeType="withEffect">
                                  <p:stCondLst>
                                    <p:cond delay="700"/>
                                  </p:stCondLst>
                                  <p:childTnLst>
                                    <p:animMotion origin="layout" path="M -0.03946 -0.00046 L 4.79167E-6 -1.11111E-6 " pathEditMode="relative" rAng="0" ptsTypes="AA">
                                      <p:cBhvr>
                                        <p:cTn id="57" dur="600" fill="hold"/>
                                        <p:tgtEl>
                                          <p:spTgt spid="29"/>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par>
                                <p:cTn id="61" presetID="10" presetClass="entr" presetSubtype="0" fill="hold" nodeType="withEffect">
                                  <p:stCondLst>
                                    <p:cond delay="70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par>
                                <p:cTn id="64" presetID="42" presetClass="path" presetSubtype="0" decel="30000" fill="hold" nodeType="withEffect">
                                  <p:stCondLst>
                                    <p:cond delay="500"/>
                                  </p:stCondLst>
                                  <p:childTnLst>
                                    <p:animMotion origin="layout" path="M -0.04909 0.00024 L 4.16667E-6 -4.81481E-6 " pathEditMode="relative" rAng="0" ptsTypes="AA">
                                      <p:cBhvr>
                                        <p:cTn id="65" dur="600" fill="hold"/>
                                        <p:tgtEl>
                                          <p:spTgt spid="43"/>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70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500"/>
                                        <p:tgtEl>
                                          <p:spTgt spid="24"/>
                                        </p:tgtEl>
                                      </p:cBhvr>
                                    </p:animEffect>
                                  </p:childTnLst>
                                </p:cTn>
                              </p:par>
                              <p:par>
                                <p:cTn id="72" presetID="42" presetClass="path" presetSubtype="0" decel="100000" fill="hold" nodeType="withEffect">
                                  <p:stCondLst>
                                    <p:cond delay="700"/>
                                  </p:stCondLst>
                                  <p:childTnLst>
                                    <p:animMotion origin="layout" path="M -0.03946 -0.00023 L 2.5E-6 2.22222E-6 " pathEditMode="relative" rAng="0" ptsTypes="AA">
                                      <p:cBhvr>
                                        <p:cTn id="73" dur="600" fill="hold"/>
                                        <p:tgtEl>
                                          <p:spTgt spid="24"/>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54"/>
                                        </p:tgtEl>
                                        <p:attrNameLst>
                                          <p:attrName>style.visibility</p:attrName>
                                        </p:attrNameLst>
                                      </p:cBhvr>
                                      <p:to>
                                        <p:strVal val="visible"/>
                                      </p:to>
                                    </p:set>
                                    <p:animEffect transition="in" filter="fade">
                                      <p:cBhvr>
                                        <p:cTn id="79" dur="500"/>
                                        <p:tgtEl>
                                          <p:spTgt spid="54"/>
                                        </p:tgtEl>
                                      </p:cBhvr>
                                    </p:animEffect>
                                  </p:childTnLst>
                                </p:cTn>
                              </p:par>
                              <p:par>
                                <p:cTn id="80" presetID="10" presetClass="entr" presetSubtype="0" fill="hold" nodeType="withEffect">
                                  <p:stCondLst>
                                    <p:cond delay="70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nodeType="withEffect">
                                  <p:stCondLst>
                                    <p:cond delay="700"/>
                                  </p:stCondLst>
                                  <p:childTnLst>
                                    <p:animMotion origin="layout" path="M -0.03945 -0.00023 L 6.25E-7 -2.96296E-6 " pathEditMode="relative" rAng="0" ptsTypes="AA">
                                      <p:cBhvr>
                                        <p:cTn id="84" dur="600" fill="hold"/>
                                        <p:tgtEl>
                                          <p:spTgt spid="45"/>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500"/>
                                        <p:tgtEl>
                                          <p:spTgt spid="22"/>
                                        </p:tgtEl>
                                      </p:cBhvr>
                                    </p:animEffect>
                                  </p:childTnLst>
                                </p:cTn>
                              </p:par>
                              <p:par>
                                <p:cTn id="88" presetID="10" presetClass="entr" presetSubtype="0" fill="hold" nodeType="withEffect">
                                  <p:stCondLst>
                                    <p:cond delay="700"/>
                                  </p:stCondLst>
                                  <p:childTnLst>
                                    <p:set>
                                      <p:cBhvr>
                                        <p:cTn id="89" dur="1" fill="hold">
                                          <p:stCondLst>
                                            <p:cond delay="0"/>
                                          </p:stCondLst>
                                        </p:cTn>
                                        <p:tgtEl>
                                          <p:spTgt spid="2"/>
                                        </p:tgtEl>
                                        <p:attrNameLst>
                                          <p:attrName>style.visibility</p:attrName>
                                        </p:attrNameLst>
                                      </p:cBhvr>
                                      <p:to>
                                        <p:strVal val="visible"/>
                                      </p:to>
                                    </p:set>
                                    <p:animEffect transition="in" filter="fade">
                                      <p:cBhvr>
                                        <p:cTn id="90" dur="500"/>
                                        <p:tgtEl>
                                          <p:spTgt spid="2"/>
                                        </p:tgtEl>
                                      </p:cBhvr>
                                    </p:animEffect>
                                  </p:childTnLst>
                                </p:cTn>
                              </p:par>
                              <p:par>
                                <p:cTn id="91" presetID="42" presetClass="path" presetSubtype="0" decel="100000" fill="hold" nodeType="withEffect">
                                  <p:stCondLst>
                                    <p:cond delay="700"/>
                                  </p:stCondLst>
                                  <p:childTnLst>
                                    <p:animMotion origin="layout" path="M -0.23685 3.33333E-6 L 0 3.33333E-6 " pathEditMode="relative" rAng="0" ptsTypes="AA">
                                      <p:cBhvr>
                                        <p:cTn id="92" dur="600" fill="hold"/>
                                        <p:tgtEl>
                                          <p:spTgt spid="2"/>
                                        </p:tgtEl>
                                        <p:attrNameLst>
                                          <p:attrName>ppt_x</p:attrName>
                                          <p:attrName>ppt_y</p:attrName>
                                        </p:attrNameLst>
                                      </p:cBhvr>
                                      <p:rCtr x="11836" y="0"/>
                                    </p:animMotion>
                                  </p:childTnLst>
                                </p:cTn>
                              </p:par>
                              <p:par>
                                <p:cTn id="93" presetID="10" presetClass="entr" presetSubtype="0" fill="hold" nodeType="withEffect">
                                  <p:stCondLst>
                                    <p:cond delay="700"/>
                                  </p:stCondLst>
                                  <p:childTnLst>
                                    <p:set>
                                      <p:cBhvr>
                                        <p:cTn id="94" dur="1" fill="hold">
                                          <p:stCondLst>
                                            <p:cond delay="0"/>
                                          </p:stCondLst>
                                        </p:cTn>
                                        <p:tgtEl>
                                          <p:spTgt spid="53"/>
                                        </p:tgtEl>
                                        <p:attrNameLst>
                                          <p:attrName>style.visibility</p:attrName>
                                        </p:attrNameLst>
                                      </p:cBhvr>
                                      <p:to>
                                        <p:strVal val="visible"/>
                                      </p:to>
                                    </p:set>
                                    <p:animEffect transition="in" filter="fade">
                                      <p:cBhvr>
                                        <p:cTn id="95" dur="500"/>
                                        <p:tgtEl>
                                          <p:spTgt spid="53"/>
                                        </p:tgtEl>
                                      </p:cBhvr>
                                    </p:animEffect>
                                  </p:childTnLst>
                                </p:cTn>
                              </p:par>
                              <p:par>
                                <p:cTn id="96" presetID="42" presetClass="path" presetSubtype="0" decel="100000" fill="hold" nodeType="withEffect">
                                  <p:stCondLst>
                                    <p:cond delay="700"/>
                                  </p:stCondLst>
                                  <p:childTnLst>
                                    <p:animMotion origin="layout" path="M -0.03945 -0.00023 L -4.375E-6 -2.59259E-6 " pathEditMode="relative" rAng="0" ptsTypes="AA">
                                      <p:cBhvr>
                                        <p:cTn id="97" dur="600" fill="hold"/>
                                        <p:tgtEl>
                                          <p:spTgt spid="53"/>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P spid="44" grpId="0"/>
      <p:bldP spid="48" grpId="0"/>
      <p:bldP spid="49" grpId="0"/>
      <p:bldP spid="21" grpId="0"/>
      <p:bldP spid="22" grpId="0"/>
      <p:bldP spid="23" grpId="0"/>
      <p:bldP spid="5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6504" y="2518467"/>
            <a:ext cx="12178995" cy="92621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29" tIns="198744" rIns="248429" bIns="198744" numCol="1" spcCol="0" rtlCol="0" fromWordArt="0" anchor="t" anchorCtr="0" forceAA="0" compatLnSpc="1">
            <a:prstTxWarp prst="textNoShape">
              <a:avLst/>
            </a:prstTxWarp>
            <a:noAutofit/>
          </a:bodyPr>
          <a:lstStyle/>
          <a:p>
            <a:pPr algn="ctr" defTabSz="1266591" fontAlgn="base">
              <a:lnSpc>
                <a:spcPct val="90000"/>
              </a:lnSpc>
              <a:spcBef>
                <a:spcPct val="0"/>
              </a:spcBef>
              <a:spcAft>
                <a:spcPct val="0"/>
              </a:spcAft>
            </a:pPr>
            <a:endParaRPr lang="en-US" sz="2398" kern="0" dirty="0" err="1">
              <a:gradFill>
                <a:gsLst>
                  <a:gs pos="2917">
                    <a:srgbClr val="737373"/>
                  </a:gs>
                  <a:gs pos="81000">
                    <a:srgbClr val="737373"/>
                  </a:gs>
                </a:gsLst>
                <a:lin ang="5400000" scaled="0"/>
              </a:gradFill>
              <a:ea typeface="Segoe UI" pitchFamily="34" charset="0"/>
              <a:cs typeface="Segoe UI" pitchFamily="34" charset="0"/>
            </a:endParaRPr>
          </a:p>
        </p:txBody>
      </p:sp>
      <p:sp>
        <p:nvSpPr>
          <p:cNvPr id="73" name="Back"/>
          <p:cNvSpPr/>
          <p:nvPr/>
        </p:nvSpPr>
        <p:spPr>
          <a:xfrm>
            <a:off x="767368" y="2973836"/>
            <a:ext cx="10687067" cy="138115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685" tIns="146148" rIns="182685" bIns="146148" numCol="1" spcCol="0" rtlCol="0" fromWordArt="0" anchor="t" anchorCtr="0" forceAA="0" compatLnSpc="1">
            <a:prstTxWarp prst="textNoShape">
              <a:avLst/>
            </a:prstTxWarp>
            <a:noAutofit/>
          </a:bodyPr>
          <a:lstStyle/>
          <a:p>
            <a:pPr algn="ctr" defTabSz="913356">
              <a:lnSpc>
                <a:spcPct val="90000"/>
              </a:lnSpc>
              <a:spcBef>
                <a:spcPts val="799"/>
              </a:spcBef>
            </a:pPr>
            <a:endParaRPr lang="en-US" sz="2663" kern="0" dirty="0" err="1">
              <a:solidFill>
                <a:prstClr val="white"/>
              </a:solidFill>
            </a:endParaRPr>
          </a:p>
        </p:txBody>
      </p:sp>
      <p:grpSp>
        <p:nvGrpSpPr>
          <p:cNvPr id="111" name="Group 110"/>
          <p:cNvGrpSpPr/>
          <p:nvPr/>
        </p:nvGrpSpPr>
        <p:grpSpPr>
          <a:xfrm>
            <a:off x="771498" y="2090296"/>
            <a:ext cx="10687067" cy="1735506"/>
            <a:chOff x="5107948" y="2528717"/>
            <a:chExt cx="1976104" cy="1976104"/>
          </a:xfrm>
        </p:grpSpPr>
        <p:sp>
          <p:nvSpPr>
            <p:cNvPr id="112"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116"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grpSp>
        <p:nvGrpSpPr>
          <p:cNvPr id="12" name="Group 11"/>
          <p:cNvGrpSpPr/>
          <p:nvPr/>
        </p:nvGrpSpPr>
        <p:grpSpPr>
          <a:xfrm>
            <a:off x="5109003" y="1945087"/>
            <a:ext cx="1973996" cy="1973996"/>
            <a:chOff x="5107948" y="2528717"/>
            <a:chExt cx="1976104" cy="1976104"/>
          </a:xfrm>
        </p:grpSpPr>
        <p:sp>
          <p:nvSpPr>
            <p:cNvPr id="80"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82"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grpSp>
        <p:nvGrpSpPr>
          <p:cNvPr id="96" name="Group 95"/>
          <p:cNvGrpSpPr/>
          <p:nvPr/>
        </p:nvGrpSpPr>
        <p:grpSpPr>
          <a:xfrm>
            <a:off x="757749" y="1809387"/>
            <a:ext cx="10705336" cy="2265293"/>
            <a:chOff x="5107948" y="2528717"/>
            <a:chExt cx="1976104" cy="1976104"/>
          </a:xfrm>
        </p:grpSpPr>
        <p:sp>
          <p:nvSpPr>
            <p:cNvPr id="98"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101"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sp>
        <p:nvSpPr>
          <p:cNvPr id="15" name="Rectangle 14"/>
          <p:cNvSpPr/>
          <p:nvPr/>
        </p:nvSpPr>
        <p:spPr>
          <a:xfrm>
            <a:off x="3839135" y="3014596"/>
            <a:ext cx="4513737" cy="543854"/>
          </a:xfrm>
          <a:prstGeom prst="rect">
            <a:avLst/>
          </a:prstGeom>
          <a:noFill/>
        </p:spPr>
        <p:txBody>
          <a:bodyPr wrap="none">
            <a:spAutoFit/>
          </a:bodyPr>
          <a:lstStyle/>
          <a:p>
            <a:pPr algn="ctr" defTabSz="1241876" fontAlgn="base">
              <a:lnSpc>
                <a:spcPct val="90000"/>
              </a:lnSpc>
              <a:spcBef>
                <a:spcPct val="0"/>
              </a:spcBef>
              <a:spcAft>
                <a:spcPct val="0"/>
              </a:spcAft>
              <a:defRPr/>
            </a:pPr>
            <a:r>
              <a:rPr lang="en-US" sz="3197" kern="0" dirty="0">
                <a:gradFill>
                  <a:gsLst>
                    <a:gs pos="0">
                      <a:srgbClr val="FFFFFF"/>
                    </a:gs>
                    <a:gs pos="100000">
                      <a:srgbClr val="FFFFFF"/>
                    </a:gs>
                  </a:gsLst>
                  <a:lin ang="5400000" scaled="0"/>
                </a:gradFill>
                <a:ea typeface="Segoe UI" pitchFamily="34" charset="0"/>
                <a:cs typeface="Segoe UI Light" panose="020B0502040204020203" pitchFamily="34" charset="0"/>
              </a:rPr>
              <a:t>Multiple device families</a:t>
            </a:r>
          </a:p>
        </p:txBody>
      </p:sp>
      <p:grpSp>
        <p:nvGrpSpPr>
          <p:cNvPr id="169" name="Group 168"/>
          <p:cNvGrpSpPr/>
          <p:nvPr/>
        </p:nvGrpSpPr>
        <p:grpSpPr>
          <a:xfrm>
            <a:off x="4697422" y="1870516"/>
            <a:ext cx="1338971" cy="758389"/>
            <a:chOff x="1327189" y="2777693"/>
            <a:chExt cx="1545714" cy="962072"/>
          </a:xfrm>
        </p:grpSpPr>
        <p:sp>
          <p:nvSpPr>
            <p:cNvPr id="170" name="Flowchart: Magnetic Disk 16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1" name="Oval 17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2" name="Rectangle 171"/>
            <p:cNvSpPr/>
            <p:nvPr/>
          </p:nvSpPr>
          <p:spPr>
            <a:xfrm>
              <a:off x="1868579" y="3230738"/>
              <a:ext cx="462934"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PC</a:t>
              </a:r>
            </a:p>
          </p:txBody>
        </p:sp>
      </p:grpSp>
      <p:grpSp>
        <p:nvGrpSpPr>
          <p:cNvPr id="179" name="Group 178"/>
          <p:cNvGrpSpPr/>
          <p:nvPr/>
        </p:nvGrpSpPr>
        <p:grpSpPr>
          <a:xfrm>
            <a:off x="6155611" y="1870516"/>
            <a:ext cx="1338971" cy="758389"/>
            <a:chOff x="1327189" y="2777693"/>
            <a:chExt cx="1545714" cy="962072"/>
          </a:xfrm>
        </p:grpSpPr>
        <p:sp>
          <p:nvSpPr>
            <p:cNvPr id="180" name="Flowchart: Magnetic Disk 17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1" name="Oval 18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2" name="Rectangle 181"/>
            <p:cNvSpPr/>
            <p:nvPr/>
          </p:nvSpPr>
          <p:spPr>
            <a:xfrm>
              <a:off x="1762563" y="3230738"/>
              <a:ext cx="674971"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XBox</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61" name="Group 160"/>
          <p:cNvGrpSpPr/>
          <p:nvPr/>
        </p:nvGrpSpPr>
        <p:grpSpPr>
          <a:xfrm>
            <a:off x="3186332" y="2028219"/>
            <a:ext cx="1338971" cy="758388"/>
            <a:chOff x="1327189" y="2777693"/>
            <a:chExt cx="1545714" cy="962072"/>
          </a:xfrm>
        </p:grpSpPr>
        <p:sp>
          <p:nvSpPr>
            <p:cNvPr id="162" name="Flowchart: Magnetic Disk 161"/>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3" name="Oval 162"/>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4" name="Rectangle 163"/>
            <p:cNvSpPr/>
            <p:nvPr/>
          </p:nvSpPr>
          <p:spPr>
            <a:xfrm>
              <a:off x="1666903" y="3230737"/>
              <a:ext cx="866288"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Mobile</a:t>
              </a:r>
            </a:p>
          </p:txBody>
        </p:sp>
      </p:grpSp>
      <p:grpSp>
        <p:nvGrpSpPr>
          <p:cNvPr id="187" name="Group 186"/>
          <p:cNvGrpSpPr/>
          <p:nvPr/>
        </p:nvGrpSpPr>
        <p:grpSpPr>
          <a:xfrm>
            <a:off x="7666701" y="2028217"/>
            <a:ext cx="1338971" cy="758389"/>
            <a:chOff x="1327189" y="2777693"/>
            <a:chExt cx="1545714" cy="962072"/>
          </a:xfrm>
        </p:grpSpPr>
        <p:sp>
          <p:nvSpPr>
            <p:cNvPr id="188" name="Flowchart: Magnetic Disk 187"/>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9" name="Oval 188"/>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0" name="Rectangle 189"/>
            <p:cNvSpPr/>
            <p:nvPr/>
          </p:nvSpPr>
          <p:spPr>
            <a:xfrm>
              <a:off x="1435530" y="3230739"/>
              <a:ext cx="1329039" cy="362944"/>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Surface Hub</a:t>
              </a:r>
            </a:p>
          </p:txBody>
        </p:sp>
      </p:grpSp>
      <p:grpSp>
        <p:nvGrpSpPr>
          <p:cNvPr id="108" name="Group 107"/>
          <p:cNvGrpSpPr/>
          <p:nvPr/>
        </p:nvGrpSpPr>
        <p:grpSpPr>
          <a:xfrm>
            <a:off x="6233192" y="1340062"/>
            <a:ext cx="1298388" cy="770458"/>
            <a:chOff x="7766687" y="2034058"/>
            <a:chExt cx="1235372" cy="764330"/>
          </a:xfrm>
        </p:grpSpPr>
        <p:pic>
          <p:nvPicPr>
            <p:cNvPr id="113" name="Xbox"/>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66687" y="2034058"/>
              <a:ext cx="1235372" cy="661905"/>
            </a:xfrm>
            <a:prstGeom prst="rect">
              <a:avLst/>
            </a:prstGeom>
          </p:spPr>
        </p:pic>
        <p:pic>
          <p:nvPicPr>
            <p:cNvPr id="114" name="Picture 1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8434332" y="2634892"/>
              <a:ext cx="351341" cy="91700"/>
            </a:xfrm>
            <a:prstGeom prst="rect">
              <a:avLst/>
            </a:prstGeom>
          </p:spPr>
        </p:pic>
        <p:pic>
          <p:nvPicPr>
            <p:cNvPr id="115" name="Xbox"/>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10002" y="2646993"/>
              <a:ext cx="246987" cy="151395"/>
            </a:xfrm>
            <a:prstGeom prst="rect">
              <a:avLst/>
            </a:prstGeom>
          </p:spPr>
        </p:pic>
      </p:grpSp>
      <p:grpSp>
        <p:nvGrpSpPr>
          <p:cNvPr id="192" name="Group 191"/>
          <p:cNvGrpSpPr/>
          <p:nvPr/>
        </p:nvGrpSpPr>
        <p:grpSpPr>
          <a:xfrm>
            <a:off x="9290314" y="2397298"/>
            <a:ext cx="1338971" cy="758388"/>
            <a:chOff x="1327189" y="2777693"/>
            <a:chExt cx="1545714" cy="962072"/>
          </a:xfrm>
        </p:grpSpPr>
        <p:sp>
          <p:nvSpPr>
            <p:cNvPr id="193" name="Flowchart: Magnetic Disk 192"/>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4" name="Oval 193"/>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5" name="Rectangle 194"/>
            <p:cNvSpPr/>
            <p:nvPr/>
          </p:nvSpPr>
          <p:spPr>
            <a:xfrm>
              <a:off x="1558664" y="3230737"/>
              <a:ext cx="1082767"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HoloLens</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pic>
        <p:nvPicPr>
          <p:cNvPr id="202" name="Picture 2" descr="https://compass-ssl.surface.com/assets/3e/22/3e22a8d7-25bd-473d-815a-f49e27c515cb.png#desktop-engagingmeetings-new.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642276" y="1350853"/>
            <a:ext cx="1518447" cy="81753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21" name="Group 120"/>
          <p:cNvGrpSpPr/>
          <p:nvPr/>
        </p:nvGrpSpPr>
        <p:grpSpPr>
          <a:xfrm>
            <a:off x="3245893" y="1759099"/>
            <a:ext cx="1382371" cy="533426"/>
            <a:chOff x="2735582" y="1816942"/>
            <a:chExt cx="1315282" cy="529185"/>
          </a:xfrm>
        </p:grpSpPr>
        <p:pic>
          <p:nvPicPr>
            <p:cNvPr id="122" name="2-in-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14948" y="1816942"/>
              <a:ext cx="872345" cy="526533"/>
            </a:xfrm>
            <a:prstGeom prst="rect">
              <a:avLst/>
            </a:prstGeom>
          </p:spPr>
        </p:pic>
        <p:pic>
          <p:nvPicPr>
            <p:cNvPr id="123" name="Small Tablet"/>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52157" y="1875768"/>
              <a:ext cx="598707" cy="470359"/>
            </a:xfrm>
            <a:prstGeom prst="rect">
              <a:avLst/>
            </a:prstGeom>
          </p:spPr>
        </p:pic>
        <p:grpSp>
          <p:nvGrpSpPr>
            <p:cNvPr id="124" name="Group 123"/>
            <p:cNvGrpSpPr/>
            <p:nvPr/>
          </p:nvGrpSpPr>
          <p:grpSpPr>
            <a:xfrm>
              <a:off x="2735582" y="1943038"/>
              <a:ext cx="396513" cy="386145"/>
              <a:chOff x="2733414" y="1895696"/>
              <a:chExt cx="487607" cy="474858"/>
            </a:xfrm>
          </p:grpSpPr>
          <p:pic>
            <p:nvPicPr>
              <p:cNvPr id="125" name="Phablet"/>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33414" y="1895696"/>
                <a:ext cx="432297" cy="423663"/>
              </a:xfrm>
              <a:prstGeom prst="rect">
                <a:avLst/>
              </a:prstGeom>
            </p:spPr>
          </p:pic>
          <p:pic>
            <p:nvPicPr>
              <p:cNvPr id="126" name="Phone"/>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89286" y="2045444"/>
                <a:ext cx="331735" cy="325110"/>
              </a:xfrm>
              <a:prstGeom prst="rect">
                <a:avLst/>
              </a:prstGeom>
            </p:spPr>
          </p:pic>
        </p:grpSp>
      </p:grpSp>
      <p:grpSp>
        <p:nvGrpSpPr>
          <p:cNvPr id="135" name="Group 134"/>
          <p:cNvGrpSpPr/>
          <p:nvPr/>
        </p:nvGrpSpPr>
        <p:grpSpPr>
          <a:xfrm>
            <a:off x="4780419" y="1450022"/>
            <a:ext cx="1343902" cy="731892"/>
            <a:chOff x="4538410" y="1456930"/>
            <a:chExt cx="1278681" cy="726073"/>
          </a:xfrm>
        </p:grpSpPr>
        <p:pic>
          <p:nvPicPr>
            <p:cNvPr id="136" name="Desktop"/>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5530" y="1456930"/>
              <a:ext cx="980238" cy="562600"/>
            </a:xfrm>
            <a:prstGeom prst="rect">
              <a:avLst/>
            </a:prstGeom>
          </p:spPr>
        </p:pic>
        <p:pic>
          <p:nvPicPr>
            <p:cNvPr id="137" name="2-in-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017494" y="1700384"/>
              <a:ext cx="799597" cy="482619"/>
            </a:xfrm>
            <a:prstGeom prst="rect">
              <a:avLst/>
            </a:prstGeom>
          </p:spPr>
        </p:pic>
        <p:pic>
          <p:nvPicPr>
            <p:cNvPr id="138" name="Laptop"/>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38410" y="1714822"/>
              <a:ext cx="623613" cy="375988"/>
            </a:xfrm>
            <a:prstGeom prst="rect">
              <a:avLst/>
            </a:prstGeom>
          </p:spPr>
        </p:pic>
      </p:grpSp>
      <p:pic>
        <p:nvPicPr>
          <p:cNvPr id="97" name="Picture 96" descr="141215_B-hero_01.png"/>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9603704" y="2255425"/>
            <a:ext cx="782238" cy="296058"/>
          </a:xfrm>
          <a:prstGeom prst="rect">
            <a:avLst/>
          </a:prstGeom>
          <a:noFill/>
          <a:ln>
            <a:noFill/>
          </a:ln>
        </p:spPr>
      </p:pic>
      <p:grpSp>
        <p:nvGrpSpPr>
          <p:cNvPr id="16" name="Group 15"/>
          <p:cNvGrpSpPr/>
          <p:nvPr/>
        </p:nvGrpSpPr>
        <p:grpSpPr>
          <a:xfrm>
            <a:off x="1594759" y="2397296"/>
            <a:ext cx="1338972" cy="758389"/>
            <a:chOff x="1327189" y="2777695"/>
            <a:chExt cx="1545714" cy="962076"/>
          </a:xfrm>
        </p:grpSpPr>
        <p:sp>
          <p:nvSpPr>
            <p:cNvPr id="141" name="Flowchart: Magnetic Disk 140"/>
            <p:cNvSpPr/>
            <p:nvPr/>
          </p:nvSpPr>
          <p:spPr bwMode="auto">
            <a:xfrm>
              <a:off x="1327189" y="2812564"/>
              <a:ext cx="1545714" cy="927207"/>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28" name="Oval 127"/>
            <p:cNvSpPr/>
            <p:nvPr/>
          </p:nvSpPr>
          <p:spPr bwMode="auto">
            <a:xfrm>
              <a:off x="1327189" y="2777695"/>
              <a:ext cx="1545714" cy="35180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3" name="Rectangle 12"/>
            <p:cNvSpPr/>
            <p:nvPr/>
          </p:nvSpPr>
          <p:spPr>
            <a:xfrm>
              <a:off x="1392144" y="3230737"/>
              <a:ext cx="1415811" cy="367856"/>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Devices +</a:t>
              </a: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IoT</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29" name="Group 128"/>
          <p:cNvGrpSpPr/>
          <p:nvPr/>
        </p:nvGrpSpPr>
        <p:grpSpPr>
          <a:xfrm>
            <a:off x="1738974" y="2258713"/>
            <a:ext cx="989187" cy="371869"/>
            <a:chOff x="1371004" y="2381442"/>
            <a:chExt cx="941178" cy="368913"/>
          </a:xfrm>
        </p:grpSpPr>
        <p:pic>
          <p:nvPicPr>
            <p:cNvPr id="130" name="IoT"/>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371004" y="2409666"/>
              <a:ext cx="553359" cy="326999"/>
            </a:xfrm>
            <a:prstGeom prst="rect">
              <a:avLst/>
            </a:prstGeom>
          </p:spPr>
        </p:pic>
        <p:pic>
          <p:nvPicPr>
            <p:cNvPr id="131" name="IoT"/>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70290" y="2381442"/>
              <a:ext cx="441892" cy="261130"/>
            </a:xfrm>
            <a:prstGeom prst="rect">
              <a:avLst/>
            </a:prstGeom>
          </p:spPr>
        </p:pic>
        <p:pic>
          <p:nvPicPr>
            <p:cNvPr id="132" name="Picture 13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624717" y="2463513"/>
              <a:ext cx="485404" cy="286842"/>
            </a:xfrm>
            <a:prstGeom prst="rect">
              <a:avLst/>
            </a:prstGeom>
          </p:spPr>
        </p:pic>
      </p:grpSp>
      <p:sp>
        <p:nvSpPr>
          <p:cNvPr id="110" name="TextBox 109"/>
          <p:cNvSpPr txBox="1"/>
          <p:nvPr/>
        </p:nvSpPr>
        <p:spPr>
          <a:xfrm>
            <a:off x="3275730" y="2954303"/>
            <a:ext cx="5501054" cy="672897"/>
          </a:xfrm>
          <a:prstGeom prst="rect">
            <a:avLst/>
          </a:prstGeom>
          <a:noFill/>
        </p:spPr>
        <p:txBody>
          <a:bodyPr wrap="square" lIns="137014" tIns="109610" rIns="137014" bIns="109610" rtlCol="0">
            <a:spAutoFit/>
          </a:bodyPr>
          <a:lstStyle/>
          <a:p>
            <a:pPr algn="ctr" defTabSz="913379">
              <a:lnSpc>
                <a:spcPct val="90000"/>
              </a:lnSpc>
              <a:spcBef>
                <a:spcPts val="599"/>
              </a:spcBef>
            </a:pPr>
            <a:r>
              <a:rPr lang="en-US" sz="3197" kern="0" dirty="0">
                <a:gradFill>
                  <a:gsLst>
                    <a:gs pos="0">
                      <a:srgbClr val="FFFFFF"/>
                    </a:gs>
                    <a:gs pos="100000">
                      <a:srgbClr val="FFFFFF"/>
                    </a:gs>
                  </a:gsLst>
                  <a:lin ang="5400000" scaled="0"/>
                </a:gradFill>
                <a:ea typeface="Segoe UI" pitchFamily="34" charset="0"/>
                <a:cs typeface="Segoe UI Light" panose="020B0502040204020203" pitchFamily="34" charset="0"/>
              </a:rPr>
              <a:t>Universal Apps</a:t>
            </a:r>
          </a:p>
        </p:txBody>
      </p:sp>
      <p:grpSp>
        <p:nvGrpSpPr>
          <p:cNvPr id="75" name="Store"/>
          <p:cNvGrpSpPr/>
          <p:nvPr/>
        </p:nvGrpSpPr>
        <p:grpSpPr>
          <a:xfrm>
            <a:off x="6888088" y="4171581"/>
            <a:ext cx="2243161" cy="746877"/>
            <a:chOff x="7574900" y="3506973"/>
            <a:chExt cx="1688884" cy="617595"/>
          </a:xfrm>
        </p:grpSpPr>
        <p:sp>
          <p:nvSpPr>
            <p:cNvPr id="76" name="TextBox 75"/>
            <p:cNvSpPr txBox="1"/>
            <p:nvPr/>
          </p:nvSpPr>
          <p:spPr>
            <a:xfrm>
              <a:off x="7853238" y="3506973"/>
              <a:ext cx="1410546" cy="617595"/>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One Store +</a:t>
              </a:r>
              <a:br>
                <a:rPr lang="en-US" sz="1599" kern="0" dirty="0">
                  <a:solidFill>
                    <a:srgbClr val="0078D7">
                      <a:lumMod val="20000"/>
                      <a:lumOff val="80000"/>
                    </a:srgbClr>
                  </a:solidFill>
                </a:rPr>
              </a:br>
              <a:r>
                <a:rPr lang="en-US" sz="1599" kern="0" dirty="0">
                  <a:solidFill>
                    <a:srgbClr val="0078D7">
                      <a:lumMod val="20000"/>
                      <a:lumOff val="80000"/>
                    </a:srgbClr>
                  </a:solidFill>
                </a:rPr>
                <a:t>One Dev Center</a:t>
              </a:r>
            </a:p>
          </p:txBody>
        </p:sp>
        <p:pic>
          <p:nvPicPr>
            <p:cNvPr id="77" name="Picture 7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574900" y="3586074"/>
              <a:ext cx="398014" cy="398014"/>
            </a:xfrm>
            <a:prstGeom prst="rect">
              <a:avLst/>
            </a:prstGeom>
          </p:spPr>
        </p:pic>
      </p:grpSp>
      <p:grpSp>
        <p:nvGrpSpPr>
          <p:cNvPr id="78" name="Legacy"/>
          <p:cNvGrpSpPr/>
          <p:nvPr/>
        </p:nvGrpSpPr>
        <p:grpSpPr>
          <a:xfrm>
            <a:off x="8699046" y="3871519"/>
            <a:ext cx="1523997" cy="972741"/>
            <a:chOff x="5616311" y="3984573"/>
            <a:chExt cx="1260204" cy="804363"/>
          </a:xfrm>
        </p:grpSpPr>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616311" y="4141357"/>
              <a:ext cx="310772" cy="310772"/>
            </a:xfrm>
            <a:prstGeom prst="rect">
              <a:avLst/>
            </a:prstGeom>
          </p:spPr>
        </p:pic>
        <p:sp>
          <p:nvSpPr>
            <p:cNvPr id="81" name="TextBox 80"/>
            <p:cNvSpPr txBox="1"/>
            <p:nvPr/>
          </p:nvSpPr>
          <p:spPr>
            <a:xfrm>
              <a:off x="5805420" y="3984573"/>
              <a:ext cx="1071095" cy="804363"/>
            </a:xfrm>
            <a:prstGeom prst="rect">
              <a:avLst/>
            </a:prstGeom>
            <a:noFill/>
          </p:spPr>
          <p:txBody>
            <a:bodyPr wrap="square" lIns="121790" tIns="146148" rIns="0" bIns="146148" rtlCol="0">
              <a:spAutoFit/>
            </a:bodyPr>
            <a:lstStyle/>
            <a:p>
              <a:pPr defTabSz="913356">
                <a:lnSpc>
                  <a:spcPct val="90000"/>
                </a:lnSpc>
                <a:spcBef>
                  <a:spcPts val="799"/>
                </a:spcBef>
              </a:pPr>
              <a:r>
                <a:rPr lang="en-US" sz="1599" kern="0" dirty="0">
                  <a:solidFill>
                    <a:srgbClr val="0078D7">
                      <a:lumMod val="20000"/>
                      <a:lumOff val="80000"/>
                    </a:srgbClr>
                  </a:solidFill>
                </a:rPr>
                <a:t>Reuse Existing Code</a:t>
              </a:r>
            </a:p>
          </p:txBody>
        </p:sp>
      </p:grpSp>
      <p:grpSp>
        <p:nvGrpSpPr>
          <p:cNvPr id="83" name="One SDK"/>
          <p:cNvGrpSpPr/>
          <p:nvPr/>
        </p:nvGrpSpPr>
        <p:grpSpPr>
          <a:xfrm>
            <a:off x="5247921" y="4318110"/>
            <a:ext cx="1807525" cy="746877"/>
            <a:chOff x="4428826" y="3733778"/>
            <a:chExt cx="1357092" cy="560756"/>
          </a:xfrm>
        </p:grpSpPr>
        <p:sp>
          <p:nvSpPr>
            <p:cNvPr id="84" name="TextBox 83"/>
            <p:cNvSpPr txBox="1"/>
            <p:nvPr/>
          </p:nvSpPr>
          <p:spPr>
            <a:xfrm>
              <a:off x="4608153" y="3733778"/>
              <a:ext cx="1177765" cy="560756"/>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One SDK + Tooling</a:t>
              </a:r>
            </a:p>
          </p:txBody>
        </p:sp>
        <p:pic>
          <p:nvPicPr>
            <p:cNvPr id="85" name="Picture 8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428826" y="3870990"/>
              <a:ext cx="283272" cy="283272"/>
            </a:xfrm>
            <a:prstGeom prst="rect">
              <a:avLst/>
            </a:prstGeom>
          </p:spPr>
        </p:pic>
      </p:grpSp>
      <p:grpSp>
        <p:nvGrpSpPr>
          <p:cNvPr id="86" name="Adaptive UI"/>
          <p:cNvGrpSpPr/>
          <p:nvPr/>
        </p:nvGrpSpPr>
        <p:grpSpPr>
          <a:xfrm>
            <a:off x="1531124" y="3861614"/>
            <a:ext cx="2054917" cy="746876"/>
            <a:chOff x="1274764" y="3263907"/>
            <a:chExt cx="1542833" cy="560755"/>
          </a:xfrm>
        </p:grpSpPr>
        <p:sp>
          <p:nvSpPr>
            <p:cNvPr id="87" name="TextBox 86"/>
            <p:cNvSpPr txBox="1"/>
            <p:nvPr/>
          </p:nvSpPr>
          <p:spPr>
            <a:xfrm>
              <a:off x="1592022" y="3263907"/>
              <a:ext cx="1225575" cy="560755"/>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Adaptive </a:t>
              </a:r>
              <a:br>
                <a:rPr lang="en-US" sz="1599" kern="0" dirty="0">
                  <a:solidFill>
                    <a:srgbClr val="0078D7">
                      <a:lumMod val="20000"/>
                      <a:lumOff val="80000"/>
                    </a:srgbClr>
                  </a:solidFill>
                </a:rPr>
              </a:br>
              <a:r>
                <a:rPr lang="en-US" sz="1599" kern="0" dirty="0">
                  <a:solidFill>
                    <a:srgbClr val="0078D7">
                      <a:lumMod val="20000"/>
                      <a:lumOff val="80000"/>
                    </a:srgbClr>
                  </a:solidFill>
                </a:rPr>
                <a:t>User Interface</a:t>
              </a:r>
            </a:p>
          </p:txBody>
        </p:sp>
        <p:grpSp>
          <p:nvGrpSpPr>
            <p:cNvPr id="88" name="Group 87"/>
            <p:cNvGrpSpPr/>
            <p:nvPr/>
          </p:nvGrpSpPr>
          <p:grpSpPr>
            <a:xfrm>
              <a:off x="1274764" y="3378776"/>
              <a:ext cx="394464" cy="314583"/>
              <a:chOff x="1274764" y="3378776"/>
              <a:chExt cx="394464" cy="314583"/>
            </a:xfrm>
          </p:grpSpPr>
          <p:pic>
            <p:nvPicPr>
              <p:cNvPr id="89" name="Picture 88"/>
              <p:cNvPicPr>
                <a:picLocks noChangeAspect="1"/>
              </p:cNvPicPr>
              <p:nvPr/>
            </p:nvPicPr>
            <p:blipFill>
              <a:blip r:embed="rId21"/>
              <a:stretch>
                <a:fillRect/>
              </a:stretch>
            </p:blipFill>
            <p:spPr>
              <a:xfrm>
                <a:off x="1274764" y="3467787"/>
                <a:ext cx="201185" cy="225572"/>
              </a:xfrm>
              <a:prstGeom prst="rect">
                <a:avLst/>
              </a:prstGeom>
            </p:spPr>
          </p:pic>
          <p:grpSp>
            <p:nvGrpSpPr>
              <p:cNvPr id="90" name="Group 89"/>
              <p:cNvGrpSpPr/>
              <p:nvPr/>
            </p:nvGrpSpPr>
            <p:grpSpPr>
              <a:xfrm>
                <a:off x="1382420" y="3378776"/>
                <a:ext cx="254030" cy="217742"/>
                <a:chOff x="1344320" y="3386396"/>
                <a:chExt cx="254030" cy="217742"/>
              </a:xfrm>
            </p:grpSpPr>
            <p:sp>
              <p:nvSpPr>
                <p:cNvPr id="92" name="Freeform 91"/>
                <p:cNvSpPr>
                  <a:spLocks noChangeAspect="1"/>
                </p:cNvSpPr>
                <p:nvPr/>
              </p:nvSpPr>
              <p:spPr bwMode="black">
                <a:xfrm>
                  <a:off x="1440120" y="3451768"/>
                  <a:ext cx="87438" cy="15237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121790" tIns="60895" rIns="121790" bIns="60895"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sz="2398" dirty="0">
                    <a:solidFill>
                      <a:srgbClr val="0078D7">
                        <a:lumMod val="20000"/>
                        <a:lumOff val="80000"/>
                      </a:srgbClr>
                    </a:solidFill>
                  </a:endParaRPr>
                </a:p>
              </p:txBody>
            </p:sp>
            <p:pic>
              <p:nvPicPr>
                <p:cNvPr id="93" name="Picture 92"/>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344320" y="3386396"/>
                  <a:ext cx="254030" cy="151623"/>
                </a:xfrm>
                <a:prstGeom prst="rect">
                  <a:avLst/>
                </a:prstGeom>
              </p:spPr>
            </p:pic>
          </p:grpSp>
          <p:pic>
            <p:nvPicPr>
              <p:cNvPr id="91" name="Picture 90"/>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551506" y="3565510"/>
                <a:ext cx="117722" cy="117722"/>
              </a:xfrm>
              <a:prstGeom prst="rect">
                <a:avLst/>
              </a:prstGeom>
            </p:spPr>
          </p:pic>
        </p:grpSp>
      </p:grpSp>
      <p:grpSp>
        <p:nvGrpSpPr>
          <p:cNvPr id="94" name="NUI"/>
          <p:cNvGrpSpPr/>
          <p:nvPr/>
        </p:nvGrpSpPr>
        <p:grpSpPr>
          <a:xfrm>
            <a:off x="3408018" y="4251811"/>
            <a:ext cx="1917488" cy="746877"/>
            <a:chOff x="2810595" y="3636234"/>
            <a:chExt cx="1439652" cy="560756"/>
          </a:xfrm>
        </p:grpSpPr>
        <p:sp>
          <p:nvSpPr>
            <p:cNvPr id="95" name="TextBox 94"/>
            <p:cNvSpPr txBox="1"/>
            <p:nvPr/>
          </p:nvSpPr>
          <p:spPr>
            <a:xfrm>
              <a:off x="2988031" y="3636234"/>
              <a:ext cx="1262216" cy="560756"/>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Natural</a:t>
              </a:r>
              <a:br>
                <a:rPr lang="en-US" sz="1599" kern="0" dirty="0">
                  <a:solidFill>
                    <a:srgbClr val="0078D7">
                      <a:lumMod val="20000"/>
                      <a:lumOff val="80000"/>
                    </a:srgbClr>
                  </a:solidFill>
                </a:rPr>
              </a:br>
              <a:r>
                <a:rPr lang="en-US" sz="1599" kern="0" dirty="0">
                  <a:solidFill>
                    <a:srgbClr val="0078D7">
                      <a:lumMod val="20000"/>
                      <a:lumOff val="80000"/>
                    </a:srgbClr>
                  </a:solidFill>
                </a:rPr>
                <a:t>User Inputs</a:t>
              </a:r>
            </a:p>
          </p:txBody>
        </p:sp>
        <p:grpSp>
          <p:nvGrpSpPr>
            <p:cNvPr id="99" name="Group 98"/>
            <p:cNvGrpSpPr/>
            <p:nvPr/>
          </p:nvGrpSpPr>
          <p:grpSpPr>
            <a:xfrm>
              <a:off x="2872036" y="3696660"/>
              <a:ext cx="228182" cy="328156"/>
              <a:chOff x="2027902" y="3831543"/>
              <a:chExt cx="251312" cy="361419"/>
            </a:xfrm>
          </p:grpSpPr>
          <p:sp>
            <p:nvSpPr>
              <p:cNvPr id="107" name="Freeform 106"/>
              <p:cNvSpPr>
                <a:spLocks noChangeAspect="1" noEditPoints="1"/>
              </p:cNvSpPr>
              <p:nvPr/>
            </p:nvSpPr>
            <p:spPr bwMode="black">
              <a:xfrm>
                <a:off x="2123890" y="4036288"/>
                <a:ext cx="155324" cy="156674"/>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124239" tIns="62119" rIns="124239" bIns="6211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sz="2398" dirty="0">
                  <a:solidFill>
                    <a:srgbClr val="0078D7">
                      <a:lumMod val="20000"/>
                      <a:lumOff val="80000"/>
                    </a:srgbClr>
                  </a:solidFill>
                </a:endParaRPr>
              </a:p>
            </p:txBody>
          </p:sp>
          <p:pic>
            <p:nvPicPr>
              <p:cNvPr id="109" name="Picture 10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027902" y="3831543"/>
                <a:ext cx="238516" cy="238516"/>
              </a:xfrm>
              <a:prstGeom prst="rect">
                <a:avLst/>
              </a:prstGeom>
            </p:spPr>
          </p:pic>
        </p:grpSp>
        <p:pic>
          <p:nvPicPr>
            <p:cNvPr id="100" name="Picture 99"/>
            <p:cNvPicPr>
              <a:picLocks noChangeAspect="1"/>
            </p:cNvPicPr>
            <p:nvPr/>
          </p:nvPicPr>
          <p:blipFill>
            <a:blip r:embed="rId25"/>
            <a:stretch>
              <a:fillRect/>
            </a:stretch>
          </p:blipFill>
          <p:spPr>
            <a:xfrm>
              <a:off x="2810595" y="3879352"/>
              <a:ext cx="172085" cy="142585"/>
            </a:xfrm>
            <a:prstGeom prst="rect">
              <a:avLst/>
            </a:prstGeom>
          </p:spPr>
        </p:pic>
      </p:grpSp>
      <p:grpSp>
        <p:nvGrpSpPr>
          <p:cNvPr id="206" name="Xbox"/>
          <p:cNvGrpSpPr/>
          <p:nvPr/>
        </p:nvGrpSpPr>
        <p:grpSpPr bwMode="ltGray">
          <a:xfrm>
            <a:off x="4777793" y="4348250"/>
            <a:ext cx="1989185" cy="1431110"/>
            <a:chOff x="8610991" y="1992417"/>
            <a:chExt cx="3186889" cy="2292792"/>
          </a:xfrm>
        </p:grpSpPr>
        <p:pic>
          <p:nvPicPr>
            <p:cNvPr id="207" name="Picture 206"/>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208" name="Picture 20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209" name="Picture 2"/>
            <p:cNvPicPr>
              <a:picLocks noChangeAspect="1" noChangeArrowheads="1"/>
            </p:cNvPicPr>
            <p:nvPr/>
          </p:nvPicPr>
          <p:blipFill>
            <a:blip r:embed="rId28"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210" name="PPI"/>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bwMode="ltGray">
          <a:xfrm>
            <a:off x="1204810" y="4355284"/>
            <a:ext cx="2869994" cy="1750947"/>
          </a:xfrm>
          <a:prstGeom prst="rect">
            <a:avLst/>
          </a:prstGeom>
        </p:spPr>
      </p:pic>
      <p:pic>
        <p:nvPicPr>
          <p:cNvPr id="214" name="Picture 213" descr="141215_B-hero_01.png"/>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7314769" y="4346643"/>
            <a:ext cx="2195288" cy="866300"/>
          </a:xfrm>
          <a:prstGeom prst="rect">
            <a:avLst/>
          </a:prstGeom>
          <a:noFill/>
          <a:ln>
            <a:noFill/>
          </a:ln>
        </p:spPr>
      </p:pic>
      <p:grpSp>
        <p:nvGrpSpPr>
          <p:cNvPr id="211" name="Group 210"/>
          <p:cNvGrpSpPr/>
          <p:nvPr/>
        </p:nvGrpSpPr>
        <p:grpSpPr>
          <a:xfrm>
            <a:off x="9960549" y="4352108"/>
            <a:ext cx="1093146" cy="619553"/>
            <a:chOff x="87532" y="3622341"/>
            <a:chExt cx="1116863" cy="632995"/>
          </a:xfrm>
        </p:grpSpPr>
        <p:sp>
          <p:nvSpPr>
            <p:cNvPr id="213" name="Rectangle 212"/>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97" tIns="143198" rIns="178997" bIns="143198" numCol="1" spcCol="0" rtlCol="0" fromWordArt="0" anchor="t" anchorCtr="0" forceAA="0" compatLnSpc="1">
              <a:prstTxWarp prst="textNoShape">
                <a:avLst/>
              </a:prstTxWarp>
              <a:noAutofit/>
            </a:bodyPr>
            <a:lstStyle/>
            <a:p>
              <a:pPr algn="ctr" defTabSz="912615" fontAlgn="base">
                <a:lnSpc>
                  <a:spcPct val="90000"/>
                </a:lnSpc>
                <a:spcBef>
                  <a:spcPct val="0"/>
                </a:spcBef>
                <a:spcAft>
                  <a:spcPct val="0"/>
                </a:spcAft>
              </a:pPr>
              <a:endParaRPr lang="en-US" sz="235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2" name="Picture 211"/>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72" name="Picture 7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67" y="920004"/>
            <a:ext cx="1546899" cy="983917"/>
          </a:xfrm>
          <a:prstGeom prst="rect">
            <a:avLst/>
          </a:prstGeom>
        </p:spPr>
      </p:pic>
      <p:pic>
        <p:nvPicPr>
          <p:cNvPr id="102" name="Picture 10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67" y="920004"/>
            <a:ext cx="1546899" cy="983917"/>
          </a:xfrm>
          <a:prstGeom prst="rect">
            <a:avLst/>
          </a:prstGeom>
        </p:spPr>
      </p:pic>
      <p:pic>
        <p:nvPicPr>
          <p:cNvPr id="103" name="Picture 102"/>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017553" y="920005"/>
            <a:ext cx="1524395" cy="1121457"/>
          </a:xfrm>
          <a:prstGeom prst="rect">
            <a:avLst/>
          </a:prstGeom>
        </p:spPr>
      </p:pic>
      <p:pic>
        <p:nvPicPr>
          <p:cNvPr id="104" name="Picture 103"/>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062717" y="920005"/>
            <a:ext cx="1497002" cy="957099"/>
          </a:xfrm>
          <a:prstGeom prst="rect">
            <a:avLst/>
          </a:prstGeom>
        </p:spPr>
      </p:pic>
      <p:pic>
        <p:nvPicPr>
          <p:cNvPr id="105" name="Picture 104"/>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449055" y="920002"/>
            <a:ext cx="869151" cy="667384"/>
          </a:xfrm>
          <a:prstGeom prst="rect">
            <a:avLst/>
          </a:prstGeom>
        </p:spPr>
      </p:pic>
      <p:pic>
        <p:nvPicPr>
          <p:cNvPr id="106" name="Picture 105"/>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72301" y="920004"/>
            <a:ext cx="594954" cy="579435"/>
          </a:xfrm>
          <a:prstGeom prst="rect">
            <a:avLst/>
          </a:prstGeom>
        </p:spPr>
      </p:pic>
      <p:pic>
        <p:nvPicPr>
          <p:cNvPr id="139" name="Picture 138"/>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2749580" y="920006"/>
            <a:ext cx="852133" cy="848797"/>
          </a:xfrm>
          <a:prstGeom prst="rect">
            <a:avLst/>
          </a:prstGeom>
        </p:spPr>
      </p:pic>
      <p:pic>
        <p:nvPicPr>
          <p:cNvPr id="140" name="Picture 139"/>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8009616" y="920005"/>
            <a:ext cx="1576562" cy="1015666"/>
          </a:xfrm>
          <a:prstGeom prst="rect">
            <a:avLst/>
          </a:prstGeom>
        </p:spPr>
      </p:pic>
      <p:sp>
        <p:nvSpPr>
          <p:cNvPr id="119" name="TextBox 118"/>
          <p:cNvSpPr txBox="1"/>
          <p:nvPr/>
        </p:nvSpPr>
        <p:spPr>
          <a:xfrm>
            <a:off x="2972485" y="5207094"/>
            <a:ext cx="6344427" cy="672897"/>
          </a:xfrm>
          <a:prstGeom prst="rect">
            <a:avLst/>
          </a:prstGeom>
          <a:noFill/>
        </p:spPr>
        <p:txBody>
          <a:bodyPr wrap="none" lIns="137014" tIns="109610" rIns="137014" bIns="109610" rtlCol="0">
            <a:spAutoFit/>
          </a:bodyPr>
          <a:lstStyle/>
          <a:p>
            <a:pPr defTabSz="913379">
              <a:lnSpc>
                <a:spcPct val="90000"/>
              </a:lnSpc>
              <a:spcBef>
                <a:spcPts val="599"/>
              </a:spcBef>
            </a:pPr>
            <a:r>
              <a:rPr lang="en-US" sz="3197" kern="0" dirty="0">
                <a:solidFill>
                  <a:srgbClr val="0070C0"/>
                </a:solidFill>
                <a:ea typeface="Segoe UI" pitchFamily="34" charset="0"/>
                <a:cs typeface="Segoe UI Light" panose="020B0502040204020203" pitchFamily="34" charset="0"/>
              </a:rPr>
              <a:t>One Universal Windows Platform</a:t>
            </a:r>
          </a:p>
        </p:txBody>
      </p:sp>
    </p:spTree>
    <p:extLst>
      <p:ext uri="{BB962C8B-B14F-4D97-AF65-F5344CB8AC3E}">
        <p14:creationId xmlns:p14="http://schemas.microsoft.com/office/powerpoint/2010/main" val="3875341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1" presetClass="exit" presetSubtype="0" fill="hold" nodeType="withEffect">
                                  <p:stCondLst>
                                    <p:cond delay="1000"/>
                                  </p:stCondLst>
                                  <p:childTnLst>
                                    <p:set>
                                      <p:cBhvr>
                                        <p:cTn id="8" dur="1" fill="hold">
                                          <p:stCondLst>
                                            <p:cond delay="0"/>
                                          </p:stCondLst>
                                        </p:cTn>
                                        <p:tgtEl>
                                          <p:spTgt spid="12"/>
                                        </p:tgtEl>
                                        <p:attrNameLst>
                                          <p:attrName>style.visibility</p:attrName>
                                        </p:attrNameLst>
                                      </p:cBhvr>
                                      <p:to>
                                        <p:strVal val="hidden"/>
                                      </p:to>
                                    </p:set>
                                  </p:childTnLst>
                                </p:cTn>
                              </p:par>
                              <p:par>
                                <p:cTn id="9" presetID="6" presetClass="emph" presetSubtype="0" decel="59000" autoRev="1" fill="hold" nodeType="withEffect">
                                  <p:stCondLst>
                                    <p:cond delay="0"/>
                                  </p:stCondLst>
                                  <p:childTnLst>
                                    <p:animScale>
                                      <p:cBhvr>
                                        <p:cTn id="10" dur="1000" fill="hold"/>
                                        <p:tgtEl>
                                          <p:spTgt spid="96"/>
                                        </p:tgtEl>
                                      </p:cBhvr>
                                      <p:by x="18000" y="100000"/>
                                    </p:animScale>
                                  </p:childTnLst>
                                </p:cTn>
                              </p:par>
                              <p:par>
                                <p:cTn id="11" presetID="6" presetClass="emph" presetSubtype="0" decel="59000" autoRev="1" fill="hold" nodeType="withEffect">
                                  <p:stCondLst>
                                    <p:cond delay="0"/>
                                  </p:stCondLst>
                                  <p:childTnLst>
                                    <p:animScale>
                                      <p:cBhvr>
                                        <p:cTn id="12" dur="1000" fill="hold"/>
                                        <p:tgtEl>
                                          <p:spTgt spid="96"/>
                                        </p:tgtEl>
                                      </p:cBhvr>
                                      <p:by x="100000" y="87000"/>
                                    </p:animScale>
                                  </p:childTnLst>
                                </p:cTn>
                              </p:par>
                            </p:childTnLst>
                          </p:cTn>
                        </p:par>
                        <p:par>
                          <p:cTn id="13" fill="hold">
                            <p:stCondLst>
                              <p:cond delay="2000"/>
                            </p:stCondLst>
                            <p:childTnLst>
                              <p:par>
                                <p:cTn id="14" presetID="6" presetClass="emph" presetSubtype="0" fill="hold" nodeType="afterEffect">
                                  <p:stCondLst>
                                    <p:cond delay="0"/>
                                  </p:stCondLst>
                                  <p:childTnLst>
                                    <p:animScale>
                                      <p:cBhvr>
                                        <p:cTn id="15" dur="1000" fill="hold"/>
                                        <p:tgtEl>
                                          <p:spTgt spid="96"/>
                                        </p:tgtEl>
                                      </p:cBhvr>
                                      <p:by x="100000" y="80000"/>
                                    </p:animScale>
                                  </p:childTnLst>
                                </p:cTn>
                              </p:par>
                              <p:par>
                                <p:cTn id="16" presetID="10" presetClass="exit" presetSubtype="0" fill="hold" grpId="0" nodeType="withEffect">
                                  <p:stCondLst>
                                    <p:cond delay="0"/>
                                  </p:stCondLst>
                                  <p:childTnLst>
                                    <p:animEffect transition="out" filter="fade">
                                      <p:cBhvr>
                                        <p:cTn id="17" dur="1000"/>
                                        <p:tgtEl>
                                          <p:spTgt spid="71"/>
                                        </p:tgtEl>
                                      </p:cBhvr>
                                    </p:animEffect>
                                    <p:set>
                                      <p:cBhvr>
                                        <p:cTn id="18" dur="1" fill="hold">
                                          <p:stCondLst>
                                            <p:cond delay="999"/>
                                          </p:stCondLst>
                                        </p:cTn>
                                        <p:tgtEl>
                                          <p:spTgt spid="7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par>
                                <p:cTn id="27" presetID="42" presetClass="path" presetSubtype="0" accel="50000" decel="50000" fill="hold" nodeType="withEffect">
                                  <p:stCondLst>
                                    <p:cond delay="0"/>
                                  </p:stCondLst>
                                  <p:childTnLst>
                                    <p:animMotion origin="layout" path="M 6.25E-7 2.22222E-6 L -0.67318 -0.32894 " pathEditMode="relative" rAng="0" ptsTypes="AA">
                                      <p:cBhvr>
                                        <p:cTn id="28" dur="1000" fill="hold"/>
                                        <p:tgtEl>
                                          <p:spTgt spid="211"/>
                                        </p:tgtEl>
                                        <p:attrNameLst>
                                          <p:attrName>ppt_x</p:attrName>
                                          <p:attrName>ppt_y</p:attrName>
                                        </p:attrNameLst>
                                      </p:cBhvr>
                                      <p:rCtr x="-33659" y="-16458"/>
                                    </p:animMotion>
                                  </p:childTnLst>
                                </p:cTn>
                              </p:par>
                              <p:par>
                                <p:cTn id="29" presetID="10" presetClass="exit" presetSubtype="0" fill="hold" nodeType="withEffect">
                                  <p:stCondLst>
                                    <p:cond delay="0"/>
                                  </p:stCondLst>
                                  <p:childTnLst>
                                    <p:animEffect transition="out" filter="fade">
                                      <p:cBhvr>
                                        <p:cTn id="30" dur="1000"/>
                                        <p:tgtEl>
                                          <p:spTgt spid="211"/>
                                        </p:tgtEl>
                                      </p:cBhvr>
                                    </p:animEffect>
                                    <p:set>
                                      <p:cBhvr>
                                        <p:cTn id="31" dur="1" fill="hold">
                                          <p:stCondLst>
                                            <p:cond delay="999"/>
                                          </p:stCondLst>
                                        </p:cTn>
                                        <p:tgtEl>
                                          <p:spTgt spid="211"/>
                                        </p:tgtEl>
                                        <p:attrNameLst>
                                          <p:attrName>style.visibility</p:attrName>
                                        </p:attrNameLst>
                                      </p:cBhvr>
                                      <p:to>
                                        <p:strVal val="hidden"/>
                                      </p:to>
                                    </p:set>
                                  </p:childTnLst>
                                </p:cTn>
                              </p:par>
                              <p:par>
                                <p:cTn id="32" presetID="6" presetClass="emph" presetSubtype="0" fill="hold" nodeType="withEffect">
                                  <p:stCondLst>
                                    <p:cond delay="0"/>
                                  </p:stCondLst>
                                  <p:childTnLst>
                                    <p:animScale>
                                      <p:cBhvr>
                                        <p:cTn id="33" dur="1000" fill="hold"/>
                                        <p:tgtEl>
                                          <p:spTgt spid="211"/>
                                        </p:tgtEl>
                                      </p:cBhvr>
                                      <p:by x="50000" y="50000"/>
                                    </p:animScale>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childTnLst>
                          </p:cTn>
                        </p:par>
                        <p:par>
                          <p:cTn id="38" fill="hold">
                            <p:stCondLst>
                              <p:cond delay="2000"/>
                            </p:stCondLst>
                            <p:childTnLst>
                              <p:par>
                                <p:cTn id="39" presetID="22" presetClass="entr" presetSubtype="4" fill="hold" nodeType="afterEffect">
                                  <p:stCondLst>
                                    <p:cond delay="0"/>
                                  </p:stCondLst>
                                  <p:childTnLst>
                                    <p:set>
                                      <p:cBhvr>
                                        <p:cTn id="40" dur="1" fill="hold">
                                          <p:stCondLst>
                                            <p:cond delay="0"/>
                                          </p:stCondLst>
                                        </p:cTn>
                                        <p:tgtEl>
                                          <p:spTgt spid="161"/>
                                        </p:tgtEl>
                                        <p:attrNameLst>
                                          <p:attrName>style.visibility</p:attrName>
                                        </p:attrNameLst>
                                      </p:cBhvr>
                                      <p:to>
                                        <p:strVal val="visible"/>
                                      </p:to>
                                    </p:set>
                                    <p:animEffect transition="in" filter="wipe(down)">
                                      <p:cBhvr>
                                        <p:cTn id="41" dur="500"/>
                                        <p:tgtEl>
                                          <p:spTgt spid="161"/>
                                        </p:tgtEl>
                                      </p:cBhvr>
                                    </p:animEffect>
                                  </p:childTnLst>
                                </p:cTn>
                              </p:par>
                              <p:par>
                                <p:cTn id="42" presetID="42" presetClass="path" presetSubtype="0" accel="50000" decel="50000" fill="hold" nodeType="withEffect">
                                  <p:stCondLst>
                                    <p:cond delay="0"/>
                                  </p:stCondLst>
                                  <p:childTnLst>
                                    <p:animMotion origin="layout" path="M -2.08333E-7 -2.59259E-6 L 0.25182 0.11528 " pathEditMode="relative" rAng="0" ptsTypes="AA">
                                      <p:cBhvr>
                                        <p:cTn id="43" dur="1000" fill="hold"/>
                                        <p:tgtEl>
                                          <p:spTgt spid="106"/>
                                        </p:tgtEl>
                                        <p:attrNameLst>
                                          <p:attrName>ppt_x</p:attrName>
                                          <p:attrName>ppt_y</p:attrName>
                                        </p:attrNameLst>
                                      </p:cBhvr>
                                      <p:rCtr x="12591" y="5764"/>
                                    </p:animMotion>
                                  </p:childTnLst>
                                </p:cTn>
                              </p:par>
                              <p:par>
                                <p:cTn id="44" presetID="10" presetClass="exit" presetSubtype="0" fill="hold" nodeType="withEffect">
                                  <p:stCondLst>
                                    <p:cond delay="0"/>
                                  </p:stCondLst>
                                  <p:childTnLst>
                                    <p:animEffect transition="out" filter="fade">
                                      <p:cBhvr>
                                        <p:cTn id="45" dur="1000"/>
                                        <p:tgtEl>
                                          <p:spTgt spid="106"/>
                                        </p:tgtEl>
                                      </p:cBhvr>
                                    </p:animEffect>
                                    <p:set>
                                      <p:cBhvr>
                                        <p:cTn id="46" dur="1" fill="hold">
                                          <p:stCondLst>
                                            <p:cond delay="999"/>
                                          </p:stCondLst>
                                        </p:cTn>
                                        <p:tgtEl>
                                          <p:spTgt spid="106"/>
                                        </p:tgtEl>
                                        <p:attrNameLst>
                                          <p:attrName>style.visibility</p:attrName>
                                        </p:attrNameLst>
                                      </p:cBhvr>
                                      <p:to>
                                        <p:strVal val="hidden"/>
                                      </p:to>
                                    </p:set>
                                  </p:childTnLst>
                                </p:cTn>
                              </p:par>
                              <p:par>
                                <p:cTn id="47" presetID="42" presetClass="path" presetSubtype="0" accel="50000" decel="50000" fill="hold" nodeType="withEffect">
                                  <p:stCondLst>
                                    <p:cond delay="0"/>
                                  </p:stCondLst>
                                  <p:childTnLst>
                                    <p:animMotion origin="layout" path="M 3.33333E-6 -2.59259E-6 L 0.15612 0.10602 " pathEditMode="relative" rAng="0" ptsTypes="AA">
                                      <p:cBhvr>
                                        <p:cTn id="48" dur="1000" fill="hold"/>
                                        <p:tgtEl>
                                          <p:spTgt spid="105"/>
                                        </p:tgtEl>
                                        <p:attrNameLst>
                                          <p:attrName>ppt_x</p:attrName>
                                          <p:attrName>ppt_y</p:attrName>
                                        </p:attrNameLst>
                                      </p:cBhvr>
                                      <p:rCtr x="7799" y="5301"/>
                                    </p:animMotion>
                                  </p:childTnLst>
                                </p:cTn>
                              </p:par>
                              <p:par>
                                <p:cTn id="49" presetID="10" presetClass="exit" presetSubtype="0" fill="hold" nodeType="withEffect">
                                  <p:stCondLst>
                                    <p:cond delay="0"/>
                                  </p:stCondLst>
                                  <p:childTnLst>
                                    <p:animEffect transition="out" filter="fade">
                                      <p:cBhvr>
                                        <p:cTn id="50" dur="1000"/>
                                        <p:tgtEl>
                                          <p:spTgt spid="105"/>
                                        </p:tgtEl>
                                      </p:cBhvr>
                                    </p:animEffect>
                                    <p:set>
                                      <p:cBhvr>
                                        <p:cTn id="51" dur="1" fill="hold">
                                          <p:stCondLst>
                                            <p:cond delay="999"/>
                                          </p:stCondLst>
                                        </p:cTn>
                                        <p:tgtEl>
                                          <p:spTgt spid="105"/>
                                        </p:tgtEl>
                                        <p:attrNameLst>
                                          <p:attrName>style.visibility</p:attrName>
                                        </p:attrNameLst>
                                      </p:cBhvr>
                                      <p:to>
                                        <p:strVal val="hidden"/>
                                      </p:to>
                                    </p:set>
                                  </p:childTnLst>
                                </p:cTn>
                              </p:par>
                              <p:par>
                                <p:cTn id="52" presetID="42" presetClass="path" presetSubtype="0" accel="50000" decel="50000" fill="hold" nodeType="withEffect">
                                  <p:stCondLst>
                                    <p:cond delay="0"/>
                                  </p:stCondLst>
                                  <p:childTnLst>
                                    <p:animMotion origin="layout" path="M 3.75E-6 1.48148E-6 L 0.04922 0.08727 " pathEditMode="relative" rAng="0" ptsTypes="AA">
                                      <p:cBhvr>
                                        <p:cTn id="53" dur="1000" fill="hold"/>
                                        <p:tgtEl>
                                          <p:spTgt spid="139"/>
                                        </p:tgtEl>
                                        <p:attrNameLst>
                                          <p:attrName>ppt_x</p:attrName>
                                          <p:attrName>ppt_y</p:attrName>
                                        </p:attrNameLst>
                                      </p:cBhvr>
                                      <p:rCtr x="2461" y="4352"/>
                                    </p:animMotion>
                                  </p:childTnLst>
                                </p:cTn>
                              </p:par>
                              <p:par>
                                <p:cTn id="54" presetID="10" presetClass="exit" presetSubtype="0" fill="hold" nodeType="withEffect">
                                  <p:stCondLst>
                                    <p:cond delay="0"/>
                                  </p:stCondLst>
                                  <p:childTnLst>
                                    <p:animEffect transition="out" filter="fade">
                                      <p:cBhvr>
                                        <p:cTn id="55" dur="1000"/>
                                        <p:tgtEl>
                                          <p:spTgt spid="139"/>
                                        </p:tgtEl>
                                      </p:cBhvr>
                                    </p:animEffect>
                                    <p:set>
                                      <p:cBhvr>
                                        <p:cTn id="56" dur="1" fill="hold">
                                          <p:stCondLst>
                                            <p:cond delay="999"/>
                                          </p:stCondLst>
                                        </p:cTn>
                                        <p:tgtEl>
                                          <p:spTgt spid="139"/>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1.25E-6 1.11111E-6 L -0.06875 0.08356 " pathEditMode="relative" rAng="0" ptsTypes="AA">
                                      <p:cBhvr>
                                        <p:cTn id="58" dur="1000" fill="hold"/>
                                        <p:tgtEl>
                                          <p:spTgt spid="104"/>
                                        </p:tgtEl>
                                        <p:attrNameLst>
                                          <p:attrName>ppt_x</p:attrName>
                                          <p:attrName>ppt_y</p:attrName>
                                        </p:attrNameLst>
                                      </p:cBhvr>
                                      <p:rCtr x="-3438" y="4167"/>
                                    </p:animMotion>
                                  </p:childTnLst>
                                </p:cTn>
                              </p:par>
                              <p:par>
                                <p:cTn id="59" presetID="10" presetClass="exit" presetSubtype="0" fill="hold" nodeType="withEffect">
                                  <p:stCondLst>
                                    <p:cond delay="0"/>
                                  </p:stCondLst>
                                  <p:childTnLst>
                                    <p:animEffect transition="out" filter="fade">
                                      <p:cBhvr>
                                        <p:cTn id="60" dur="1000"/>
                                        <p:tgtEl>
                                          <p:spTgt spid="104"/>
                                        </p:tgtEl>
                                      </p:cBhvr>
                                    </p:animEffect>
                                    <p:set>
                                      <p:cBhvr>
                                        <p:cTn id="61" dur="1" fill="hold">
                                          <p:stCondLst>
                                            <p:cond delay="999"/>
                                          </p:stCondLst>
                                        </p:cTn>
                                        <p:tgtEl>
                                          <p:spTgt spid="104"/>
                                        </p:tgtEl>
                                        <p:attrNameLst>
                                          <p:attrName>style.visibility</p:attrName>
                                        </p:attrNameLst>
                                      </p:cBhvr>
                                      <p:to>
                                        <p:strVal val="hidden"/>
                                      </p:to>
                                    </p:set>
                                  </p:childTnLst>
                                </p:cTn>
                              </p:par>
                              <p:par>
                                <p:cTn id="62" presetID="42" presetClass="path" presetSubtype="0" accel="50000" decel="50000" fill="hold" nodeType="withEffect">
                                  <p:stCondLst>
                                    <p:cond delay="0"/>
                                  </p:stCondLst>
                                  <p:childTnLst>
                                    <p:animMotion origin="layout" path="M -2.08333E-6 -7.40741E-7 L -0.23541 0.07963 " pathEditMode="relative" rAng="0" ptsTypes="AA">
                                      <p:cBhvr>
                                        <p:cTn id="63" dur="1000" fill="hold"/>
                                        <p:tgtEl>
                                          <p:spTgt spid="72"/>
                                        </p:tgtEl>
                                        <p:attrNameLst>
                                          <p:attrName>ppt_x</p:attrName>
                                          <p:attrName>ppt_y</p:attrName>
                                        </p:attrNameLst>
                                      </p:cBhvr>
                                      <p:rCtr x="-11771" y="3981"/>
                                    </p:animMotion>
                                  </p:childTnLst>
                                </p:cTn>
                              </p:par>
                              <p:par>
                                <p:cTn id="64" presetID="10" presetClass="exit" presetSubtype="0" fill="hold" nodeType="withEffect">
                                  <p:stCondLst>
                                    <p:cond delay="0"/>
                                  </p:stCondLst>
                                  <p:childTnLst>
                                    <p:animEffect transition="out" filter="fade">
                                      <p:cBhvr>
                                        <p:cTn id="65" dur="1000"/>
                                        <p:tgtEl>
                                          <p:spTgt spid="72"/>
                                        </p:tgtEl>
                                      </p:cBhvr>
                                    </p:animEffect>
                                    <p:set>
                                      <p:cBhvr>
                                        <p:cTn id="66" dur="1" fill="hold">
                                          <p:stCondLst>
                                            <p:cond delay="999"/>
                                          </p:stCondLst>
                                        </p:cTn>
                                        <p:tgtEl>
                                          <p:spTgt spid="72"/>
                                        </p:tgtEl>
                                        <p:attrNameLst>
                                          <p:attrName>style.visibility</p:attrName>
                                        </p:attrNameLst>
                                      </p:cBhvr>
                                      <p:to>
                                        <p:strVal val="hidden"/>
                                      </p:to>
                                    </p:set>
                                  </p:childTnLst>
                                </p:cTn>
                              </p:par>
                              <p:par>
                                <p:cTn id="67" presetID="6" presetClass="emph" presetSubtype="0" fill="hold" nodeType="withEffect">
                                  <p:stCondLst>
                                    <p:cond delay="0"/>
                                  </p:stCondLst>
                                  <p:childTnLst>
                                    <p:animScale>
                                      <p:cBhvr>
                                        <p:cTn id="68" dur="1000" fill="hold"/>
                                        <p:tgtEl>
                                          <p:spTgt spid="106"/>
                                        </p:tgtEl>
                                      </p:cBhvr>
                                      <p:by x="50000" y="50000"/>
                                    </p:animScale>
                                  </p:childTnLst>
                                </p:cTn>
                              </p:par>
                              <p:par>
                                <p:cTn id="69" presetID="6" presetClass="emph" presetSubtype="0" fill="hold" nodeType="withEffect">
                                  <p:stCondLst>
                                    <p:cond delay="0"/>
                                  </p:stCondLst>
                                  <p:childTnLst>
                                    <p:animScale>
                                      <p:cBhvr>
                                        <p:cTn id="70" dur="1000" fill="hold"/>
                                        <p:tgtEl>
                                          <p:spTgt spid="105"/>
                                        </p:tgtEl>
                                      </p:cBhvr>
                                      <p:by x="50000" y="50000"/>
                                    </p:animScale>
                                  </p:childTnLst>
                                </p:cTn>
                              </p:par>
                              <p:par>
                                <p:cTn id="71" presetID="6" presetClass="emph" presetSubtype="0" fill="hold" nodeType="withEffect">
                                  <p:stCondLst>
                                    <p:cond delay="0"/>
                                  </p:stCondLst>
                                  <p:childTnLst>
                                    <p:animScale>
                                      <p:cBhvr>
                                        <p:cTn id="72" dur="1000" fill="hold"/>
                                        <p:tgtEl>
                                          <p:spTgt spid="139"/>
                                        </p:tgtEl>
                                      </p:cBhvr>
                                      <p:by x="50000" y="50000"/>
                                    </p:animScale>
                                  </p:childTnLst>
                                </p:cTn>
                              </p:par>
                              <p:par>
                                <p:cTn id="73" presetID="6" presetClass="emph" presetSubtype="0" fill="hold" nodeType="withEffect">
                                  <p:stCondLst>
                                    <p:cond delay="0"/>
                                  </p:stCondLst>
                                  <p:childTnLst>
                                    <p:animScale>
                                      <p:cBhvr>
                                        <p:cTn id="74" dur="1000" fill="hold"/>
                                        <p:tgtEl>
                                          <p:spTgt spid="104"/>
                                        </p:tgtEl>
                                      </p:cBhvr>
                                      <p:by x="50000" y="50000"/>
                                    </p:animScale>
                                  </p:childTnLst>
                                </p:cTn>
                              </p:par>
                              <p:par>
                                <p:cTn id="75" presetID="6" presetClass="emph" presetSubtype="0" fill="hold" nodeType="withEffect">
                                  <p:stCondLst>
                                    <p:cond delay="0"/>
                                  </p:stCondLst>
                                  <p:childTnLst>
                                    <p:animScale>
                                      <p:cBhvr>
                                        <p:cTn id="76" dur="1000" fill="hold"/>
                                        <p:tgtEl>
                                          <p:spTgt spid="72"/>
                                        </p:tgtEl>
                                      </p:cBhvr>
                                      <p:by x="50000" y="50000"/>
                                    </p:animScale>
                                  </p:childTnLst>
                                </p:cTn>
                              </p:par>
                            </p:childTnLst>
                          </p:cTn>
                        </p:par>
                        <p:par>
                          <p:cTn id="77" fill="hold">
                            <p:stCondLst>
                              <p:cond delay="3000"/>
                            </p:stCondLst>
                            <p:childTnLst>
                              <p:par>
                                <p:cTn id="78" presetID="10" presetClass="entr" presetSubtype="0" fill="hold" nodeType="afterEffect">
                                  <p:stCondLst>
                                    <p:cond delay="0"/>
                                  </p:stCondLst>
                                  <p:childTnLst>
                                    <p:set>
                                      <p:cBhvr>
                                        <p:cTn id="79" dur="1" fill="hold">
                                          <p:stCondLst>
                                            <p:cond delay="0"/>
                                          </p:stCondLst>
                                        </p:cTn>
                                        <p:tgtEl>
                                          <p:spTgt spid="121"/>
                                        </p:tgtEl>
                                        <p:attrNameLst>
                                          <p:attrName>style.visibility</p:attrName>
                                        </p:attrNameLst>
                                      </p:cBhvr>
                                      <p:to>
                                        <p:strVal val="visible"/>
                                      </p:to>
                                    </p:set>
                                    <p:animEffect transition="in" filter="fade">
                                      <p:cBhvr>
                                        <p:cTn id="80" dur="1000"/>
                                        <p:tgtEl>
                                          <p:spTgt spid="121"/>
                                        </p:tgtEl>
                                      </p:cBhvr>
                                    </p:animEffect>
                                  </p:childTnLst>
                                </p:cTn>
                              </p:par>
                            </p:childTnLst>
                          </p:cTn>
                        </p:par>
                        <p:par>
                          <p:cTn id="81" fill="hold">
                            <p:stCondLst>
                              <p:cond delay="4000"/>
                            </p:stCondLst>
                            <p:childTnLst>
                              <p:par>
                                <p:cTn id="82" presetID="22" presetClass="entr" presetSubtype="4" fill="hold" nodeType="afterEffect">
                                  <p:stCondLst>
                                    <p:cond delay="0"/>
                                  </p:stCondLst>
                                  <p:childTnLst>
                                    <p:set>
                                      <p:cBhvr>
                                        <p:cTn id="83" dur="1" fill="hold">
                                          <p:stCondLst>
                                            <p:cond delay="0"/>
                                          </p:stCondLst>
                                        </p:cTn>
                                        <p:tgtEl>
                                          <p:spTgt spid="169"/>
                                        </p:tgtEl>
                                        <p:attrNameLst>
                                          <p:attrName>style.visibility</p:attrName>
                                        </p:attrNameLst>
                                      </p:cBhvr>
                                      <p:to>
                                        <p:strVal val="visible"/>
                                      </p:to>
                                    </p:set>
                                    <p:animEffect transition="in" filter="wipe(down)">
                                      <p:cBhvr>
                                        <p:cTn id="84" dur="500"/>
                                        <p:tgtEl>
                                          <p:spTgt spid="169"/>
                                        </p:tgtEl>
                                      </p:cBhvr>
                                    </p:animEffect>
                                  </p:childTnLst>
                                </p:cTn>
                              </p:par>
                              <p:par>
                                <p:cTn id="85" presetID="42" presetClass="path" presetSubtype="0" accel="50000" decel="50000" fill="hold" nodeType="withEffect">
                                  <p:stCondLst>
                                    <p:cond delay="0"/>
                                  </p:stCondLst>
                                  <p:childTnLst>
                                    <p:animMotion origin="layout" path="M -2.08333E-6 -7.40741E-7 L -0.11679 0.06667 " pathEditMode="relative" rAng="0" ptsTypes="AA">
                                      <p:cBhvr>
                                        <p:cTn id="86" dur="1000" fill="hold"/>
                                        <p:tgtEl>
                                          <p:spTgt spid="102"/>
                                        </p:tgtEl>
                                        <p:attrNameLst>
                                          <p:attrName>ppt_x</p:attrName>
                                          <p:attrName>ppt_y</p:attrName>
                                        </p:attrNameLst>
                                      </p:cBhvr>
                                      <p:rCtr x="-5846" y="3333"/>
                                    </p:animMotion>
                                  </p:childTnLst>
                                </p:cTn>
                              </p:par>
                              <p:par>
                                <p:cTn id="87" presetID="10" presetClass="exit" presetSubtype="0" fill="hold" nodeType="withEffect">
                                  <p:stCondLst>
                                    <p:cond delay="0"/>
                                  </p:stCondLst>
                                  <p:childTnLst>
                                    <p:animEffect transition="out" filter="fade">
                                      <p:cBhvr>
                                        <p:cTn id="88" dur="1000"/>
                                        <p:tgtEl>
                                          <p:spTgt spid="102"/>
                                        </p:tgtEl>
                                      </p:cBhvr>
                                    </p:animEffect>
                                    <p:set>
                                      <p:cBhvr>
                                        <p:cTn id="89" dur="1" fill="hold">
                                          <p:stCondLst>
                                            <p:cond delay="999"/>
                                          </p:stCondLst>
                                        </p:cTn>
                                        <p:tgtEl>
                                          <p:spTgt spid="102"/>
                                        </p:tgtEl>
                                        <p:attrNameLst>
                                          <p:attrName>style.visibility</p:attrName>
                                        </p:attrNameLst>
                                      </p:cBhvr>
                                      <p:to>
                                        <p:strVal val="hidden"/>
                                      </p:to>
                                    </p:set>
                                  </p:childTnLst>
                                </p:cTn>
                              </p:par>
                              <p:par>
                                <p:cTn id="90" presetID="42" presetClass="path" presetSubtype="0" accel="50000" decel="50000" fill="hold" nodeType="withEffect">
                                  <p:stCondLst>
                                    <p:cond delay="0"/>
                                  </p:stCondLst>
                                  <p:childTnLst>
                                    <p:animMotion origin="layout" path="M 5E-6 4.44444E-6 L -0.2737 0.05092 " pathEditMode="relative" rAng="0" ptsTypes="AA">
                                      <p:cBhvr>
                                        <p:cTn id="91" dur="1000" fill="hold"/>
                                        <p:tgtEl>
                                          <p:spTgt spid="140"/>
                                        </p:tgtEl>
                                        <p:attrNameLst>
                                          <p:attrName>ppt_x</p:attrName>
                                          <p:attrName>ppt_y</p:attrName>
                                        </p:attrNameLst>
                                      </p:cBhvr>
                                      <p:rCtr x="-13685" y="2546"/>
                                    </p:animMotion>
                                  </p:childTnLst>
                                </p:cTn>
                              </p:par>
                              <p:par>
                                <p:cTn id="92" presetID="10" presetClass="exit" presetSubtype="0" fill="hold" nodeType="withEffect">
                                  <p:stCondLst>
                                    <p:cond delay="0"/>
                                  </p:stCondLst>
                                  <p:childTnLst>
                                    <p:animEffect transition="out" filter="fade">
                                      <p:cBhvr>
                                        <p:cTn id="93" dur="1000"/>
                                        <p:tgtEl>
                                          <p:spTgt spid="140"/>
                                        </p:tgtEl>
                                      </p:cBhvr>
                                    </p:animEffect>
                                    <p:set>
                                      <p:cBhvr>
                                        <p:cTn id="94" dur="1" fill="hold">
                                          <p:stCondLst>
                                            <p:cond delay="999"/>
                                          </p:stCondLst>
                                        </p:cTn>
                                        <p:tgtEl>
                                          <p:spTgt spid="140"/>
                                        </p:tgtEl>
                                        <p:attrNameLst>
                                          <p:attrName>style.visibility</p:attrName>
                                        </p:attrNameLst>
                                      </p:cBhvr>
                                      <p:to>
                                        <p:strVal val="hidden"/>
                                      </p:to>
                                    </p:set>
                                  </p:childTnLst>
                                </p:cTn>
                              </p:par>
                              <p:par>
                                <p:cTn id="95" presetID="42" presetClass="path" presetSubtype="0" accel="50000" decel="50000" fill="hold" nodeType="withEffect">
                                  <p:stCondLst>
                                    <p:cond delay="0"/>
                                  </p:stCondLst>
                                  <p:childTnLst>
                                    <p:animMotion origin="layout" path="M 4.79167E-6 4.07407E-6 L -0.43633 0.05231 " pathEditMode="relative" rAng="0" ptsTypes="AA">
                                      <p:cBhvr>
                                        <p:cTn id="96" dur="1000" fill="hold"/>
                                        <p:tgtEl>
                                          <p:spTgt spid="103"/>
                                        </p:tgtEl>
                                        <p:attrNameLst>
                                          <p:attrName>ppt_x</p:attrName>
                                          <p:attrName>ppt_y</p:attrName>
                                        </p:attrNameLst>
                                      </p:cBhvr>
                                      <p:rCtr x="-21823" y="2616"/>
                                    </p:animMotion>
                                  </p:childTnLst>
                                </p:cTn>
                              </p:par>
                              <p:par>
                                <p:cTn id="97" presetID="10" presetClass="exit" presetSubtype="0" fill="hold" nodeType="withEffect">
                                  <p:stCondLst>
                                    <p:cond delay="0"/>
                                  </p:stCondLst>
                                  <p:childTnLst>
                                    <p:animEffect transition="out" filter="fade">
                                      <p:cBhvr>
                                        <p:cTn id="98" dur="1000"/>
                                        <p:tgtEl>
                                          <p:spTgt spid="103"/>
                                        </p:tgtEl>
                                      </p:cBhvr>
                                    </p:animEffect>
                                    <p:set>
                                      <p:cBhvr>
                                        <p:cTn id="99" dur="1" fill="hold">
                                          <p:stCondLst>
                                            <p:cond delay="999"/>
                                          </p:stCondLst>
                                        </p:cTn>
                                        <p:tgtEl>
                                          <p:spTgt spid="103"/>
                                        </p:tgtEl>
                                        <p:attrNameLst>
                                          <p:attrName>style.visibility</p:attrName>
                                        </p:attrNameLst>
                                      </p:cBhvr>
                                      <p:to>
                                        <p:strVal val="hidden"/>
                                      </p:to>
                                    </p:set>
                                  </p:childTnLst>
                                </p:cTn>
                              </p:par>
                              <p:par>
                                <p:cTn id="100" presetID="6" presetClass="emph" presetSubtype="0" fill="hold" nodeType="withEffect">
                                  <p:stCondLst>
                                    <p:cond delay="0"/>
                                  </p:stCondLst>
                                  <p:childTnLst>
                                    <p:animScale>
                                      <p:cBhvr>
                                        <p:cTn id="101" dur="1000" fill="hold"/>
                                        <p:tgtEl>
                                          <p:spTgt spid="140"/>
                                        </p:tgtEl>
                                      </p:cBhvr>
                                      <p:by x="50000" y="50000"/>
                                    </p:animScale>
                                  </p:childTnLst>
                                </p:cTn>
                              </p:par>
                              <p:par>
                                <p:cTn id="102" presetID="6" presetClass="emph" presetSubtype="0" fill="hold" nodeType="withEffect">
                                  <p:stCondLst>
                                    <p:cond delay="0"/>
                                  </p:stCondLst>
                                  <p:childTnLst>
                                    <p:animScale>
                                      <p:cBhvr>
                                        <p:cTn id="103" dur="1000" fill="hold"/>
                                        <p:tgtEl>
                                          <p:spTgt spid="103"/>
                                        </p:tgtEl>
                                      </p:cBhvr>
                                      <p:by x="50000" y="50000"/>
                                    </p:animScale>
                                  </p:childTnLst>
                                </p:cTn>
                              </p:par>
                              <p:par>
                                <p:cTn id="104" presetID="6" presetClass="emph" presetSubtype="0" fill="hold" nodeType="withEffect">
                                  <p:stCondLst>
                                    <p:cond delay="0"/>
                                  </p:stCondLst>
                                  <p:childTnLst>
                                    <p:animScale>
                                      <p:cBhvr>
                                        <p:cTn id="105" dur="1000" fill="hold"/>
                                        <p:tgtEl>
                                          <p:spTgt spid="102"/>
                                        </p:tgtEl>
                                      </p:cBhvr>
                                      <p:by x="50000" y="50000"/>
                                    </p:animScale>
                                  </p:childTnLst>
                                </p:cTn>
                              </p:par>
                            </p:childTnLst>
                          </p:cTn>
                        </p:par>
                        <p:par>
                          <p:cTn id="106" fill="hold">
                            <p:stCondLst>
                              <p:cond delay="5000"/>
                            </p:stCondLst>
                            <p:childTnLst>
                              <p:par>
                                <p:cTn id="107" presetID="10" presetClass="entr" presetSubtype="0" fill="hold" nodeType="afterEffect">
                                  <p:stCondLst>
                                    <p:cond delay="0"/>
                                  </p:stCondLst>
                                  <p:childTnLst>
                                    <p:set>
                                      <p:cBhvr>
                                        <p:cTn id="108" dur="1" fill="hold">
                                          <p:stCondLst>
                                            <p:cond delay="0"/>
                                          </p:stCondLst>
                                        </p:cTn>
                                        <p:tgtEl>
                                          <p:spTgt spid="135"/>
                                        </p:tgtEl>
                                        <p:attrNameLst>
                                          <p:attrName>style.visibility</p:attrName>
                                        </p:attrNameLst>
                                      </p:cBhvr>
                                      <p:to>
                                        <p:strVal val="visible"/>
                                      </p:to>
                                    </p:set>
                                    <p:animEffect transition="in" filter="fade">
                                      <p:cBhvr>
                                        <p:cTn id="109" dur="1000"/>
                                        <p:tgtEl>
                                          <p:spTgt spid="135"/>
                                        </p:tgtEl>
                                      </p:cBhvr>
                                    </p:animEffect>
                                  </p:childTnLst>
                                </p:cTn>
                              </p:par>
                            </p:childTnLst>
                          </p:cTn>
                        </p:par>
                        <p:par>
                          <p:cTn id="110" fill="hold">
                            <p:stCondLst>
                              <p:cond delay="6000"/>
                            </p:stCondLst>
                            <p:childTnLst>
                              <p:par>
                                <p:cTn id="111" presetID="22" presetClass="entr" presetSubtype="4" fill="hold" nodeType="afterEffect">
                                  <p:stCondLst>
                                    <p:cond delay="0"/>
                                  </p:stCondLst>
                                  <p:childTnLst>
                                    <p:set>
                                      <p:cBhvr>
                                        <p:cTn id="112" dur="1" fill="hold">
                                          <p:stCondLst>
                                            <p:cond delay="0"/>
                                          </p:stCondLst>
                                        </p:cTn>
                                        <p:tgtEl>
                                          <p:spTgt spid="179"/>
                                        </p:tgtEl>
                                        <p:attrNameLst>
                                          <p:attrName>style.visibility</p:attrName>
                                        </p:attrNameLst>
                                      </p:cBhvr>
                                      <p:to>
                                        <p:strVal val="visible"/>
                                      </p:to>
                                    </p:set>
                                    <p:animEffect transition="in" filter="wipe(down)">
                                      <p:cBhvr>
                                        <p:cTn id="113" dur="500"/>
                                        <p:tgtEl>
                                          <p:spTgt spid="179"/>
                                        </p:tgtEl>
                                      </p:cBhvr>
                                    </p:animEffect>
                                  </p:childTnLst>
                                </p:cTn>
                              </p:par>
                              <p:par>
                                <p:cTn id="114" presetID="42" presetClass="path" presetSubtype="0" accel="50000" decel="50000" fill="hold" nodeType="withEffect">
                                  <p:stCondLst>
                                    <p:cond delay="0"/>
                                  </p:stCondLst>
                                  <p:childTnLst>
                                    <p:animMotion origin="layout" path="M 2.5E-6 -2.59259E-6 L 0.08828 -0.48125 " pathEditMode="relative" rAng="0" ptsTypes="AA">
                                      <p:cBhvr>
                                        <p:cTn id="115" dur="1000" fill="hold"/>
                                        <p:tgtEl>
                                          <p:spTgt spid="206"/>
                                        </p:tgtEl>
                                        <p:attrNameLst>
                                          <p:attrName>ppt_x</p:attrName>
                                          <p:attrName>ppt_y</p:attrName>
                                        </p:attrNameLst>
                                      </p:cBhvr>
                                      <p:rCtr x="4414" y="-24074"/>
                                    </p:animMotion>
                                  </p:childTnLst>
                                </p:cTn>
                              </p:par>
                              <p:par>
                                <p:cTn id="116" presetID="10" presetClass="exit" presetSubtype="0" fill="hold" nodeType="withEffect">
                                  <p:stCondLst>
                                    <p:cond delay="0"/>
                                  </p:stCondLst>
                                  <p:childTnLst>
                                    <p:animEffect transition="out" filter="fade">
                                      <p:cBhvr>
                                        <p:cTn id="117" dur="1000"/>
                                        <p:tgtEl>
                                          <p:spTgt spid="206"/>
                                        </p:tgtEl>
                                      </p:cBhvr>
                                    </p:animEffect>
                                    <p:set>
                                      <p:cBhvr>
                                        <p:cTn id="118" dur="1" fill="hold">
                                          <p:stCondLst>
                                            <p:cond delay="999"/>
                                          </p:stCondLst>
                                        </p:cTn>
                                        <p:tgtEl>
                                          <p:spTgt spid="206"/>
                                        </p:tgtEl>
                                        <p:attrNameLst>
                                          <p:attrName>style.visibility</p:attrName>
                                        </p:attrNameLst>
                                      </p:cBhvr>
                                      <p:to>
                                        <p:strVal val="hidden"/>
                                      </p:to>
                                    </p:set>
                                  </p:childTnLst>
                                </p:cTn>
                              </p:par>
                              <p:par>
                                <p:cTn id="119" presetID="6" presetClass="emph" presetSubtype="0" fill="hold" nodeType="withEffect">
                                  <p:stCondLst>
                                    <p:cond delay="0"/>
                                  </p:stCondLst>
                                  <p:childTnLst>
                                    <p:animScale>
                                      <p:cBhvr>
                                        <p:cTn id="120" dur="1000" fill="hold"/>
                                        <p:tgtEl>
                                          <p:spTgt spid="206"/>
                                        </p:tgtEl>
                                      </p:cBhvr>
                                      <p:by x="50000" y="50000"/>
                                    </p:animScale>
                                  </p:childTnLst>
                                </p:cTn>
                              </p:par>
                            </p:childTnLst>
                          </p:cTn>
                        </p:par>
                        <p:par>
                          <p:cTn id="121" fill="hold">
                            <p:stCondLst>
                              <p:cond delay="7000"/>
                            </p:stCondLst>
                            <p:childTnLst>
                              <p:par>
                                <p:cTn id="122" presetID="10" presetClass="entr" presetSubtype="0" fill="hold" nodeType="afterEffect">
                                  <p:stCondLst>
                                    <p:cond delay="0"/>
                                  </p:stCondLst>
                                  <p:childTnLst>
                                    <p:set>
                                      <p:cBhvr>
                                        <p:cTn id="123" dur="1" fill="hold">
                                          <p:stCondLst>
                                            <p:cond delay="0"/>
                                          </p:stCondLst>
                                        </p:cTn>
                                        <p:tgtEl>
                                          <p:spTgt spid="108"/>
                                        </p:tgtEl>
                                        <p:attrNameLst>
                                          <p:attrName>style.visibility</p:attrName>
                                        </p:attrNameLst>
                                      </p:cBhvr>
                                      <p:to>
                                        <p:strVal val="visible"/>
                                      </p:to>
                                    </p:set>
                                    <p:animEffect transition="in" filter="fade">
                                      <p:cBhvr>
                                        <p:cTn id="124" dur="1000"/>
                                        <p:tgtEl>
                                          <p:spTgt spid="108"/>
                                        </p:tgtEl>
                                      </p:cBhvr>
                                    </p:animEffect>
                                  </p:childTnLst>
                                </p:cTn>
                              </p:par>
                            </p:childTnLst>
                          </p:cTn>
                        </p:par>
                        <p:par>
                          <p:cTn id="125" fill="hold">
                            <p:stCondLst>
                              <p:cond delay="8000"/>
                            </p:stCondLst>
                            <p:childTnLst>
                              <p:par>
                                <p:cTn id="126" presetID="22" presetClass="entr" presetSubtype="4" fill="hold" nodeType="afterEffect">
                                  <p:stCondLst>
                                    <p:cond delay="0"/>
                                  </p:stCondLst>
                                  <p:childTnLst>
                                    <p:set>
                                      <p:cBhvr>
                                        <p:cTn id="127" dur="1" fill="hold">
                                          <p:stCondLst>
                                            <p:cond delay="0"/>
                                          </p:stCondLst>
                                        </p:cTn>
                                        <p:tgtEl>
                                          <p:spTgt spid="187"/>
                                        </p:tgtEl>
                                        <p:attrNameLst>
                                          <p:attrName>style.visibility</p:attrName>
                                        </p:attrNameLst>
                                      </p:cBhvr>
                                      <p:to>
                                        <p:strVal val="visible"/>
                                      </p:to>
                                    </p:set>
                                    <p:animEffect transition="in" filter="wipe(down)">
                                      <p:cBhvr>
                                        <p:cTn id="128" dur="500"/>
                                        <p:tgtEl>
                                          <p:spTgt spid="187"/>
                                        </p:tgtEl>
                                      </p:cBhvr>
                                    </p:animEffect>
                                  </p:childTnLst>
                                </p:cTn>
                              </p:par>
                              <p:par>
                                <p:cTn id="129" presetID="42" presetClass="path" presetSubtype="0" accel="50000" decel="50000" fill="hold" nodeType="withEffect">
                                  <p:stCondLst>
                                    <p:cond delay="0"/>
                                  </p:stCondLst>
                                  <p:childTnLst>
                                    <p:animMotion origin="layout" path="M 4.16667E-6 3.7037E-7 L 0.47408 -0.48009 " pathEditMode="relative" rAng="0" ptsTypes="AA">
                                      <p:cBhvr>
                                        <p:cTn id="130" dur="1000" fill="hold"/>
                                        <p:tgtEl>
                                          <p:spTgt spid="210"/>
                                        </p:tgtEl>
                                        <p:attrNameLst>
                                          <p:attrName>ppt_x</p:attrName>
                                          <p:attrName>ppt_y</p:attrName>
                                        </p:attrNameLst>
                                      </p:cBhvr>
                                      <p:rCtr x="23698" y="-24005"/>
                                    </p:animMotion>
                                  </p:childTnLst>
                                </p:cTn>
                              </p:par>
                              <p:par>
                                <p:cTn id="131" presetID="10" presetClass="exit" presetSubtype="0" fill="hold" nodeType="withEffect">
                                  <p:stCondLst>
                                    <p:cond delay="0"/>
                                  </p:stCondLst>
                                  <p:childTnLst>
                                    <p:animEffect transition="out" filter="fade">
                                      <p:cBhvr>
                                        <p:cTn id="132" dur="1000"/>
                                        <p:tgtEl>
                                          <p:spTgt spid="210"/>
                                        </p:tgtEl>
                                      </p:cBhvr>
                                    </p:animEffect>
                                    <p:set>
                                      <p:cBhvr>
                                        <p:cTn id="133" dur="1" fill="hold">
                                          <p:stCondLst>
                                            <p:cond delay="999"/>
                                          </p:stCondLst>
                                        </p:cTn>
                                        <p:tgtEl>
                                          <p:spTgt spid="210"/>
                                        </p:tgtEl>
                                        <p:attrNameLst>
                                          <p:attrName>style.visibility</p:attrName>
                                        </p:attrNameLst>
                                      </p:cBhvr>
                                      <p:to>
                                        <p:strVal val="hidden"/>
                                      </p:to>
                                    </p:set>
                                  </p:childTnLst>
                                </p:cTn>
                              </p:par>
                              <p:par>
                                <p:cTn id="134" presetID="6" presetClass="emph" presetSubtype="0" fill="hold" nodeType="withEffect">
                                  <p:stCondLst>
                                    <p:cond delay="0"/>
                                  </p:stCondLst>
                                  <p:childTnLst>
                                    <p:animScale>
                                      <p:cBhvr>
                                        <p:cTn id="135" dur="1000" fill="hold"/>
                                        <p:tgtEl>
                                          <p:spTgt spid="210"/>
                                        </p:tgtEl>
                                      </p:cBhvr>
                                      <p:by x="75000" y="75000"/>
                                    </p:animScale>
                                  </p:childTnLst>
                                </p:cTn>
                              </p:par>
                            </p:childTnLst>
                          </p:cTn>
                        </p:par>
                        <p:par>
                          <p:cTn id="136" fill="hold">
                            <p:stCondLst>
                              <p:cond delay="9000"/>
                            </p:stCondLst>
                            <p:childTnLst>
                              <p:par>
                                <p:cTn id="137" presetID="10" presetClass="entr" presetSubtype="0" fill="hold" nodeType="afterEffect">
                                  <p:stCondLst>
                                    <p:cond delay="0"/>
                                  </p:stCondLst>
                                  <p:childTnLst>
                                    <p:set>
                                      <p:cBhvr>
                                        <p:cTn id="138" dur="1" fill="hold">
                                          <p:stCondLst>
                                            <p:cond delay="0"/>
                                          </p:stCondLst>
                                        </p:cTn>
                                        <p:tgtEl>
                                          <p:spTgt spid="202"/>
                                        </p:tgtEl>
                                        <p:attrNameLst>
                                          <p:attrName>style.visibility</p:attrName>
                                        </p:attrNameLst>
                                      </p:cBhvr>
                                      <p:to>
                                        <p:strVal val="visible"/>
                                      </p:to>
                                    </p:set>
                                    <p:animEffect transition="in" filter="fade">
                                      <p:cBhvr>
                                        <p:cTn id="139" dur="1000"/>
                                        <p:tgtEl>
                                          <p:spTgt spid="202"/>
                                        </p:tgtEl>
                                      </p:cBhvr>
                                    </p:animEffect>
                                  </p:childTnLst>
                                </p:cTn>
                              </p:par>
                            </p:childTnLst>
                          </p:cTn>
                        </p:par>
                        <p:par>
                          <p:cTn id="140" fill="hold">
                            <p:stCondLst>
                              <p:cond delay="10000"/>
                            </p:stCondLst>
                            <p:childTnLst>
                              <p:par>
                                <p:cTn id="141" presetID="22" presetClass="entr" presetSubtype="4" fill="hold" nodeType="afterEffect">
                                  <p:stCondLst>
                                    <p:cond delay="0"/>
                                  </p:stCondLst>
                                  <p:childTnLst>
                                    <p:set>
                                      <p:cBhvr>
                                        <p:cTn id="142" dur="1" fill="hold">
                                          <p:stCondLst>
                                            <p:cond delay="0"/>
                                          </p:stCondLst>
                                        </p:cTn>
                                        <p:tgtEl>
                                          <p:spTgt spid="192"/>
                                        </p:tgtEl>
                                        <p:attrNameLst>
                                          <p:attrName>style.visibility</p:attrName>
                                        </p:attrNameLst>
                                      </p:cBhvr>
                                      <p:to>
                                        <p:strVal val="visible"/>
                                      </p:to>
                                    </p:set>
                                    <p:animEffect transition="in" filter="wipe(down)">
                                      <p:cBhvr>
                                        <p:cTn id="143" dur="500"/>
                                        <p:tgtEl>
                                          <p:spTgt spid="192"/>
                                        </p:tgtEl>
                                      </p:cBhvr>
                                    </p:animEffect>
                                  </p:childTnLst>
                                </p:cTn>
                              </p:par>
                              <p:par>
                                <p:cTn id="144" presetID="42" presetClass="path" presetSubtype="0" accel="50000" decel="50000" fill="hold" nodeType="withEffect">
                                  <p:stCondLst>
                                    <p:cond delay="0"/>
                                  </p:stCondLst>
                                  <p:childTnLst>
                                    <p:animMotion origin="layout" path="M -4.375E-6 2.59259E-6 L 0.12422 -0.35672 " pathEditMode="relative" rAng="0" ptsTypes="AA">
                                      <p:cBhvr>
                                        <p:cTn id="145" dur="1000" fill="hold"/>
                                        <p:tgtEl>
                                          <p:spTgt spid="214"/>
                                        </p:tgtEl>
                                        <p:attrNameLst>
                                          <p:attrName>ppt_x</p:attrName>
                                          <p:attrName>ppt_y</p:attrName>
                                        </p:attrNameLst>
                                      </p:cBhvr>
                                      <p:rCtr x="6211" y="-17847"/>
                                    </p:animMotion>
                                  </p:childTnLst>
                                </p:cTn>
                              </p:par>
                              <p:par>
                                <p:cTn id="146" presetID="10" presetClass="exit" presetSubtype="0" fill="hold" nodeType="withEffect">
                                  <p:stCondLst>
                                    <p:cond delay="0"/>
                                  </p:stCondLst>
                                  <p:childTnLst>
                                    <p:animEffect transition="out" filter="fade">
                                      <p:cBhvr>
                                        <p:cTn id="147" dur="1000"/>
                                        <p:tgtEl>
                                          <p:spTgt spid="214"/>
                                        </p:tgtEl>
                                      </p:cBhvr>
                                    </p:animEffect>
                                    <p:set>
                                      <p:cBhvr>
                                        <p:cTn id="148" dur="1" fill="hold">
                                          <p:stCondLst>
                                            <p:cond delay="999"/>
                                          </p:stCondLst>
                                        </p:cTn>
                                        <p:tgtEl>
                                          <p:spTgt spid="214"/>
                                        </p:tgtEl>
                                        <p:attrNameLst>
                                          <p:attrName>style.visibility</p:attrName>
                                        </p:attrNameLst>
                                      </p:cBhvr>
                                      <p:to>
                                        <p:strVal val="hidden"/>
                                      </p:to>
                                    </p:set>
                                  </p:childTnLst>
                                </p:cTn>
                              </p:par>
                              <p:par>
                                <p:cTn id="149" presetID="6" presetClass="emph" presetSubtype="0" fill="hold" nodeType="withEffect">
                                  <p:stCondLst>
                                    <p:cond delay="0"/>
                                  </p:stCondLst>
                                  <p:childTnLst>
                                    <p:animScale>
                                      <p:cBhvr>
                                        <p:cTn id="150" dur="1000" fill="hold"/>
                                        <p:tgtEl>
                                          <p:spTgt spid="214"/>
                                        </p:tgtEl>
                                      </p:cBhvr>
                                      <p:by x="50000" y="50000"/>
                                    </p:animScale>
                                  </p:childTnLst>
                                </p:cTn>
                              </p:par>
                            </p:childTnLst>
                          </p:cTn>
                        </p:par>
                        <p:par>
                          <p:cTn id="151" fill="hold">
                            <p:stCondLst>
                              <p:cond delay="11000"/>
                            </p:stCondLst>
                            <p:childTnLst>
                              <p:par>
                                <p:cTn id="152" presetID="10" presetClass="entr" presetSubtype="0" fill="hold" nodeType="afterEffect">
                                  <p:stCondLst>
                                    <p:cond delay="0"/>
                                  </p:stCondLst>
                                  <p:childTnLst>
                                    <p:set>
                                      <p:cBhvr>
                                        <p:cTn id="153" dur="1" fill="hold">
                                          <p:stCondLst>
                                            <p:cond delay="0"/>
                                          </p:stCondLst>
                                        </p:cTn>
                                        <p:tgtEl>
                                          <p:spTgt spid="97"/>
                                        </p:tgtEl>
                                        <p:attrNameLst>
                                          <p:attrName>style.visibility</p:attrName>
                                        </p:attrNameLst>
                                      </p:cBhvr>
                                      <p:to>
                                        <p:strVal val="visible"/>
                                      </p:to>
                                    </p:set>
                                    <p:animEffect transition="in" filter="fade">
                                      <p:cBhvr>
                                        <p:cTn id="154" dur="1000"/>
                                        <p:tgtEl>
                                          <p:spTgt spid="97"/>
                                        </p:tgtEl>
                                      </p:cBhvr>
                                    </p:animEffect>
                                  </p:childTnLst>
                                </p:cTn>
                              </p:par>
                            </p:childTnLst>
                          </p:cTn>
                        </p:par>
                        <p:par>
                          <p:cTn id="155" fill="hold">
                            <p:stCondLst>
                              <p:cond delay="12000"/>
                            </p:stCondLst>
                            <p:childTnLst>
                              <p:par>
                                <p:cTn id="156" presetID="10" presetClass="entr" presetSubtype="0" fill="hold" nodeType="afterEffect">
                                  <p:stCondLst>
                                    <p:cond delay="0"/>
                                  </p:stCondLst>
                                  <p:childTnLst>
                                    <p:set>
                                      <p:cBhvr>
                                        <p:cTn id="157" dur="1" fill="hold">
                                          <p:stCondLst>
                                            <p:cond delay="0"/>
                                          </p:stCondLst>
                                        </p:cTn>
                                        <p:tgtEl>
                                          <p:spTgt spid="111"/>
                                        </p:tgtEl>
                                        <p:attrNameLst>
                                          <p:attrName>style.visibility</p:attrName>
                                        </p:attrNameLst>
                                      </p:cBhvr>
                                      <p:to>
                                        <p:strVal val="visible"/>
                                      </p:to>
                                    </p:set>
                                    <p:animEffect transition="in" filter="fade">
                                      <p:cBhvr>
                                        <p:cTn id="158" dur="10"/>
                                        <p:tgtEl>
                                          <p:spTgt spid="111"/>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110"/>
                                        </p:tgtEl>
                                        <p:attrNameLst>
                                          <p:attrName>style.visibility</p:attrName>
                                        </p:attrNameLst>
                                      </p:cBhvr>
                                      <p:to>
                                        <p:strVal val="visible"/>
                                      </p:to>
                                    </p:set>
                                    <p:animEffect transition="in" filter="fade">
                                      <p:cBhvr>
                                        <p:cTn id="163" dur="500"/>
                                        <p:tgtEl>
                                          <p:spTgt spid="110"/>
                                        </p:tgtEl>
                                      </p:cBhvr>
                                    </p:animEffect>
                                  </p:childTnLst>
                                </p:cTn>
                              </p:par>
                              <p:par>
                                <p:cTn id="164" presetID="10" presetClass="exit" presetSubtype="0" fill="hold" grpId="1" nodeType="withEffect">
                                  <p:stCondLst>
                                    <p:cond delay="0"/>
                                  </p:stCondLst>
                                  <p:childTnLst>
                                    <p:animEffect transition="out" filter="fade">
                                      <p:cBhvr>
                                        <p:cTn id="165" dur="500"/>
                                        <p:tgtEl>
                                          <p:spTgt spid="15"/>
                                        </p:tgtEl>
                                      </p:cBhvr>
                                    </p:animEffect>
                                    <p:set>
                                      <p:cBhvr>
                                        <p:cTn id="166" dur="1" fill="hold">
                                          <p:stCondLst>
                                            <p:cond delay="499"/>
                                          </p:stCondLst>
                                        </p:cTn>
                                        <p:tgtEl>
                                          <p:spTgt spid="15"/>
                                        </p:tgtEl>
                                        <p:attrNameLst>
                                          <p:attrName>style.visibility</p:attrName>
                                        </p:attrNameLst>
                                      </p:cBhvr>
                                      <p:to>
                                        <p:strVal val="hidden"/>
                                      </p:to>
                                    </p:set>
                                  </p:childTnLst>
                                </p:cTn>
                              </p:par>
                            </p:childTnLst>
                          </p:cTn>
                        </p:par>
                        <p:par>
                          <p:cTn id="167" fill="hold">
                            <p:stCondLst>
                              <p:cond delay="500"/>
                            </p:stCondLst>
                            <p:childTnLst>
                              <p:par>
                                <p:cTn id="168" presetID="42" presetClass="path" presetSubtype="0" accel="50000" decel="50000" fill="hold" nodeType="afterEffect">
                                  <p:stCondLst>
                                    <p:cond delay="0"/>
                                  </p:stCondLst>
                                  <p:childTnLst>
                                    <p:animMotion origin="layout" path="M -2.5E-6 4.81481E-6 L -2.5E-6 0.19444 " pathEditMode="relative" rAng="0" ptsTypes="AA">
                                      <p:cBhvr>
                                        <p:cTn id="169" dur="1000" fill="hold"/>
                                        <p:tgtEl>
                                          <p:spTgt spid="111"/>
                                        </p:tgtEl>
                                        <p:attrNameLst>
                                          <p:attrName>ppt_x</p:attrName>
                                          <p:attrName>ppt_y</p:attrName>
                                        </p:attrNameLst>
                                      </p:cBhvr>
                                      <p:rCtr x="0" y="9722"/>
                                    </p:animMotion>
                                  </p:childTnLst>
                                </p:cTn>
                              </p:par>
                              <p:par>
                                <p:cTn id="170" presetID="22" presetClass="entr" presetSubtype="1" fill="hold" grpId="0" nodeType="withEffect">
                                  <p:stCondLst>
                                    <p:cond delay="0"/>
                                  </p:stCondLst>
                                  <p:childTnLst>
                                    <p:set>
                                      <p:cBhvr>
                                        <p:cTn id="171" dur="1" fill="hold">
                                          <p:stCondLst>
                                            <p:cond delay="0"/>
                                          </p:stCondLst>
                                        </p:cTn>
                                        <p:tgtEl>
                                          <p:spTgt spid="73"/>
                                        </p:tgtEl>
                                        <p:attrNameLst>
                                          <p:attrName>style.visibility</p:attrName>
                                        </p:attrNameLst>
                                      </p:cBhvr>
                                      <p:to>
                                        <p:strVal val="visible"/>
                                      </p:to>
                                    </p:set>
                                    <p:animEffect transition="in" filter="wipe(up)">
                                      <p:cBhvr>
                                        <p:cTn id="172" dur="1000"/>
                                        <p:tgtEl>
                                          <p:spTgt spid="73"/>
                                        </p:tgtEl>
                                      </p:cBhvr>
                                    </p:animEffect>
                                  </p:childTnLst>
                                </p:cTn>
                              </p:par>
                            </p:childTnLst>
                          </p:cTn>
                        </p:par>
                        <p:par>
                          <p:cTn id="173" fill="hold">
                            <p:stCondLst>
                              <p:cond delay="1500"/>
                            </p:stCondLst>
                            <p:childTnLst>
                              <p:par>
                                <p:cTn id="174" presetID="10" presetClass="entr" presetSubtype="0" fill="hold" grpId="0" nodeType="afterEffect">
                                  <p:stCondLst>
                                    <p:cond delay="0"/>
                                  </p:stCondLst>
                                  <p:childTnLst>
                                    <p:set>
                                      <p:cBhvr>
                                        <p:cTn id="175" dur="1" fill="hold">
                                          <p:stCondLst>
                                            <p:cond delay="0"/>
                                          </p:stCondLst>
                                        </p:cTn>
                                        <p:tgtEl>
                                          <p:spTgt spid="119"/>
                                        </p:tgtEl>
                                        <p:attrNameLst>
                                          <p:attrName>style.visibility</p:attrName>
                                        </p:attrNameLst>
                                      </p:cBhvr>
                                      <p:to>
                                        <p:strVal val="visible"/>
                                      </p:to>
                                    </p:set>
                                    <p:animEffect transition="in" filter="fade">
                                      <p:cBhvr>
                                        <p:cTn id="176" dur="500"/>
                                        <p:tgtEl>
                                          <p:spTgt spid="119"/>
                                        </p:tgtEl>
                                      </p:cBhvr>
                                    </p:animEffect>
                                  </p:childTnLst>
                                </p:cTn>
                              </p:par>
                            </p:childTnLst>
                          </p:cTn>
                        </p:par>
                        <p:par>
                          <p:cTn id="177" fill="hold">
                            <p:stCondLst>
                              <p:cond delay="2000"/>
                            </p:stCondLst>
                            <p:childTnLst>
                              <p:par>
                                <p:cTn id="178" presetID="10" presetClass="entr" presetSubtype="0" fill="hold" nodeType="afterEffect">
                                  <p:stCondLst>
                                    <p:cond delay="0"/>
                                  </p:stCondLst>
                                  <p:childTnLst>
                                    <p:set>
                                      <p:cBhvr>
                                        <p:cTn id="179" dur="1" fill="hold">
                                          <p:stCondLst>
                                            <p:cond delay="0"/>
                                          </p:stCondLst>
                                        </p:cTn>
                                        <p:tgtEl>
                                          <p:spTgt spid="86"/>
                                        </p:tgtEl>
                                        <p:attrNameLst>
                                          <p:attrName>style.visibility</p:attrName>
                                        </p:attrNameLst>
                                      </p:cBhvr>
                                      <p:to>
                                        <p:strVal val="visible"/>
                                      </p:to>
                                    </p:set>
                                    <p:animEffect transition="in" filter="fade">
                                      <p:cBhvr>
                                        <p:cTn id="180" dur="500"/>
                                        <p:tgtEl>
                                          <p:spTgt spid="86"/>
                                        </p:tgtEl>
                                      </p:cBhvr>
                                    </p:animEffect>
                                  </p:childTnLst>
                                </p:cTn>
                              </p:par>
                            </p:childTnLst>
                          </p:cTn>
                        </p:par>
                        <p:par>
                          <p:cTn id="181" fill="hold">
                            <p:stCondLst>
                              <p:cond delay="2500"/>
                            </p:stCondLst>
                            <p:childTnLst>
                              <p:par>
                                <p:cTn id="182" presetID="10" presetClass="entr" presetSubtype="0" fill="hold" nodeType="afterEffect">
                                  <p:stCondLst>
                                    <p:cond delay="0"/>
                                  </p:stCondLst>
                                  <p:childTnLst>
                                    <p:set>
                                      <p:cBhvr>
                                        <p:cTn id="183" dur="1" fill="hold">
                                          <p:stCondLst>
                                            <p:cond delay="0"/>
                                          </p:stCondLst>
                                        </p:cTn>
                                        <p:tgtEl>
                                          <p:spTgt spid="94"/>
                                        </p:tgtEl>
                                        <p:attrNameLst>
                                          <p:attrName>style.visibility</p:attrName>
                                        </p:attrNameLst>
                                      </p:cBhvr>
                                      <p:to>
                                        <p:strVal val="visible"/>
                                      </p:to>
                                    </p:set>
                                    <p:animEffect transition="in" filter="fade">
                                      <p:cBhvr>
                                        <p:cTn id="184" dur="500"/>
                                        <p:tgtEl>
                                          <p:spTgt spid="94"/>
                                        </p:tgtEl>
                                      </p:cBhvr>
                                    </p:animEffect>
                                  </p:childTnLst>
                                </p:cTn>
                              </p:par>
                            </p:childTnLst>
                          </p:cTn>
                        </p:par>
                        <p:par>
                          <p:cTn id="185" fill="hold">
                            <p:stCondLst>
                              <p:cond delay="3000"/>
                            </p:stCondLst>
                            <p:childTnLst>
                              <p:par>
                                <p:cTn id="186" presetID="10" presetClass="entr" presetSubtype="0" fill="hold" nodeType="afterEffect">
                                  <p:stCondLst>
                                    <p:cond delay="0"/>
                                  </p:stCondLst>
                                  <p:childTnLst>
                                    <p:set>
                                      <p:cBhvr>
                                        <p:cTn id="187" dur="1" fill="hold">
                                          <p:stCondLst>
                                            <p:cond delay="0"/>
                                          </p:stCondLst>
                                        </p:cTn>
                                        <p:tgtEl>
                                          <p:spTgt spid="83"/>
                                        </p:tgtEl>
                                        <p:attrNameLst>
                                          <p:attrName>style.visibility</p:attrName>
                                        </p:attrNameLst>
                                      </p:cBhvr>
                                      <p:to>
                                        <p:strVal val="visible"/>
                                      </p:to>
                                    </p:set>
                                    <p:animEffect transition="in" filter="fade">
                                      <p:cBhvr>
                                        <p:cTn id="188" dur="500"/>
                                        <p:tgtEl>
                                          <p:spTgt spid="83"/>
                                        </p:tgtEl>
                                      </p:cBhvr>
                                    </p:animEffect>
                                  </p:childTnLst>
                                </p:cTn>
                              </p:par>
                            </p:childTnLst>
                          </p:cTn>
                        </p:par>
                        <p:par>
                          <p:cTn id="189" fill="hold">
                            <p:stCondLst>
                              <p:cond delay="3500"/>
                            </p:stCondLst>
                            <p:childTnLst>
                              <p:par>
                                <p:cTn id="190" presetID="10" presetClass="entr" presetSubtype="0" fill="hold" nodeType="afterEffect">
                                  <p:stCondLst>
                                    <p:cond delay="0"/>
                                  </p:stCondLst>
                                  <p:childTnLst>
                                    <p:set>
                                      <p:cBhvr>
                                        <p:cTn id="191" dur="1" fill="hold">
                                          <p:stCondLst>
                                            <p:cond delay="0"/>
                                          </p:stCondLst>
                                        </p:cTn>
                                        <p:tgtEl>
                                          <p:spTgt spid="75"/>
                                        </p:tgtEl>
                                        <p:attrNameLst>
                                          <p:attrName>style.visibility</p:attrName>
                                        </p:attrNameLst>
                                      </p:cBhvr>
                                      <p:to>
                                        <p:strVal val="visible"/>
                                      </p:to>
                                    </p:set>
                                    <p:animEffect transition="in" filter="fade">
                                      <p:cBhvr>
                                        <p:cTn id="192" dur="500"/>
                                        <p:tgtEl>
                                          <p:spTgt spid="75"/>
                                        </p:tgtEl>
                                      </p:cBhvr>
                                    </p:animEffect>
                                  </p:childTnLst>
                                </p:cTn>
                              </p:par>
                            </p:childTnLst>
                          </p:cTn>
                        </p:par>
                        <p:par>
                          <p:cTn id="193" fill="hold">
                            <p:stCondLst>
                              <p:cond delay="4000"/>
                            </p:stCondLst>
                            <p:childTnLst>
                              <p:par>
                                <p:cTn id="194" presetID="10" presetClass="entr" presetSubtype="0" fill="hold" nodeType="afterEffect">
                                  <p:stCondLst>
                                    <p:cond delay="0"/>
                                  </p:stCondLst>
                                  <p:childTnLst>
                                    <p:set>
                                      <p:cBhvr>
                                        <p:cTn id="195" dur="1" fill="hold">
                                          <p:stCondLst>
                                            <p:cond delay="0"/>
                                          </p:stCondLst>
                                        </p:cTn>
                                        <p:tgtEl>
                                          <p:spTgt spid="78"/>
                                        </p:tgtEl>
                                        <p:attrNameLst>
                                          <p:attrName>style.visibility</p:attrName>
                                        </p:attrNameLst>
                                      </p:cBhvr>
                                      <p:to>
                                        <p:strVal val="visible"/>
                                      </p:to>
                                    </p:set>
                                    <p:animEffect transition="in" filter="fade">
                                      <p:cBhvr>
                                        <p:cTn id="196"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3" grpId="0" animBg="1"/>
      <p:bldP spid="15" grpId="0"/>
      <p:bldP spid="15" grpId="1"/>
      <p:bldP spid="110" grpId="0"/>
      <p:bldP spid="11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372" y="1674941"/>
            <a:ext cx="11625534" cy="4912266"/>
            <a:chOff x="450423" y="1707776"/>
            <a:chExt cx="11860332" cy="5011478"/>
          </a:xfrm>
        </p:grpSpPr>
        <p:pic>
          <p:nvPicPr>
            <p:cNvPr id="26" name="Surface Hub"/>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423" y="1707776"/>
              <a:ext cx="5873659" cy="3293164"/>
            </a:xfrm>
            <a:prstGeom prst="rect">
              <a:avLst/>
            </a:prstGeom>
          </p:spPr>
        </p:pic>
        <p:pic>
          <p:nvPicPr>
            <p:cNvPr id="43" name="Headse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5139" y="2247341"/>
              <a:ext cx="3079567" cy="1606732"/>
            </a:xfrm>
            <a:prstGeom prst="rect">
              <a:avLst/>
            </a:prstGeom>
          </p:spPr>
        </p:pic>
        <p:pic>
          <p:nvPicPr>
            <p:cNvPr id="44" name="Xbox"/>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5902" y="4178235"/>
              <a:ext cx="3864853" cy="2385714"/>
            </a:xfrm>
            <a:prstGeom prst="rect">
              <a:avLst/>
            </a:prstGeom>
          </p:spPr>
        </p:pic>
        <p:grpSp>
          <p:nvGrpSpPr>
            <p:cNvPr id="45" name="Mobile Devices"/>
            <p:cNvGrpSpPr/>
            <p:nvPr/>
          </p:nvGrpSpPr>
          <p:grpSpPr>
            <a:xfrm>
              <a:off x="1197502" y="5336741"/>
              <a:ext cx="2131986" cy="847343"/>
              <a:chOff x="218607" y="3894326"/>
              <a:chExt cx="2611614" cy="1037968"/>
            </a:xfrm>
          </p:grpSpPr>
          <p:grpSp>
            <p:nvGrpSpPr>
              <p:cNvPr id="51" name="Group 50"/>
              <p:cNvGrpSpPr/>
              <p:nvPr/>
            </p:nvGrpSpPr>
            <p:grpSpPr>
              <a:xfrm>
                <a:off x="218607" y="4086238"/>
                <a:ext cx="1505513" cy="846056"/>
                <a:chOff x="218607" y="4086238"/>
                <a:chExt cx="1505513" cy="846056"/>
              </a:xfrm>
            </p:grpSpPr>
            <p:pic>
              <p:nvPicPr>
                <p:cNvPr id="53" name="Phablet"/>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399" y="4086238"/>
                  <a:ext cx="918721" cy="846056"/>
                </a:xfrm>
                <a:prstGeom prst="rect">
                  <a:avLst/>
                </a:prstGeom>
              </p:spPr>
            </p:pic>
            <p:pic>
              <p:nvPicPr>
                <p:cNvPr id="54" name="Phon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607" y="4260187"/>
                  <a:ext cx="705007" cy="649243"/>
                </a:xfrm>
                <a:prstGeom prst="rect">
                  <a:avLst/>
                </a:prstGeom>
              </p:spPr>
            </p:pic>
          </p:grpSp>
          <p:pic>
            <p:nvPicPr>
              <p:cNvPr id="52" name="Small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6457" y="3894326"/>
                <a:ext cx="1393764" cy="1028916"/>
              </a:xfrm>
              <a:prstGeom prst="rect">
                <a:avLst/>
              </a:prstGeom>
            </p:spPr>
          </p:pic>
        </p:grpSp>
        <p:pic>
          <p:nvPicPr>
            <p:cNvPr id="46" name="2-in-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9955" y="5236003"/>
              <a:ext cx="2038344" cy="1483251"/>
            </a:xfrm>
            <a:prstGeom prst="rect">
              <a:avLst/>
            </a:prstGeom>
          </p:spPr>
        </p:pic>
        <p:grpSp>
          <p:nvGrpSpPr>
            <p:cNvPr id="47" name="Group 46"/>
            <p:cNvGrpSpPr/>
            <p:nvPr/>
          </p:nvGrpSpPr>
          <p:grpSpPr>
            <a:xfrm>
              <a:off x="4700336" y="4577302"/>
              <a:ext cx="4091677" cy="1558165"/>
              <a:chOff x="4188387" y="2878995"/>
              <a:chExt cx="4514862" cy="1719321"/>
            </a:xfrm>
          </p:grpSpPr>
          <p:pic>
            <p:nvPicPr>
              <p:cNvPr id="49" name="Laptop"/>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88387" y="3508025"/>
                <a:ext cx="1924461" cy="1090291"/>
              </a:xfrm>
              <a:prstGeom prst="rect">
                <a:avLst/>
              </a:prstGeom>
            </p:spPr>
          </p:pic>
          <p:pic>
            <p:nvPicPr>
              <p:cNvPr id="50" name="Desk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53863" y="2878995"/>
                <a:ext cx="3149386" cy="1697974"/>
              </a:xfrm>
              <a:prstGeom prst="rect">
                <a:avLst/>
              </a:prstGeom>
            </p:spPr>
          </p:pic>
        </p:grpSp>
        <p:pic>
          <p:nvPicPr>
            <p:cNvPr id="48"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73585" y="5728492"/>
              <a:ext cx="588355" cy="426753"/>
            </a:xfrm>
            <a:prstGeom prst="rect">
              <a:avLst/>
            </a:prstGeom>
          </p:spPr>
        </p:pic>
      </p:grpSp>
      <p:grpSp>
        <p:nvGrpSpPr>
          <p:cNvPr id="17" name="Group 16"/>
          <p:cNvGrpSpPr/>
          <p:nvPr/>
        </p:nvGrpSpPr>
        <p:grpSpPr>
          <a:xfrm>
            <a:off x="1041880" y="1993641"/>
            <a:ext cx="10539928" cy="3947709"/>
            <a:chOff x="1213773" y="1720898"/>
            <a:chExt cx="10752802" cy="4027440"/>
          </a:xfrm>
        </p:grpSpPr>
        <p:pic>
          <p:nvPicPr>
            <p:cNvPr id="18" name="Picture 1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13773" y="1720898"/>
              <a:ext cx="4563742" cy="2547512"/>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81775" y="4371975"/>
              <a:ext cx="2044700" cy="1091024"/>
            </a:xfrm>
            <a:prstGeom prst="rect">
              <a:avLst/>
            </a:prstGeom>
          </p:spPr>
        </p:pic>
        <p:pic>
          <p:nvPicPr>
            <p:cNvPr id="20" name="Picture 1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69668" y="4886325"/>
              <a:ext cx="1197769" cy="639896"/>
            </a:xfrm>
            <a:prstGeom prst="rect">
              <a:avLst/>
            </a:prstGeom>
          </p:spPr>
        </p:pic>
        <p:pic>
          <p:nvPicPr>
            <p:cNvPr id="25" name="Picture 2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29000" y="4967744"/>
              <a:ext cx="1072604" cy="780594"/>
            </a:xfrm>
            <a:prstGeom prst="rect">
              <a:avLst/>
            </a:prstGeom>
          </p:spPr>
        </p:pic>
        <p:pic>
          <p:nvPicPr>
            <p:cNvPr id="37" name="Picture 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85883" y="3886200"/>
              <a:ext cx="2880692" cy="1628775"/>
            </a:xfrm>
            <a:prstGeom prst="rect">
              <a:avLst/>
            </a:prstGeom>
          </p:spPr>
        </p:pic>
        <p:pic>
          <p:nvPicPr>
            <p:cNvPr id="38" name="Picture 3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686162" y="5086703"/>
              <a:ext cx="399938" cy="615962"/>
            </a:xfrm>
            <a:prstGeom prst="rect">
              <a:avLst/>
            </a:prstGeom>
          </p:spPr>
        </p:pic>
        <p:pic>
          <p:nvPicPr>
            <p:cNvPr id="39" name="Picture 3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038350" y="5248275"/>
              <a:ext cx="292887" cy="447247"/>
            </a:xfrm>
            <a:prstGeom prst="rect">
              <a:avLst/>
            </a:prstGeom>
          </p:spPr>
        </p:pic>
        <p:pic>
          <p:nvPicPr>
            <p:cNvPr id="40" name="Picture 3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513395" y="5379290"/>
              <a:ext cx="222535" cy="338457"/>
            </a:xfrm>
            <a:prstGeom prst="rect">
              <a:avLst/>
            </a:prstGeom>
          </p:spPr>
        </p:pic>
      </p:grpSp>
      <p:sp>
        <p:nvSpPr>
          <p:cNvPr id="27" name="Universal Windows Apps"/>
          <p:cNvSpPr>
            <a:spLocks noEditPoints="1"/>
          </p:cNvSpPr>
          <p:nvPr/>
        </p:nvSpPr>
        <p:spPr bwMode="auto">
          <a:xfrm>
            <a:off x="2526371" y="787918"/>
            <a:ext cx="7138484" cy="655217"/>
          </a:xfrm>
          <a:custGeom>
            <a:avLst/>
            <a:gdLst>
              <a:gd name="T0" fmla="*/ 697 w 2322"/>
              <a:gd name="T1" fmla="*/ 132 h 210"/>
              <a:gd name="T2" fmla="*/ 783 w 2322"/>
              <a:gd name="T3" fmla="*/ 90 h 210"/>
              <a:gd name="T4" fmla="*/ 721 w 2322"/>
              <a:gd name="T5" fmla="*/ 115 h 210"/>
              <a:gd name="T6" fmla="*/ 580 w 2322"/>
              <a:gd name="T7" fmla="*/ 66 h 210"/>
              <a:gd name="T8" fmla="*/ 555 w 2322"/>
              <a:gd name="T9" fmla="*/ 75 h 210"/>
              <a:gd name="T10" fmla="*/ 666 w 2322"/>
              <a:gd name="T11" fmla="*/ 155 h 210"/>
              <a:gd name="T12" fmla="*/ 659 w 2322"/>
              <a:gd name="T13" fmla="*/ 126 h 210"/>
              <a:gd name="T14" fmla="*/ 607 w 2322"/>
              <a:gd name="T15" fmla="*/ 81 h 210"/>
              <a:gd name="T16" fmla="*/ 646 w 2322"/>
              <a:gd name="T17" fmla="*/ 64 h 210"/>
              <a:gd name="T18" fmla="*/ 638 w 2322"/>
              <a:gd name="T19" fmla="*/ 96 h 210"/>
              <a:gd name="T20" fmla="*/ 287 w 2322"/>
              <a:gd name="T21" fmla="*/ 160 h 210"/>
              <a:gd name="T22" fmla="*/ 220 w 2322"/>
              <a:gd name="T23" fmla="*/ 99 h 210"/>
              <a:gd name="T24" fmla="*/ 165 w 2322"/>
              <a:gd name="T25" fmla="*/ 52 h 210"/>
              <a:gd name="T26" fmla="*/ 112 w 2322"/>
              <a:gd name="T27" fmla="*/ 99 h 210"/>
              <a:gd name="T28" fmla="*/ 94 w 2322"/>
              <a:gd name="T29" fmla="*/ 102 h 210"/>
              <a:gd name="T30" fmla="*/ 504 w 2322"/>
              <a:gd name="T31" fmla="*/ 153 h 210"/>
              <a:gd name="T32" fmla="*/ 500 w 2322"/>
              <a:gd name="T33" fmla="*/ 64 h 210"/>
              <a:gd name="T34" fmla="*/ 435 w 2322"/>
              <a:gd name="T35" fmla="*/ 96 h 210"/>
              <a:gd name="T36" fmla="*/ 271 w 2322"/>
              <a:gd name="T37" fmla="*/ 6 h 210"/>
              <a:gd name="T38" fmla="*/ 815 w 2322"/>
              <a:gd name="T39" fmla="*/ 0 h 210"/>
              <a:gd name="T40" fmla="*/ 353 w 2322"/>
              <a:gd name="T41" fmla="*/ 131 h 210"/>
              <a:gd name="T42" fmla="*/ 1868 w 2322"/>
              <a:gd name="T43" fmla="*/ 160 h 210"/>
              <a:gd name="T44" fmla="*/ 1889 w 2322"/>
              <a:gd name="T45" fmla="*/ 102 h 210"/>
              <a:gd name="T46" fmla="*/ 2058 w 2322"/>
              <a:gd name="T47" fmla="*/ 50 h 210"/>
              <a:gd name="T48" fmla="*/ 2020 w 2322"/>
              <a:gd name="T49" fmla="*/ 145 h 210"/>
              <a:gd name="T50" fmla="*/ 2075 w 2322"/>
              <a:gd name="T51" fmla="*/ 136 h 210"/>
              <a:gd name="T52" fmla="*/ 2076 w 2322"/>
              <a:gd name="T53" fmla="*/ 75 h 210"/>
              <a:gd name="T54" fmla="*/ 1752 w 2322"/>
              <a:gd name="T55" fmla="*/ 161 h 210"/>
              <a:gd name="T56" fmla="*/ 1753 w 2322"/>
              <a:gd name="T57" fmla="*/ 120 h 210"/>
              <a:gd name="T58" fmla="*/ 1710 w 2322"/>
              <a:gd name="T59" fmla="*/ 68 h 210"/>
              <a:gd name="T60" fmla="*/ 1737 w 2322"/>
              <a:gd name="T61" fmla="*/ 65 h 210"/>
              <a:gd name="T62" fmla="*/ 1747 w 2322"/>
              <a:gd name="T63" fmla="*/ 100 h 210"/>
              <a:gd name="T64" fmla="*/ 2147 w 2322"/>
              <a:gd name="T65" fmla="*/ 52 h 210"/>
              <a:gd name="T66" fmla="*/ 2216 w 2322"/>
              <a:gd name="T67" fmla="*/ 147 h 210"/>
              <a:gd name="T68" fmla="*/ 2147 w 2322"/>
              <a:gd name="T69" fmla="*/ 116 h 210"/>
              <a:gd name="T70" fmla="*/ 1676 w 2322"/>
              <a:gd name="T71" fmla="*/ 52 h 210"/>
              <a:gd name="T72" fmla="*/ 1616 w 2322"/>
              <a:gd name="T73" fmla="*/ 83 h 210"/>
              <a:gd name="T74" fmla="*/ 1585 w 2322"/>
              <a:gd name="T75" fmla="*/ 143 h 210"/>
              <a:gd name="T76" fmla="*/ 1654 w 2322"/>
              <a:gd name="T77" fmla="*/ 134 h 210"/>
              <a:gd name="T78" fmla="*/ 2251 w 2322"/>
              <a:gd name="T79" fmla="*/ 156 h 210"/>
              <a:gd name="T80" fmla="*/ 2280 w 2322"/>
              <a:gd name="T81" fmla="*/ 112 h 210"/>
              <a:gd name="T82" fmla="*/ 2277 w 2322"/>
              <a:gd name="T83" fmla="*/ 52 h 210"/>
              <a:gd name="T84" fmla="*/ 2270 w 2322"/>
              <a:gd name="T85" fmla="*/ 73 h 210"/>
              <a:gd name="T86" fmla="*/ 2314 w 2322"/>
              <a:gd name="T87" fmla="*/ 112 h 210"/>
              <a:gd name="T88" fmla="*/ 1130 w 2322"/>
              <a:gd name="T89" fmla="*/ 22 h 210"/>
              <a:gd name="T90" fmla="*/ 1066 w 2322"/>
              <a:gd name="T91" fmla="*/ 160 h 210"/>
              <a:gd name="T92" fmla="*/ 957 w 2322"/>
              <a:gd name="T93" fmla="*/ 160 h 210"/>
              <a:gd name="T94" fmla="*/ 1004 w 2322"/>
              <a:gd name="T95" fmla="*/ 9 h 210"/>
              <a:gd name="T96" fmla="*/ 1129 w 2322"/>
              <a:gd name="T97" fmla="*/ 52 h 210"/>
              <a:gd name="T98" fmla="*/ 1423 w 2322"/>
              <a:gd name="T99" fmla="*/ 108 h 210"/>
              <a:gd name="T100" fmla="*/ 1503 w 2322"/>
              <a:gd name="T101" fmla="*/ 137 h 210"/>
              <a:gd name="T102" fmla="*/ 1512 w 2322"/>
              <a:gd name="T103" fmla="*/ 107 h 210"/>
              <a:gd name="T104" fmla="*/ 1228 w 2322"/>
              <a:gd name="T105" fmla="*/ 64 h 210"/>
              <a:gd name="T106" fmla="*/ 1198 w 2322"/>
              <a:gd name="T107" fmla="*/ 70 h 210"/>
              <a:gd name="T108" fmla="*/ 1309 w 2322"/>
              <a:gd name="T109" fmla="*/ 66 h 210"/>
              <a:gd name="T110" fmla="*/ 1395 w 2322"/>
              <a:gd name="T111" fmla="*/ 160 h 210"/>
              <a:gd name="T112" fmla="*/ 1322 w 2322"/>
              <a:gd name="T113" fmla="*/ 13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22" h="210">
                <a:moveTo>
                  <a:pt x="744" y="50"/>
                </a:moveTo>
                <a:cubicBezTo>
                  <a:pt x="731" y="50"/>
                  <a:pt x="718" y="53"/>
                  <a:pt x="708" y="60"/>
                </a:cubicBezTo>
                <a:cubicBezTo>
                  <a:pt x="708" y="78"/>
                  <a:pt x="708" y="78"/>
                  <a:pt x="708" y="78"/>
                </a:cubicBezTo>
                <a:cubicBezTo>
                  <a:pt x="718" y="69"/>
                  <a:pt x="730" y="64"/>
                  <a:pt x="743" y="64"/>
                </a:cubicBezTo>
                <a:cubicBezTo>
                  <a:pt x="758" y="64"/>
                  <a:pt x="765" y="74"/>
                  <a:pt x="765" y="92"/>
                </a:cubicBezTo>
                <a:cubicBezTo>
                  <a:pt x="733" y="96"/>
                  <a:pt x="733" y="96"/>
                  <a:pt x="733" y="96"/>
                </a:cubicBezTo>
                <a:cubicBezTo>
                  <a:pt x="709" y="100"/>
                  <a:pt x="697" y="111"/>
                  <a:pt x="697" y="132"/>
                </a:cubicBezTo>
                <a:cubicBezTo>
                  <a:pt x="697" y="141"/>
                  <a:pt x="700" y="149"/>
                  <a:pt x="706" y="154"/>
                </a:cubicBezTo>
                <a:cubicBezTo>
                  <a:pt x="712" y="160"/>
                  <a:pt x="721" y="163"/>
                  <a:pt x="732" y="163"/>
                </a:cubicBezTo>
                <a:cubicBezTo>
                  <a:pt x="746" y="163"/>
                  <a:pt x="757" y="156"/>
                  <a:pt x="765" y="143"/>
                </a:cubicBezTo>
                <a:cubicBezTo>
                  <a:pt x="765" y="143"/>
                  <a:pt x="765" y="143"/>
                  <a:pt x="765" y="143"/>
                </a:cubicBezTo>
                <a:cubicBezTo>
                  <a:pt x="765" y="160"/>
                  <a:pt x="765" y="160"/>
                  <a:pt x="765" y="160"/>
                </a:cubicBezTo>
                <a:cubicBezTo>
                  <a:pt x="783" y="160"/>
                  <a:pt x="783" y="160"/>
                  <a:pt x="783" y="160"/>
                </a:cubicBezTo>
                <a:cubicBezTo>
                  <a:pt x="783" y="90"/>
                  <a:pt x="783" y="90"/>
                  <a:pt x="783" y="90"/>
                </a:cubicBezTo>
                <a:cubicBezTo>
                  <a:pt x="783" y="63"/>
                  <a:pt x="770" y="50"/>
                  <a:pt x="744" y="50"/>
                </a:cubicBezTo>
                <a:close/>
                <a:moveTo>
                  <a:pt x="765" y="116"/>
                </a:moveTo>
                <a:cubicBezTo>
                  <a:pt x="765" y="126"/>
                  <a:pt x="762" y="133"/>
                  <a:pt x="757" y="139"/>
                </a:cubicBezTo>
                <a:cubicBezTo>
                  <a:pt x="751" y="145"/>
                  <a:pt x="744" y="148"/>
                  <a:pt x="736" y="148"/>
                </a:cubicBezTo>
                <a:cubicBezTo>
                  <a:pt x="729" y="148"/>
                  <a:pt x="724" y="147"/>
                  <a:pt x="721" y="143"/>
                </a:cubicBezTo>
                <a:cubicBezTo>
                  <a:pt x="717" y="140"/>
                  <a:pt x="715" y="136"/>
                  <a:pt x="715" y="130"/>
                </a:cubicBezTo>
                <a:cubicBezTo>
                  <a:pt x="715" y="123"/>
                  <a:pt x="717" y="118"/>
                  <a:pt x="721" y="115"/>
                </a:cubicBezTo>
                <a:cubicBezTo>
                  <a:pt x="725" y="112"/>
                  <a:pt x="731" y="110"/>
                  <a:pt x="739" y="109"/>
                </a:cubicBezTo>
                <a:cubicBezTo>
                  <a:pt x="765" y="106"/>
                  <a:pt x="765" y="106"/>
                  <a:pt x="765" y="106"/>
                </a:cubicBezTo>
                <a:lnTo>
                  <a:pt x="765" y="116"/>
                </a:lnTo>
                <a:close/>
                <a:moveTo>
                  <a:pt x="583" y="50"/>
                </a:moveTo>
                <a:cubicBezTo>
                  <a:pt x="588" y="50"/>
                  <a:pt x="591" y="51"/>
                  <a:pt x="594" y="52"/>
                </a:cubicBezTo>
                <a:cubicBezTo>
                  <a:pt x="594" y="70"/>
                  <a:pt x="594" y="70"/>
                  <a:pt x="594" y="70"/>
                </a:cubicBezTo>
                <a:cubicBezTo>
                  <a:pt x="591" y="68"/>
                  <a:pt x="586" y="66"/>
                  <a:pt x="580" y="66"/>
                </a:cubicBezTo>
                <a:cubicBezTo>
                  <a:pt x="573" y="66"/>
                  <a:pt x="567" y="70"/>
                  <a:pt x="562" y="77"/>
                </a:cubicBezTo>
                <a:cubicBezTo>
                  <a:pt x="557" y="84"/>
                  <a:pt x="555" y="93"/>
                  <a:pt x="555" y="105"/>
                </a:cubicBezTo>
                <a:cubicBezTo>
                  <a:pt x="555" y="160"/>
                  <a:pt x="555" y="160"/>
                  <a:pt x="555" y="160"/>
                </a:cubicBezTo>
                <a:cubicBezTo>
                  <a:pt x="537" y="160"/>
                  <a:pt x="537" y="160"/>
                  <a:pt x="537" y="160"/>
                </a:cubicBezTo>
                <a:cubicBezTo>
                  <a:pt x="537" y="52"/>
                  <a:pt x="537" y="52"/>
                  <a:pt x="537" y="52"/>
                </a:cubicBezTo>
                <a:cubicBezTo>
                  <a:pt x="555" y="52"/>
                  <a:pt x="555" y="52"/>
                  <a:pt x="555" y="52"/>
                </a:cubicBezTo>
                <a:cubicBezTo>
                  <a:pt x="555" y="75"/>
                  <a:pt x="555" y="75"/>
                  <a:pt x="555" y="75"/>
                </a:cubicBezTo>
                <a:cubicBezTo>
                  <a:pt x="555" y="75"/>
                  <a:pt x="555" y="75"/>
                  <a:pt x="555" y="75"/>
                </a:cubicBezTo>
                <a:cubicBezTo>
                  <a:pt x="557" y="67"/>
                  <a:pt x="561" y="61"/>
                  <a:pt x="566" y="57"/>
                </a:cubicBezTo>
                <a:cubicBezTo>
                  <a:pt x="571" y="53"/>
                  <a:pt x="577" y="50"/>
                  <a:pt x="583" y="50"/>
                </a:cubicBezTo>
                <a:close/>
                <a:moveTo>
                  <a:pt x="676" y="120"/>
                </a:moveTo>
                <a:cubicBezTo>
                  <a:pt x="678" y="123"/>
                  <a:pt x="679" y="127"/>
                  <a:pt x="679" y="131"/>
                </a:cubicBezTo>
                <a:cubicBezTo>
                  <a:pt x="679" y="137"/>
                  <a:pt x="677" y="141"/>
                  <a:pt x="675" y="145"/>
                </a:cubicBezTo>
                <a:cubicBezTo>
                  <a:pt x="673" y="149"/>
                  <a:pt x="670" y="153"/>
                  <a:pt x="666" y="155"/>
                </a:cubicBezTo>
                <a:cubicBezTo>
                  <a:pt x="662" y="158"/>
                  <a:pt x="657" y="160"/>
                  <a:pt x="652" y="161"/>
                </a:cubicBezTo>
                <a:cubicBezTo>
                  <a:pt x="647" y="162"/>
                  <a:pt x="642" y="163"/>
                  <a:pt x="636" y="163"/>
                </a:cubicBezTo>
                <a:cubicBezTo>
                  <a:pt x="625" y="163"/>
                  <a:pt x="615" y="161"/>
                  <a:pt x="607" y="156"/>
                </a:cubicBezTo>
                <a:cubicBezTo>
                  <a:pt x="607" y="138"/>
                  <a:pt x="607" y="138"/>
                  <a:pt x="607" y="138"/>
                </a:cubicBezTo>
                <a:cubicBezTo>
                  <a:pt x="616" y="145"/>
                  <a:pt x="627" y="148"/>
                  <a:pt x="638" y="148"/>
                </a:cubicBezTo>
                <a:cubicBezTo>
                  <a:pt x="653" y="148"/>
                  <a:pt x="661" y="143"/>
                  <a:pt x="661" y="133"/>
                </a:cubicBezTo>
                <a:cubicBezTo>
                  <a:pt x="661" y="130"/>
                  <a:pt x="660" y="128"/>
                  <a:pt x="659" y="126"/>
                </a:cubicBezTo>
                <a:cubicBezTo>
                  <a:pt x="658" y="124"/>
                  <a:pt x="656" y="122"/>
                  <a:pt x="654" y="120"/>
                </a:cubicBezTo>
                <a:cubicBezTo>
                  <a:pt x="651" y="119"/>
                  <a:pt x="649" y="118"/>
                  <a:pt x="646" y="116"/>
                </a:cubicBezTo>
                <a:cubicBezTo>
                  <a:pt x="643" y="115"/>
                  <a:pt x="640" y="114"/>
                  <a:pt x="636" y="112"/>
                </a:cubicBezTo>
                <a:cubicBezTo>
                  <a:pt x="631" y="111"/>
                  <a:pt x="627" y="109"/>
                  <a:pt x="624" y="107"/>
                </a:cubicBezTo>
                <a:cubicBezTo>
                  <a:pt x="620" y="105"/>
                  <a:pt x="617" y="103"/>
                  <a:pt x="615" y="100"/>
                </a:cubicBezTo>
                <a:cubicBezTo>
                  <a:pt x="612" y="98"/>
                  <a:pt x="610" y="95"/>
                  <a:pt x="609" y="92"/>
                </a:cubicBezTo>
                <a:cubicBezTo>
                  <a:pt x="608" y="89"/>
                  <a:pt x="607" y="85"/>
                  <a:pt x="607" y="81"/>
                </a:cubicBezTo>
                <a:cubicBezTo>
                  <a:pt x="607" y="76"/>
                  <a:pt x="608" y="71"/>
                  <a:pt x="611" y="68"/>
                </a:cubicBezTo>
                <a:cubicBezTo>
                  <a:pt x="613" y="64"/>
                  <a:pt x="616" y="60"/>
                  <a:pt x="620" y="58"/>
                </a:cubicBezTo>
                <a:cubicBezTo>
                  <a:pt x="624" y="55"/>
                  <a:pt x="628" y="53"/>
                  <a:pt x="633" y="52"/>
                </a:cubicBezTo>
                <a:cubicBezTo>
                  <a:pt x="638" y="50"/>
                  <a:pt x="643" y="50"/>
                  <a:pt x="649" y="50"/>
                </a:cubicBezTo>
                <a:cubicBezTo>
                  <a:pt x="658" y="50"/>
                  <a:pt x="666" y="51"/>
                  <a:pt x="674" y="55"/>
                </a:cubicBezTo>
                <a:cubicBezTo>
                  <a:pt x="674" y="72"/>
                  <a:pt x="674" y="72"/>
                  <a:pt x="674" y="72"/>
                </a:cubicBezTo>
                <a:cubicBezTo>
                  <a:pt x="666" y="67"/>
                  <a:pt x="657" y="64"/>
                  <a:pt x="646" y="64"/>
                </a:cubicBezTo>
                <a:cubicBezTo>
                  <a:pt x="643" y="64"/>
                  <a:pt x="640" y="65"/>
                  <a:pt x="637" y="65"/>
                </a:cubicBezTo>
                <a:cubicBezTo>
                  <a:pt x="635" y="66"/>
                  <a:pt x="633" y="67"/>
                  <a:pt x="631" y="69"/>
                </a:cubicBezTo>
                <a:cubicBezTo>
                  <a:pt x="629" y="70"/>
                  <a:pt x="627" y="72"/>
                  <a:pt x="626" y="73"/>
                </a:cubicBezTo>
                <a:cubicBezTo>
                  <a:pt x="625" y="75"/>
                  <a:pt x="625" y="77"/>
                  <a:pt x="625" y="80"/>
                </a:cubicBezTo>
                <a:cubicBezTo>
                  <a:pt x="625" y="82"/>
                  <a:pt x="625" y="85"/>
                  <a:pt x="626" y="87"/>
                </a:cubicBezTo>
                <a:cubicBezTo>
                  <a:pt x="627" y="89"/>
                  <a:pt x="629" y="90"/>
                  <a:pt x="631" y="92"/>
                </a:cubicBezTo>
                <a:cubicBezTo>
                  <a:pt x="633" y="93"/>
                  <a:pt x="635" y="94"/>
                  <a:pt x="638" y="96"/>
                </a:cubicBezTo>
                <a:cubicBezTo>
                  <a:pt x="641" y="97"/>
                  <a:pt x="644" y="98"/>
                  <a:pt x="648" y="100"/>
                </a:cubicBezTo>
                <a:cubicBezTo>
                  <a:pt x="653" y="101"/>
                  <a:pt x="657" y="103"/>
                  <a:pt x="661" y="105"/>
                </a:cubicBezTo>
                <a:cubicBezTo>
                  <a:pt x="664" y="107"/>
                  <a:pt x="668" y="109"/>
                  <a:pt x="670" y="112"/>
                </a:cubicBezTo>
                <a:cubicBezTo>
                  <a:pt x="673" y="114"/>
                  <a:pt x="675" y="117"/>
                  <a:pt x="676" y="120"/>
                </a:cubicBezTo>
                <a:close/>
                <a:moveTo>
                  <a:pt x="270" y="52"/>
                </a:moveTo>
                <a:cubicBezTo>
                  <a:pt x="287" y="52"/>
                  <a:pt x="287" y="52"/>
                  <a:pt x="287" y="52"/>
                </a:cubicBezTo>
                <a:cubicBezTo>
                  <a:pt x="287" y="160"/>
                  <a:pt x="287" y="160"/>
                  <a:pt x="287" y="160"/>
                </a:cubicBezTo>
                <a:cubicBezTo>
                  <a:pt x="270" y="160"/>
                  <a:pt x="270" y="160"/>
                  <a:pt x="270" y="160"/>
                </a:cubicBezTo>
                <a:lnTo>
                  <a:pt x="270" y="52"/>
                </a:lnTo>
                <a:close/>
                <a:moveTo>
                  <a:pt x="228" y="61"/>
                </a:moveTo>
                <a:cubicBezTo>
                  <a:pt x="234" y="69"/>
                  <a:pt x="237" y="80"/>
                  <a:pt x="237" y="94"/>
                </a:cubicBezTo>
                <a:cubicBezTo>
                  <a:pt x="237" y="160"/>
                  <a:pt x="237" y="160"/>
                  <a:pt x="237" y="160"/>
                </a:cubicBezTo>
                <a:cubicBezTo>
                  <a:pt x="220" y="160"/>
                  <a:pt x="220" y="160"/>
                  <a:pt x="220" y="160"/>
                </a:cubicBezTo>
                <a:cubicBezTo>
                  <a:pt x="220" y="99"/>
                  <a:pt x="220" y="99"/>
                  <a:pt x="220" y="99"/>
                </a:cubicBezTo>
                <a:cubicBezTo>
                  <a:pt x="220" y="76"/>
                  <a:pt x="211" y="64"/>
                  <a:pt x="195" y="64"/>
                </a:cubicBezTo>
                <a:cubicBezTo>
                  <a:pt x="186" y="64"/>
                  <a:pt x="179" y="68"/>
                  <a:pt x="173" y="74"/>
                </a:cubicBezTo>
                <a:cubicBezTo>
                  <a:pt x="168" y="81"/>
                  <a:pt x="165" y="89"/>
                  <a:pt x="165" y="99"/>
                </a:cubicBezTo>
                <a:cubicBezTo>
                  <a:pt x="165" y="160"/>
                  <a:pt x="165" y="160"/>
                  <a:pt x="165" y="160"/>
                </a:cubicBezTo>
                <a:cubicBezTo>
                  <a:pt x="147" y="160"/>
                  <a:pt x="147" y="160"/>
                  <a:pt x="147" y="160"/>
                </a:cubicBezTo>
                <a:cubicBezTo>
                  <a:pt x="147" y="52"/>
                  <a:pt x="147" y="52"/>
                  <a:pt x="147" y="52"/>
                </a:cubicBezTo>
                <a:cubicBezTo>
                  <a:pt x="165" y="52"/>
                  <a:pt x="165" y="52"/>
                  <a:pt x="165" y="52"/>
                </a:cubicBezTo>
                <a:cubicBezTo>
                  <a:pt x="165" y="70"/>
                  <a:pt x="165" y="70"/>
                  <a:pt x="165" y="70"/>
                </a:cubicBezTo>
                <a:cubicBezTo>
                  <a:pt x="165" y="70"/>
                  <a:pt x="165" y="70"/>
                  <a:pt x="165" y="70"/>
                </a:cubicBezTo>
                <a:cubicBezTo>
                  <a:pt x="173" y="57"/>
                  <a:pt x="185" y="50"/>
                  <a:pt x="201" y="50"/>
                </a:cubicBezTo>
                <a:cubicBezTo>
                  <a:pt x="212" y="50"/>
                  <a:pt x="221" y="54"/>
                  <a:pt x="228" y="61"/>
                </a:cubicBezTo>
                <a:close/>
                <a:moveTo>
                  <a:pt x="94" y="9"/>
                </a:moveTo>
                <a:cubicBezTo>
                  <a:pt x="112" y="9"/>
                  <a:pt x="112" y="9"/>
                  <a:pt x="112" y="9"/>
                </a:cubicBezTo>
                <a:cubicBezTo>
                  <a:pt x="112" y="99"/>
                  <a:pt x="112" y="99"/>
                  <a:pt x="112" y="99"/>
                </a:cubicBezTo>
                <a:cubicBezTo>
                  <a:pt x="112" y="142"/>
                  <a:pt x="93" y="163"/>
                  <a:pt x="55" y="163"/>
                </a:cubicBezTo>
                <a:cubicBezTo>
                  <a:pt x="18" y="163"/>
                  <a:pt x="0" y="142"/>
                  <a:pt x="0" y="102"/>
                </a:cubicBezTo>
                <a:cubicBezTo>
                  <a:pt x="0" y="9"/>
                  <a:pt x="0" y="9"/>
                  <a:pt x="0" y="9"/>
                </a:cubicBezTo>
                <a:cubicBezTo>
                  <a:pt x="17" y="9"/>
                  <a:pt x="17" y="9"/>
                  <a:pt x="17" y="9"/>
                </a:cubicBezTo>
                <a:cubicBezTo>
                  <a:pt x="17" y="100"/>
                  <a:pt x="17" y="100"/>
                  <a:pt x="17" y="100"/>
                </a:cubicBezTo>
                <a:cubicBezTo>
                  <a:pt x="17" y="131"/>
                  <a:pt x="30" y="147"/>
                  <a:pt x="57" y="147"/>
                </a:cubicBezTo>
                <a:cubicBezTo>
                  <a:pt x="82" y="147"/>
                  <a:pt x="94" y="132"/>
                  <a:pt x="94" y="102"/>
                </a:cubicBezTo>
                <a:lnTo>
                  <a:pt x="94" y="9"/>
                </a:lnTo>
                <a:close/>
                <a:moveTo>
                  <a:pt x="467" y="50"/>
                </a:moveTo>
                <a:cubicBezTo>
                  <a:pt x="453" y="50"/>
                  <a:pt x="441" y="55"/>
                  <a:pt x="431" y="66"/>
                </a:cubicBezTo>
                <a:cubicBezTo>
                  <a:pt x="422" y="76"/>
                  <a:pt x="417" y="90"/>
                  <a:pt x="417" y="107"/>
                </a:cubicBezTo>
                <a:cubicBezTo>
                  <a:pt x="417" y="125"/>
                  <a:pt x="421" y="138"/>
                  <a:pt x="430" y="148"/>
                </a:cubicBezTo>
                <a:cubicBezTo>
                  <a:pt x="439" y="158"/>
                  <a:pt x="451" y="163"/>
                  <a:pt x="466" y="163"/>
                </a:cubicBezTo>
                <a:cubicBezTo>
                  <a:pt x="482" y="163"/>
                  <a:pt x="494" y="159"/>
                  <a:pt x="504" y="153"/>
                </a:cubicBezTo>
                <a:cubicBezTo>
                  <a:pt x="504" y="136"/>
                  <a:pt x="504" y="136"/>
                  <a:pt x="504" y="136"/>
                </a:cubicBezTo>
                <a:cubicBezTo>
                  <a:pt x="494" y="144"/>
                  <a:pt x="482" y="148"/>
                  <a:pt x="470" y="148"/>
                </a:cubicBezTo>
                <a:cubicBezTo>
                  <a:pt x="459" y="148"/>
                  <a:pt x="451" y="145"/>
                  <a:pt x="445" y="139"/>
                </a:cubicBezTo>
                <a:cubicBezTo>
                  <a:pt x="438" y="132"/>
                  <a:pt x="435" y="123"/>
                  <a:pt x="435" y="111"/>
                </a:cubicBezTo>
                <a:cubicBezTo>
                  <a:pt x="511" y="111"/>
                  <a:pt x="511" y="111"/>
                  <a:pt x="511" y="111"/>
                </a:cubicBezTo>
                <a:cubicBezTo>
                  <a:pt x="511" y="102"/>
                  <a:pt x="511" y="102"/>
                  <a:pt x="511" y="102"/>
                </a:cubicBezTo>
                <a:cubicBezTo>
                  <a:pt x="511" y="85"/>
                  <a:pt x="507" y="73"/>
                  <a:pt x="500" y="64"/>
                </a:cubicBezTo>
                <a:cubicBezTo>
                  <a:pt x="492" y="54"/>
                  <a:pt x="481" y="50"/>
                  <a:pt x="467" y="50"/>
                </a:cubicBezTo>
                <a:close/>
                <a:moveTo>
                  <a:pt x="435" y="96"/>
                </a:moveTo>
                <a:cubicBezTo>
                  <a:pt x="437" y="87"/>
                  <a:pt x="440" y="79"/>
                  <a:pt x="446" y="73"/>
                </a:cubicBezTo>
                <a:cubicBezTo>
                  <a:pt x="451" y="67"/>
                  <a:pt x="458" y="64"/>
                  <a:pt x="467" y="64"/>
                </a:cubicBezTo>
                <a:cubicBezTo>
                  <a:pt x="475" y="64"/>
                  <a:pt x="482" y="67"/>
                  <a:pt x="486" y="73"/>
                </a:cubicBezTo>
                <a:cubicBezTo>
                  <a:pt x="491" y="78"/>
                  <a:pt x="493" y="86"/>
                  <a:pt x="494" y="96"/>
                </a:cubicBezTo>
                <a:lnTo>
                  <a:pt x="435" y="96"/>
                </a:lnTo>
                <a:close/>
                <a:moveTo>
                  <a:pt x="287" y="6"/>
                </a:moveTo>
                <a:cubicBezTo>
                  <a:pt x="289" y="8"/>
                  <a:pt x="290" y="11"/>
                  <a:pt x="290" y="14"/>
                </a:cubicBezTo>
                <a:cubicBezTo>
                  <a:pt x="290" y="17"/>
                  <a:pt x="289" y="19"/>
                  <a:pt x="287" y="22"/>
                </a:cubicBezTo>
                <a:cubicBezTo>
                  <a:pt x="285" y="24"/>
                  <a:pt x="282" y="25"/>
                  <a:pt x="279" y="25"/>
                </a:cubicBezTo>
                <a:cubicBezTo>
                  <a:pt x="276" y="25"/>
                  <a:pt x="273" y="24"/>
                  <a:pt x="271" y="22"/>
                </a:cubicBezTo>
                <a:cubicBezTo>
                  <a:pt x="269" y="20"/>
                  <a:pt x="268" y="17"/>
                  <a:pt x="268" y="14"/>
                </a:cubicBezTo>
                <a:cubicBezTo>
                  <a:pt x="268" y="11"/>
                  <a:pt x="269" y="8"/>
                  <a:pt x="271" y="6"/>
                </a:cubicBezTo>
                <a:cubicBezTo>
                  <a:pt x="273" y="4"/>
                  <a:pt x="276" y="2"/>
                  <a:pt x="279" y="2"/>
                </a:cubicBezTo>
                <a:cubicBezTo>
                  <a:pt x="282" y="2"/>
                  <a:pt x="285" y="4"/>
                  <a:pt x="287" y="6"/>
                </a:cubicBezTo>
                <a:close/>
                <a:moveTo>
                  <a:pt x="815" y="0"/>
                </a:moveTo>
                <a:cubicBezTo>
                  <a:pt x="832" y="0"/>
                  <a:pt x="832" y="0"/>
                  <a:pt x="832" y="0"/>
                </a:cubicBezTo>
                <a:cubicBezTo>
                  <a:pt x="832" y="160"/>
                  <a:pt x="832" y="160"/>
                  <a:pt x="832" y="160"/>
                </a:cubicBezTo>
                <a:cubicBezTo>
                  <a:pt x="815" y="160"/>
                  <a:pt x="815" y="160"/>
                  <a:pt x="815" y="160"/>
                </a:cubicBezTo>
                <a:lnTo>
                  <a:pt x="815" y="0"/>
                </a:lnTo>
                <a:close/>
                <a:moveTo>
                  <a:pt x="389" y="52"/>
                </a:moveTo>
                <a:cubicBezTo>
                  <a:pt x="407" y="52"/>
                  <a:pt x="407" y="52"/>
                  <a:pt x="407" y="52"/>
                </a:cubicBezTo>
                <a:cubicBezTo>
                  <a:pt x="364" y="160"/>
                  <a:pt x="364" y="160"/>
                  <a:pt x="364" y="160"/>
                </a:cubicBezTo>
                <a:cubicBezTo>
                  <a:pt x="347" y="160"/>
                  <a:pt x="347" y="160"/>
                  <a:pt x="347" y="160"/>
                </a:cubicBezTo>
                <a:cubicBezTo>
                  <a:pt x="306" y="52"/>
                  <a:pt x="306" y="52"/>
                  <a:pt x="306" y="52"/>
                </a:cubicBezTo>
                <a:cubicBezTo>
                  <a:pt x="325" y="52"/>
                  <a:pt x="325" y="52"/>
                  <a:pt x="325" y="52"/>
                </a:cubicBezTo>
                <a:cubicBezTo>
                  <a:pt x="353" y="131"/>
                  <a:pt x="353" y="131"/>
                  <a:pt x="353" y="131"/>
                </a:cubicBezTo>
                <a:cubicBezTo>
                  <a:pt x="355" y="137"/>
                  <a:pt x="356" y="142"/>
                  <a:pt x="356" y="146"/>
                </a:cubicBezTo>
                <a:cubicBezTo>
                  <a:pt x="357" y="146"/>
                  <a:pt x="357" y="146"/>
                  <a:pt x="357" y="146"/>
                </a:cubicBezTo>
                <a:cubicBezTo>
                  <a:pt x="357" y="140"/>
                  <a:pt x="359" y="136"/>
                  <a:pt x="360" y="131"/>
                </a:cubicBezTo>
                <a:lnTo>
                  <a:pt x="389" y="52"/>
                </a:lnTo>
                <a:close/>
                <a:moveTo>
                  <a:pt x="1906" y="9"/>
                </a:moveTo>
                <a:cubicBezTo>
                  <a:pt x="1848" y="160"/>
                  <a:pt x="1848" y="160"/>
                  <a:pt x="1848" y="160"/>
                </a:cubicBezTo>
                <a:cubicBezTo>
                  <a:pt x="1868" y="160"/>
                  <a:pt x="1868" y="160"/>
                  <a:pt x="1868" y="160"/>
                </a:cubicBezTo>
                <a:cubicBezTo>
                  <a:pt x="1883" y="118"/>
                  <a:pt x="1883" y="118"/>
                  <a:pt x="1883" y="118"/>
                </a:cubicBezTo>
                <a:cubicBezTo>
                  <a:pt x="1947" y="118"/>
                  <a:pt x="1947" y="118"/>
                  <a:pt x="1947" y="118"/>
                </a:cubicBezTo>
                <a:cubicBezTo>
                  <a:pt x="1963" y="160"/>
                  <a:pt x="1963" y="160"/>
                  <a:pt x="1963" y="160"/>
                </a:cubicBezTo>
                <a:cubicBezTo>
                  <a:pt x="1983" y="160"/>
                  <a:pt x="1983" y="160"/>
                  <a:pt x="1983" y="160"/>
                </a:cubicBezTo>
                <a:cubicBezTo>
                  <a:pt x="1925" y="9"/>
                  <a:pt x="1925" y="9"/>
                  <a:pt x="1925" y="9"/>
                </a:cubicBezTo>
                <a:lnTo>
                  <a:pt x="1906" y="9"/>
                </a:lnTo>
                <a:close/>
                <a:moveTo>
                  <a:pt x="1889" y="102"/>
                </a:moveTo>
                <a:cubicBezTo>
                  <a:pt x="1913" y="38"/>
                  <a:pt x="1913" y="38"/>
                  <a:pt x="1913" y="38"/>
                </a:cubicBezTo>
                <a:cubicBezTo>
                  <a:pt x="1913" y="35"/>
                  <a:pt x="1914" y="32"/>
                  <a:pt x="1915" y="27"/>
                </a:cubicBezTo>
                <a:cubicBezTo>
                  <a:pt x="1915" y="27"/>
                  <a:pt x="1915" y="27"/>
                  <a:pt x="1915" y="27"/>
                </a:cubicBezTo>
                <a:cubicBezTo>
                  <a:pt x="1916" y="32"/>
                  <a:pt x="1917" y="35"/>
                  <a:pt x="1918" y="38"/>
                </a:cubicBezTo>
                <a:cubicBezTo>
                  <a:pt x="1941" y="102"/>
                  <a:pt x="1941" y="102"/>
                  <a:pt x="1941" y="102"/>
                </a:cubicBezTo>
                <a:lnTo>
                  <a:pt x="1889" y="102"/>
                </a:lnTo>
                <a:close/>
                <a:moveTo>
                  <a:pt x="2058" y="50"/>
                </a:moveTo>
                <a:cubicBezTo>
                  <a:pt x="2041" y="50"/>
                  <a:pt x="2029" y="57"/>
                  <a:pt x="2020" y="71"/>
                </a:cubicBezTo>
                <a:cubicBezTo>
                  <a:pt x="2020" y="71"/>
                  <a:pt x="2020" y="71"/>
                  <a:pt x="2020" y="71"/>
                </a:cubicBezTo>
                <a:cubicBezTo>
                  <a:pt x="2020" y="52"/>
                  <a:pt x="2020" y="52"/>
                  <a:pt x="2020" y="52"/>
                </a:cubicBezTo>
                <a:cubicBezTo>
                  <a:pt x="2003" y="52"/>
                  <a:pt x="2003" y="52"/>
                  <a:pt x="2003" y="52"/>
                </a:cubicBezTo>
                <a:cubicBezTo>
                  <a:pt x="2003" y="210"/>
                  <a:pt x="2003" y="210"/>
                  <a:pt x="2003" y="210"/>
                </a:cubicBezTo>
                <a:cubicBezTo>
                  <a:pt x="2020" y="210"/>
                  <a:pt x="2020" y="210"/>
                  <a:pt x="2020" y="210"/>
                </a:cubicBezTo>
                <a:cubicBezTo>
                  <a:pt x="2020" y="145"/>
                  <a:pt x="2020" y="145"/>
                  <a:pt x="2020" y="145"/>
                </a:cubicBezTo>
                <a:cubicBezTo>
                  <a:pt x="2020" y="145"/>
                  <a:pt x="2020" y="145"/>
                  <a:pt x="2020" y="145"/>
                </a:cubicBezTo>
                <a:cubicBezTo>
                  <a:pt x="2028" y="157"/>
                  <a:pt x="2039" y="163"/>
                  <a:pt x="2053" y="163"/>
                </a:cubicBezTo>
                <a:cubicBezTo>
                  <a:pt x="2068" y="163"/>
                  <a:pt x="2080" y="157"/>
                  <a:pt x="2089" y="147"/>
                </a:cubicBezTo>
                <a:cubicBezTo>
                  <a:pt x="2098" y="136"/>
                  <a:pt x="2102" y="121"/>
                  <a:pt x="2102" y="103"/>
                </a:cubicBezTo>
                <a:cubicBezTo>
                  <a:pt x="2102" y="87"/>
                  <a:pt x="2098" y="74"/>
                  <a:pt x="2090" y="64"/>
                </a:cubicBezTo>
                <a:cubicBezTo>
                  <a:pt x="2083" y="55"/>
                  <a:pt x="2072" y="50"/>
                  <a:pt x="2058" y="50"/>
                </a:cubicBezTo>
                <a:close/>
                <a:moveTo>
                  <a:pt x="2075" y="136"/>
                </a:moveTo>
                <a:cubicBezTo>
                  <a:pt x="2069" y="144"/>
                  <a:pt x="2061" y="148"/>
                  <a:pt x="2051" y="148"/>
                </a:cubicBezTo>
                <a:cubicBezTo>
                  <a:pt x="2042" y="148"/>
                  <a:pt x="2034" y="145"/>
                  <a:pt x="2029" y="139"/>
                </a:cubicBezTo>
                <a:cubicBezTo>
                  <a:pt x="2023" y="133"/>
                  <a:pt x="2020" y="125"/>
                  <a:pt x="2020" y="116"/>
                </a:cubicBezTo>
                <a:cubicBezTo>
                  <a:pt x="2020" y="101"/>
                  <a:pt x="2020" y="101"/>
                  <a:pt x="2020" y="101"/>
                </a:cubicBezTo>
                <a:cubicBezTo>
                  <a:pt x="2020" y="91"/>
                  <a:pt x="2023" y="82"/>
                  <a:pt x="2029" y="75"/>
                </a:cubicBezTo>
                <a:cubicBezTo>
                  <a:pt x="2035" y="68"/>
                  <a:pt x="2043" y="64"/>
                  <a:pt x="2053" y="64"/>
                </a:cubicBezTo>
                <a:cubicBezTo>
                  <a:pt x="2063" y="64"/>
                  <a:pt x="2070" y="68"/>
                  <a:pt x="2076" y="75"/>
                </a:cubicBezTo>
                <a:cubicBezTo>
                  <a:pt x="2082" y="81"/>
                  <a:pt x="2084" y="91"/>
                  <a:pt x="2084" y="103"/>
                </a:cubicBezTo>
                <a:cubicBezTo>
                  <a:pt x="2084" y="117"/>
                  <a:pt x="2081" y="128"/>
                  <a:pt x="2075" y="136"/>
                </a:cubicBezTo>
                <a:close/>
                <a:moveTo>
                  <a:pt x="1776" y="120"/>
                </a:moveTo>
                <a:cubicBezTo>
                  <a:pt x="1778" y="123"/>
                  <a:pt x="1778" y="127"/>
                  <a:pt x="1778" y="131"/>
                </a:cubicBezTo>
                <a:cubicBezTo>
                  <a:pt x="1778" y="137"/>
                  <a:pt x="1777" y="141"/>
                  <a:pt x="1775" y="145"/>
                </a:cubicBezTo>
                <a:cubicBezTo>
                  <a:pt x="1772" y="149"/>
                  <a:pt x="1769" y="153"/>
                  <a:pt x="1765" y="155"/>
                </a:cubicBezTo>
                <a:cubicBezTo>
                  <a:pt x="1761" y="158"/>
                  <a:pt x="1757" y="160"/>
                  <a:pt x="1752" y="161"/>
                </a:cubicBezTo>
                <a:cubicBezTo>
                  <a:pt x="1747" y="162"/>
                  <a:pt x="1741" y="163"/>
                  <a:pt x="1736" y="163"/>
                </a:cubicBezTo>
                <a:cubicBezTo>
                  <a:pt x="1724" y="163"/>
                  <a:pt x="1715" y="161"/>
                  <a:pt x="1707" y="156"/>
                </a:cubicBezTo>
                <a:cubicBezTo>
                  <a:pt x="1707" y="138"/>
                  <a:pt x="1707" y="138"/>
                  <a:pt x="1707" y="138"/>
                </a:cubicBezTo>
                <a:cubicBezTo>
                  <a:pt x="1716" y="145"/>
                  <a:pt x="1726" y="148"/>
                  <a:pt x="1738" y="148"/>
                </a:cubicBezTo>
                <a:cubicBezTo>
                  <a:pt x="1753" y="148"/>
                  <a:pt x="1761" y="143"/>
                  <a:pt x="1761" y="133"/>
                </a:cubicBezTo>
                <a:cubicBezTo>
                  <a:pt x="1761" y="130"/>
                  <a:pt x="1760" y="128"/>
                  <a:pt x="1759" y="126"/>
                </a:cubicBezTo>
                <a:cubicBezTo>
                  <a:pt x="1757" y="124"/>
                  <a:pt x="1756" y="122"/>
                  <a:pt x="1753" y="120"/>
                </a:cubicBezTo>
                <a:cubicBezTo>
                  <a:pt x="1751" y="119"/>
                  <a:pt x="1749" y="118"/>
                  <a:pt x="1746" y="116"/>
                </a:cubicBezTo>
                <a:cubicBezTo>
                  <a:pt x="1743" y="115"/>
                  <a:pt x="1739" y="114"/>
                  <a:pt x="1736" y="112"/>
                </a:cubicBezTo>
                <a:cubicBezTo>
                  <a:pt x="1731" y="111"/>
                  <a:pt x="1727" y="109"/>
                  <a:pt x="1723" y="107"/>
                </a:cubicBezTo>
                <a:cubicBezTo>
                  <a:pt x="1720" y="105"/>
                  <a:pt x="1717" y="103"/>
                  <a:pt x="1714" y="100"/>
                </a:cubicBezTo>
                <a:cubicBezTo>
                  <a:pt x="1712" y="98"/>
                  <a:pt x="1710" y="95"/>
                  <a:pt x="1709" y="92"/>
                </a:cubicBezTo>
                <a:cubicBezTo>
                  <a:pt x="1708" y="89"/>
                  <a:pt x="1707" y="85"/>
                  <a:pt x="1707" y="81"/>
                </a:cubicBezTo>
                <a:cubicBezTo>
                  <a:pt x="1707" y="76"/>
                  <a:pt x="1708" y="71"/>
                  <a:pt x="1710" y="68"/>
                </a:cubicBezTo>
                <a:cubicBezTo>
                  <a:pt x="1713" y="64"/>
                  <a:pt x="1716" y="60"/>
                  <a:pt x="1720" y="58"/>
                </a:cubicBezTo>
                <a:cubicBezTo>
                  <a:pt x="1724" y="55"/>
                  <a:pt x="1728" y="53"/>
                  <a:pt x="1733" y="52"/>
                </a:cubicBezTo>
                <a:cubicBezTo>
                  <a:pt x="1738" y="50"/>
                  <a:pt x="1743" y="50"/>
                  <a:pt x="1748" y="50"/>
                </a:cubicBezTo>
                <a:cubicBezTo>
                  <a:pt x="1758" y="50"/>
                  <a:pt x="1766" y="51"/>
                  <a:pt x="1773" y="55"/>
                </a:cubicBezTo>
                <a:cubicBezTo>
                  <a:pt x="1773" y="72"/>
                  <a:pt x="1773" y="72"/>
                  <a:pt x="1773" y="72"/>
                </a:cubicBezTo>
                <a:cubicBezTo>
                  <a:pt x="1765" y="67"/>
                  <a:pt x="1756" y="64"/>
                  <a:pt x="1746" y="64"/>
                </a:cubicBezTo>
                <a:cubicBezTo>
                  <a:pt x="1743" y="64"/>
                  <a:pt x="1740" y="65"/>
                  <a:pt x="1737" y="65"/>
                </a:cubicBezTo>
                <a:cubicBezTo>
                  <a:pt x="1735" y="66"/>
                  <a:pt x="1732" y="67"/>
                  <a:pt x="1730" y="69"/>
                </a:cubicBezTo>
                <a:cubicBezTo>
                  <a:pt x="1729" y="70"/>
                  <a:pt x="1727" y="72"/>
                  <a:pt x="1726" y="73"/>
                </a:cubicBezTo>
                <a:cubicBezTo>
                  <a:pt x="1725" y="75"/>
                  <a:pt x="1725" y="77"/>
                  <a:pt x="1725" y="80"/>
                </a:cubicBezTo>
                <a:cubicBezTo>
                  <a:pt x="1725" y="82"/>
                  <a:pt x="1725" y="85"/>
                  <a:pt x="1726" y="87"/>
                </a:cubicBezTo>
                <a:cubicBezTo>
                  <a:pt x="1727" y="89"/>
                  <a:pt x="1729" y="90"/>
                  <a:pt x="1731" y="92"/>
                </a:cubicBezTo>
                <a:cubicBezTo>
                  <a:pt x="1733" y="93"/>
                  <a:pt x="1735" y="94"/>
                  <a:pt x="1738" y="96"/>
                </a:cubicBezTo>
                <a:cubicBezTo>
                  <a:pt x="1741" y="97"/>
                  <a:pt x="1744" y="98"/>
                  <a:pt x="1747" y="100"/>
                </a:cubicBezTo>
                <a:cubicBezTo>
                  <a:pt x="1752" y="101"/>
                  <a:pt x="1756" y="103"/>
                  <a:pt x="1760" y="105"/>
                </a:cubicBezTo>
                <a:cubicBezTo>
                  <a:pt x="1764" y="107"/>
                  <a:pt x="1767" y="109"/>
                  <a:pt x="1770" y="112"/>
                </a:cubicBezTo>
                <a:cubicBezTo>
                  <a:pt x="1773" y="114"/>
                  <a:pt x="1775" y="117"/>
                  <a:pt x="1776" y="120"/>
                </a:cubicBezTo>
                <a:close/>
                <a:moveTo>
                  <a:pt x="2185" y="50"/>
                </a:moveTo>
                <a:cubicBezTo>
                  <a:pt x="2169" y="50"/>
                  <a:pt x="2156" y="57"/>
                  <a:pt x="2148" y="71"/>
                </a:cubicBezTo>
                <a:cubicBezTo>
                  <a:pt x="2147" y="71"/>
                  <a:pt x="2147" y="71"/>
                  <a:pt x="2147" y="71"/>
                </a:cubicBezTo>
                <a:cubicBezTo>
                  <a:pt x="2147" y="52"/>
                  <a:pt x="2147" y="52"/>
                  <a:pt x="2147" y="52"/>
                </a:cubicBezTo>
                <a:cubicBezTo>
                  <a:pt x="2130" y="52"/>
                  <a:pt x="2130" y="52"/>
                  <a:pt x="2130" y="52"/>
                </a:cubicBezTo>
                <a:cubicBezTo>
                  <a:pt x="2130" y="210"/>
                  <a:pt x="2130" y="210"/>
                  <a:pt x="2130" y="210"/>
                </a:cubicBezTo>
                <a:cubicBezTo>
                  <a:pt x="2147" y="210"/>
                  <a:pt x="2147" y="210"/>
                  <a:pt x="2147" y="210"/>
                </a:cubicBezTo>
                <a:cubicBezTo>
                  <a:pt x="2147" y="145"/>
                  <a:pt x="2147" y="145"/>
                  <a:pt x="2147" y="145"/>
                </a:cubicBezTo>
                <a:cubicBezTo>
                  <a:pt x="2148" y="145"/>
                  <a:pt x="2148" y="145"/>
                  <a:pt x="2148" y="145"/>
                </a:cubicBezTo>
                <a:cubicBezTo>
                  <a:pt x="2155" y="157"/>
                  <a:pt x="2166" y="163"/>
                  <a:pt x="2180" y="163"/>
                </a:cubicBezTo>
                <a:cubicBezTo>
                  <a:pt x="2195" y="163"/>
                  <a:pt x="2207" y="157"/>
                  <a:pt x="2216" y="147"/>
                </a:cubicBezTo>
                <a:cubicBezTo>
                  <a:pt x="2225" y="136"/>
                  <a:pt x="2229" y="121"/>
                  <a:pt x="2229" y="103"/>
                </a:cubicBezTo>
                <a:cubicBezTo>
                  <a:pt x="2229" y="87"/>
                  <a:pt x="2225" y="74"/>
                  <a:pt x="2218" y="64"/>
                </a:cubicBezTo>
                <a:cubicBezTo>
                  <a:pt x="2210" y="55"/>
                  <a:pt x="2199" y="50"/>
                  <a:pt x="2185" y="50"/>
                </a:cubicBezTo>
                <a:close/>
                <a:moveTo>
                  <a:pt x="2203" y="136"/>
                </a:moveTo>
                <a:cubicBezTo>
                  <a:pt x="2197" y="144"/>
                  <a:pt x="2188" y="148"/>
                  <a:pt x="2178" y="148"/>
                </a:cubicBezTo>
                <a:cubicBezTo>
                  <a:pt x="2169" y="148"/>
                  <a:pt x="2162" y="145"/>
                  <a:pt x="2156" y="139"/>
                </a:cubicBezTo>
                <a:cubicBezTo>
                  <a:pt x="2150" y="133"/>
                  <a:pt x="2147" y="125"/>
                  <a:pt x="2147" y="116"/>
                </a:cubicBezTo>
                <a:cubicBezTo>
                  <a:pt x="2147" y="101"/>
                  <a:pt x="2147" y="101"/>
                  <a:pt x="2147" y="101"/>
                </a:cubicBezTo>
                <a:cubicBezTo>
                  <a:pt x="2147" y="91"/>
                  <a:pt x="2150" y="82"/>
                  <a:pt x="2156" y="75"/>
                </a:cubicBezTo>
                <a:cubicBezTo>
                  <a:pt x="2162" y="68"/>
                  <a:pt x="2171" y="64"/>
                  <a:pt x="2181" y="64"/>
                </a:cubicBezTo>
                <a:cubicBezTo>
                  <a:pt x="2190" y="64"/>
                  <a:pt x="2198" y="68"/>
                  <a:pt x="2203" y="75"/>
                </a:cubicBezTo>
                <a:cubicBezTo>
                  <a:pt x="2209" y="81"/>
                  <a:pt x="2212" y="91"/>
                  <a:pt x="2212" y="103"/>
                </a:cubicBezTo>
                <a:cubicBezTo>
                  <a:pt x="2212" y="117"/>
                  <a:pt x="2209" y="128"/>
                  <a:pt x="2203" y="136"/>
                </a:cubicBezTo>
                <a:close/>
                <a:moveTo>
                  <a:pt x="1676" y="52"/>
                </a:moveTo>
                <a:cubicBezTo>
                  <a:pt x="1693" y="52"/>
                  <a:pt x="1693" y="52"/>
                  <a:pt x="1693" y="52"/>
                </a:cubicBezTo>
                <a:cubicBezTo>
                  <a:pt x="1661" y="160"/>
                  <a:pt x="1661" y="160"/>
                  <a:pt x="1661" y="160"/>
                </a:cubicBezTo>
                <a:cubicBezTo>
                  <a:pt x="1643" y="160"/>
                  <a:pt x="1643" y="160"/>
                  <a:pt x="1643" y="160"/>
                </a:cubicBezTo>
                <a:cubicBezTo>
                  <a:pt x="1621" y="83"/>
                  <a:pt x="1621" y="83"/>
                  <a:pt x="1621" y="83"/>
                </a:cubicBezTo>
                <a:cubicBezTo>
                  <a:pt x="1620" y="80"/>
                  <a:pt x="1619" y="77"/>
                  <a:pt x="1619" y="73"/>
                </a:cubicBezTo>
                <a:cubicBezTo>
                  <a:pt x="1619" y="73"/>
                  <a:pt x="1619" y="73"/>
                  <a:pt x="1619" y="73"/>
                </a:cubicBezTo>
                <a:cubicBezTo>
                  <a:pt x="1618" y="76"/>
                  <a:pt x="1618" y="79"/>
                  <a:pt x="1616" y="83"/>
                </a:cubicBezTo>
                <a:cubicBezTo>
                  <a:pt x="1592" y="160"/>
                  <a:pt x="1592" y="160"/>
                  <a:pt x="1592" y="160"/>
                </a:cubicBezTo>
                <a:cubicBezTo>
                  <a:pt x="1575" y="160"/>
                  <a:pt x="1575" y="160"/>
                  <a:pt x="1575" y="160"/>
                </a:cubicBezTo>
                <a:cubicBezTo>
                  <a:pt x="1542" y="52"/>
                  <a:pt x="1542" y="52"/>
                  <a:pt x="1542" y="52"/>
                </a:cubicBezTo>
                <a:cubicBezTo>
                  <a:pt x="1560" y="52"/>
                  <a:pt x="1560" y="52"/>
                  <a:pt x="1560" y="52"/>
                </a:cubicBezTo>
                <a:cubicBezTo>
                  <a:pt x="1583" y="134"/>
                  <a:pt x="1583" y="134"/>
                  <a:pt x="1583" y="134"/>
                </a:cubicBezTo>
                <a:cubicBezTo>
                  <a:pt x="1583" y="136"/>
                  <a:pt x="1584" y="139"/>
                  <a:pt x="1584" y="143"/>
                </a:cubicBezTo>
                <a:cubicBezTo>
                  <a:pt x="1585" y="143"/>
                  <a:pt x="1585" y="143"/>
                  <a:pt x="1585" y="143"/>
                </a:cubicBezTo>
                <a:cubicBezTo>
                  <a:pt x="1585" y="140"/>
                  <a:pt x="1586" y="137"/>
                  <a:pt x="1587" y="133"/>
                </a:cubicBezTo>
                <a:cubicBezTo>
                  <a:pt x="1612" y="52"/>
                  <a:pt x="1612" y="52"/>
                  <a:pt x="1612" y="52"/>
                </a:cubicBezTo>
                <a:cubicBezTo>
                  <a:pt x="1628" y="52"/>
                  <a:pt x="1628" y="52"/>
                  <a:pt x="1628" y="52"/>
                </a:cubicBezTo>
                <a:cubicBezTo>
                  <a:pt x="1650" y="134"/>
                  <a:pt x="1650" y="134"/>
                  <a:pt x="1650" y="134"/>
                </a:cubicBezTo>
                <a:cubicBezTo>
                  <a:pt x="1651" y="136"/>
                  <a:pt x="1651" y="140"/>
                  <a:pt x="1652" y="143"/>
                </a:cubicBezTo>
                <a:cubicBezTo>
                  <a:pt x="1652" y="143"/>
                  <a:pt x="1652" y="143"/>
                  <a:pt x="1652" y="143"/>
                </a:cubicBezTo>
                <a:cubicBezTo>
                  <a:pt x="1653" y="141"/>
                  <a:pt x="1653" y="137"/>
                  <a:pt x="1654" y="134"/>
                </a:cubicBezTo>
                <a:lnTo>
                  <a:pt x="1676" y="52"/>
                </a:lnTo>
                <a:close/>
                <a:moveTo>
                  <a:pt x="2322" y="131"/>
                </a:moveTo>
                <a:cubicBezTo>
                  <a:pt x="2322" y="137"/>
                  <a:pt x="2321" y="141"/>
                  <a:pt x="2319" y="145"/>
                </a:cubicBezTo>
                <a:cubicBezTo>
                  <a:pt x="2316" y="149"/>
                  <a:pt x="2313" y="153"/>
                  <a:pt x="2309" y="155"/>
                </a:cubicBezTo>
                <a:cubicBezTo>
                  <a:pt x="2305" y="158"/>
                  <a:pt x="2301" y="160"/>
                  <a:pt x="2296" y="161"/>
                </a:cubicBezTo>
                <a:cubicBezTo>
                  <a:pt x="2290" y="162"/>
                  <a:pt x="2285" y="163"/>
                  <a:pt x="2279" y="163"/>
                </a:cubicBezTo>
                <a:cubicBezTo>
                  <a:pt x="2268" y="163"/>
                  <a:pt x="2259" y="161"/>
                  <a:pt x="2251" y="156"/>
                </a:cubicBezTo>
                <a:cubicBezTo>
                  <a:pt x="2251" y="138"/>
                  <a:pt x="2251" y="138"/>
                  <a:pt x="2251" y="138"/>
                </a:cubicBezTo>
                <a:cubicBezTo>
                  <a:pt x="2260" y="145"/>
                  <a:pt x="2270" y="148"/>
                  <a:pt x="2282" y="148"/>
                </a:cubicBezTo>
                <a:cubicBezTo>
                  <a:pt x="2297" y="148"/>
                  <a:pt x="2304" y="143"/>
                  <a:pt x="2304" y="133"/>
                </a:cubicBezTo>
                <a:cubicBezTo>
                  <a:pt x="2304" y="130"/>
                  <a:pt x="2304" y="128"/>
                  <a:pt x="2302" y="126"/>
                </a:cubicBezTo>
                <a:cubicBezTo>
                  <a:pt x="2301" y="124"/>
                  <a:pt x="2299" y="122"/>
                  <a:pt x="2297" y="120"/>
                </a:cubicBezTo>
                <a:cubicBezTo>
                  <a:pt x="2295" y="119"/>
                  <a:pt x="2292" y="118"/>
                  <a:pt x="2289" y="116"/>
                </a:cubicBezTo>
                <a:cubicBezTo>
                  <a:pt x="2286" y="115"/>
                  <a:pt x="2283" y="114"/>
                  <a:pt x="2280" y="112"/>
                </a:cubicBezTo>
                <a:cubicBezTo>
                  <a:pt x="2275" y="111"/>
                  <a:pt x="2271" y="109"/>
                  <a:pt x="2267" y="107"/>
                </a:cubicBezTo>
                <a:cubicBezTo>
                  <a:pt x="2264" y="105"/>
                  <a:pt x="2261" y="103"/>
                  <a:pt x="2258" y="100"/>
                </a:cubicBezTo>
                <a:cubicBezTo>
                  <a:pt x="2256" y="98"/>
                  <a:pt x="2254" y="95"/>
                  <a:pt x="2253" y="92"/>
                </a:cubicBezTo>
                <a:cubicBezTo>
                  <a:pt x="2251" y="89"/>
                  <a:pt x="2251" y="85"/>
                  <a:pt x="2251" y="81"/>
                </a:cubicBezTo>
                <a:cubicBezTo>
                  <a:pt x="2251" y="76"/>
                  <a:pt x="2252" y="71"/>
                  <a:pt x="2254" y="68"/>
                </a:cubicBezTo>
                <a:cubicBezTo>
                  <a:pt x="2257" y="64"/>
                  <a:pt x="2260" y="60"/>
                  <a:pt x="2264" y="58"/>
                </a:cubicBezTo>
                <a:cubicBezTo>
                  <a:pt x="2267" y="55"/>
                  <a:pt x="2272" y="53"/>
                  <a:pt x="2277" y="52"/>
                </a:cubicBezTo>
                <a:cubicBezTo>
                  <a:pt x="2282" y="50"/>
                  <a:pt x="2287" y="50"/>
                  <a:pt x="2292" y="50"/>
                </a:cubicBezTo>
                <a:cubicBezTo>
                  <a:pt x="2301" y="50"/>
                  <a:pt x="2310" y="51"/>
                  <a:pt x="2317" y="55"/>
                </a:cubicBezTo>
                <a:cubicBezTo>
                  <a:pt x="2317" y="72"/>
                  <a:pt x="2317" y="72"/>
                  <a:pt x="2317" y="72"/>
                </a:cubicBezTo>
                <a:cubicBezTo>
                  <a:pt x="2309" y="67"/>
                  <a:pt x="2300" y="64"/>
                  <a:pt x="2290" y="64"/>
                </a:cubicBezTo>
                <a:cubicBezTo>
                  <a:pt x="2287" y="64"/>
                  <a:pt x="2284" y="65"/>
                  <a:pt x="2281" y="65"/>
                </a:cubicBezTo>
                <a:cubicBezTo>
                  <a:pt x="2278" y="66"/>
                  <a:pt x="2276" y="67"/>
                  <a:pt x="2274" y="69"/>
                </a:cubicBezTo>
                <a:cubicBezTo>
                  <a:pt x="2272" y="70"/>
                  <a:pt x="2271" y="72"/>
                  <a:pt x="2270" y="73"/>
                </a:cubicBezTo>
                <a:cubicBezTo>
                  <a:pt x="2269" y="75"/>
                  <a:pt x="2268" y="77"/>
                  <a:pt x="2268" y="80"/>
                </a:cubicBezTo>
                <a:cubicBezTo>
                  <a:pt x="2268" y="82"/>
                  <a:pt x="2269" y="85"/>
                  <a:pt x="2270" y="87"/>
                </a:cubicBezTo>
                <a:cubicBezTo>
                  <a:pt x="2271" y="89"/>
                  <a:pt x="2273" y="90"/>
                  <a:pt x="2274" y="92"/>
                </a:cubicBezTo>
                <a:cubicBezTo>
                  <a:pt x="2276" y="93"/>
                  <a:pt x="2279" y="94"/>
                  <a:pt x="2282" y="96"/>
                </a:cubicBezTo>
                <a:cubicBezTo>
                  <a:pt x="2284" y="97"/>
                  <a:pt x="2288" y="98"/>
                  <a:pt x="2291" y="100"/>
                </a:cubicBezTo>
                <a:cubicBezTo>
                  <a:pt x="2296" y="101"/>
                  <a:pt x="2300" y="103"/>
                  <a:pt x="2304" y="105"/>
                </a:cubicBezTo>
                <a:cubicBezTo>
                  <a:pt x="2308" y="107"/>
                  <a:pt x="2311" y="109"/>
                  <a:pt x="2314" y="112"/>
                </a:cubicBezTo>
                <a:cubicBezTo>
                  <a:pt x="2316" y="114"/>
                  <a:pt x="2319" y="117"/>
                  <a:pt x="2320" y="120"/>
                </a:cubicBezTo>
                <a:cubicBezTo>
                  <a:pt x="2321" y="123"/>
                  <a:pt x="2322" y="127"/>
                  <a:pt x="2322" y="131"/>
                </a:cubicBezTo>
                <a:close/>
                <a:moveTo>
                  <a:pt x="1146" y="6"/>
                </a:moveTo>
                <a:cubicBezTo>
                  <a:pt x="1148" y="8"/>
                  <a:pt x="1149" y="11"/>
                  <a:pt x="1149" y="14"/>
                </a:cubicBezTo>
                <a:cubicBezTo>
                  <a:pt x="1149" y="17"/>
                  <a:pt x="1148" y="19"/>
                  <a:pt x="1146" y="22"/>
                </a:cubicBezTo>
                <a:cubicBezTo>
                  <a:pt x="1143" y="24"/>
                  <a:pt x="1141" y="25"/>
                  <a:pt x="1137" y="25"/>
                </a:cubicBezTo>
                <a:cubicBezTo>
                  <a:pt x="1134" y="25"/>
                  <a:pt x="1132" y="24"/>
                  <a:pt x="1130" y="22"/>
                </a:cubicBezTo>
                <a:cubicBezTo>
                  <a:pt x="1127" y="20"/>
                  <a:pt x="1126" y="17"/>
                  <a:pt x="1126" y="14"/>
                </a:cubicBezTo>
                <a:cubicBezTo>
                  <a:pt x="1126" y="11"/>
                  <a:pt x="1127" y="8"/>
                  <a:pt x="1130" y="6"/>
                </a:cubicBezTo>
                <a:cubicBezTo>
                  <a:pt x="1132" y="4"/>
                  <a:pt x="1134" y="2"/>
                  <a:pt x="1137" y="2"/>
                </a:cubicBezTo>
                <a:cubicBezTo>
                  <a:pt x="1141" y="2"/>
                  <a:pt x="1143" y="4"/>
                  <a:pt x="1146" y="6"/>
                </a:cubicBezTo>
                <a:close/>
                <a:moveTo>
                  <a:pt x="1089" y="9"/>
                </a:moveTo>
                <a:cubicBezTo>
                  <a:pt x="1109" y="9"/>
                  <a:pt x="1109" y="9"/>
                  <a:pt x="1109" y="9"/>
                </a:cubicBezTo>
                <a:cubicBezTo>
                  <a:pt x="1066" y="160"/>
                  <a:pt x="1066" y="160"/>
                  <a:pt x="1066" y="160"/>
                </a:cubicBezTo>
                <a:cubicBezTo>
                  <a:pt x="1045" y="160"/>
                  <a:pt x="1045" y="160"/>
                  <a:pt x="1045" y="160"/>
                </a:cubicBezTo>
                <a:cubicBezTo>
                  <a:pt x="1014" y="50"/>
                  <a:pt x="1014" y="50"/>
                  <a:pt x="1014" y="50"/>
                </a:cubicBezTo>
                <a:cubicBezTo>
                  <a:pt x="1013" y="45"/>
                  <a:pt x="1012" y="40"/>
                  <a:pt x="1012" y="34"/>
                </a:cubicBezTo>
                <a:cubicBezTo>
                  <a:pt x="1011" y="34"/>
                  <a:pt x="1011" y="34"/>
                  <a:pt x="1011" y="34"/>
                </a:cubicBezTo>
                <a:cubicBezTo>
                  <a:pt x="1011" y="40"/>
                  <a:pt x="1010" y="45"/>
                  <a:pt x="1008" y="50"/>
                </a:cubicBezTo>
                <a:cubicBezTo>
                  <a:pt x="977" y="160"/>
                  <a:pt x="977" y="160"/>
                  <a:pt x="977" y="160"/>
                </a:cubicBezTo>
                <a:cubicBezTo>
                  <a:pt x="957" y="160"/>
                  <a:pt x="957" y="160"/>
                  <a:pt x="957" y="160"/>
                </a:cubicBezTo>
                <a:cubicBezTo>
                  <a:pt x="912" y="9"/>
                  <a:pt x="912" y="9"/>
                  <a:pt x="912" y="9"/>
                </a:cubicBezTo>
                <a:cubicBezTo>
                  <a:pt x="932" y="9"/>
                  <a:pt x="932" y="9"/>
                  <a:pt x="932" y="9"/>
                </a:cubicBezTo>
                <a:cubicBezTo>
                  <a:pt x="964" y="125"/>
                  <a:pt x="964" y="125"/>
                  <a:pt x="964" y="125"/>
                </a:cubicBezTo>
                <a:cubicBezTo>
                  <a:pt x="965" y="130"/>
                  <a:pt x="966" y="135"/>
                  <a:pt x="966" y="140"/>
                </a:cubicBezTo>
                <a:cubicBezTo>
                  <a:pt x="967" y="140"/>
                  <a:pt x="967" y="140"/>
                  <a:pt x="967" y="140"/>
                </a:cubicBezTo>
                <a:cubicBezTo>
                  <a:pt x="967" y="137"/>
                  <a:pt x="968" y="132"/>
                  <a:pt x="970" y="125"/>
                </a:cubicBezTo>
                <a:cubicBezTo>
                  <a:pt x="1004" y="9"/>
                  <a:pt x="1004" y="9"/>
                  <a:pt x="1004" y="9"/>
                </a:cubicBezTo>
                <a:cubicBezTo>
                  <a:pt x="1021" y="9"/>
                  <a:pt x="1021" y="9"/>
                  <a:pt x="1021" y="9"/>
                </a:cubicBezTo>
                <a:cubicBezTo>
                  <a:pt x="1053" y="126"/>
                  <a:pt x="1053" y="126"/>
                  <a:pt x="1053" y="126"/>
                </a:cubicBezTo>
                <a:cubicBezTo>
                  <a:pt x="1054" y="130"/>
                  <a:pt x="1055" y="135"/>
                  <a:pt x="1055" y="140"/>
                </a:cubicBezTo>
                <a:cubicBezTo>
                  <a:pt x="1056" y="140"/>
                  <a:pt x="1056" y="140"/>
                  <a:pt x="1056" y="140"/>
                </a:cubicBezTo>
                <a:cubicBezTo>
                  <a:pt x="1056" y="136"/>
                  <a:pt x="1057" y="132"/>
                  <a:pt x="1059" y="126"/>
                </a:cubicBezTo>
                <a:lnTo>
                  <a:pt x="1089" y="9"/>
                </a:lnTo>
                <a:close/>
                <a:moveTo>
                  <a:pt x="1129" y="52"/>
                </a:moveTo>
                <a:cubicBezTo>
                  <a:pt x="1146" y="52"/>
                  <a:pt x="1146" y="52"/>
                  <a:pt x="1146" y="52"/>
                </a:cubicBezTo>
                <a:cubicBezTo>
                  <a:pt x="1146" y="160"/>
                  <a:pt x="1146" y="160"/>
                  <a:pt x="1146" y="160"/>
                </a:cubicBezTo>
                <a:cubicBezTo>
                  <a:pt x="1129" y="160"/>
                  <a:pt x="1129" y="160"/>
                  <a:pt x="1129" y="160"/>
                </a:cubicBezTo>
                <a:lnTo>
                  <a:pt x="1129" y="52"/>
                </a:lnTo>
                <a:close/>
                <a:moveTo>
                  <a:pt x="1478" y="50"/>
                </a:moveTo>
                <a:cubicBezTo>
                  <a:pt x="1461" y="50"/>
                  <a:pt x="1448" y="55"/>
                  <a:pt x="1438" y="65"/>
                </a:cubicBezTo>
                <a:cubicBezTo>
                  <a:pt x="1428" y="75"/>
                  <a:pt x="1423" y="89"/>
                  <a:pt x="1423" y="108"/>
                </a:cubicBezTo>
                <a:cubicBezTo>
                  <a:pt x="1423" y="124"/>
                  <a:pt x="1428" y="138"/>
                  <a:pt x="1437" y="148"/>
                </a:cubicBezTo>
                <a:cubicBezTo>
                  <a:pt x="1447" y="158"/>
                  <a:pt x="1460" y="163"/>
                  <a:pt x="1476" y="163"/>
                </a:cubicBezTo>
                <a:cubicBezTo>
                  <a:pt x="1492" y="163"/>
                  <a:pt x="1505" y="158"/>
                  <a:pt x="1515" y="147"/>
                </a:cubicBezTo>
                <a:cubicBezTo>
                  <a:pt x="1525" y="137"/>
                  <a:pt x="1529" y="123"/>
                  <a:pt x="1529" y="106"/>
                </a:cubicBezTo>
                <a:cubicBezTo>
                  <a:pt x="1529" y="88"/>
                  <a:pt x="1525" y="75"/>
                  <a:pt x="1516" y="65"/>
                </a:cubicBezTo>
                <a:cubicBezTo>
                  <a:pt x="1507" y="55"/>
                  <a:pt x="1494" y="50"/>
                  <a:pt x="1478" y="50"/>
                </a:cubicBezTo>
                <a:close/>
                <a:moveTo>
                  <a:pt x="1503" y="137"/>
                </a:moveTo>
                <a:cubicBezTo>
                  <a:pt x="1497" y="145"/>
                  <a:pt x="1488" y="148"/>
                  <a:pt x="1477" y="148"/>
                </a:cubicBezTo>
                <a:cubicBezTo>
                  <a:pt x="1466" y="148"/>
                  <a:pt x="1457" y="145"/>
                  <a:pt x="1451" y="137"/>
                </a:cubicBezTo>
                <a:cubicBezTo>
                  <a:pt x="1444" y="130"/>
                  <a:pt x="1441" y="120"/>
                  <a:pt x="1441" y="107"/>
                </a:cubicBezTo>
                <a:cubicBezTo>
                  <a:pt x="1441" y="94"/>
                  <a:pt x="1444" y="83"/>
                  <a:pt x="1451" y="76"/>
                </a:cubicBezTo>
                <a:cubicBezTo>
                  <a:pt x="1457" y="68"/>
                  <a:pt x="1466" y="64"/>
                  <a:pt x="1477" y="64"/>
                </a:cubicBezTo>
                <a:cubicBezTo>
                  <a:pt x="1488" y="64"/>
                  <a:pt x="1497" y="68"/>
                  <a:pt x="1503" y="75"/>
                </a:cubicBezTo>
                <a:cubicBezTo>
                  <a:pt x="1509" y="83"/>
                  <a:pt x="1512" y="93"/>
                  <a:pt x="1512" y="107"/>
                </a:cubicBezTo>
                <a:cubicBezTo>
                  <a:pt x="1512" y="120"/>
                  <a:pt x="1509" y="130"/>
                  <a:pt x="1503" y="137"/>
                </a:cubicBezTo>
                <a:close/>
                <a:moveTo>
                  <a:pt x="1261" y="61"/>
                </a:moveTo>
                <a:cubicBezTo>
                  <a:pt x="1267" y="69"/>
                  <a:pt x="1271" y="80"/>
                  <a:pt x="1271" y="94"/>
                </a:cubicBezTo>
                <a:cubicBezTo>
                  <a:pt x="1271" y="160"/>
                  <a:pt x="1271" y="160"/>
                  <a:pt x="1271" y="160"/>
                </a:cubicBezTo>
                <a:cubicBezTo>
                  <a:pt x="1253" y="160"/>
                  <a:pt x="1253" y="160"/>
                  <a:pt x="1253" y="160"/>
                </a:cubicBezTo>
                <a:cubicBezTo>
                  <a:pt x="1253" y="99"/>
                  <a:pt x="1253" y="99"/>
                  <a:pt x="1253" y="99"/>
                </a:cubicBezTo>
                <a:cubicBezTo>
                  <a:pt x="1253" y="76"/>
                  <a:pt x="1245" y="64"/>
                  <a:pt x="1228" y="64"/>
                </a:cubicBezTo>
                <a:cubicBezTo>
                  <a:pt x="1220" y="64"/>
                  <a:pt x="1212" y="68"/>
                  <a:pt x="1207" y="74"/>
                </a:cubicBezTo>
                <a:cubicBezTo>
                  <a:pt x="1201" y="81"/>
                  <a:pt x="1198" y="89"/>
                  <a:pt x="1198" y="99"/>
                </a:cubicBezTo>
                <a:cubicBezTo>
                  <a:pt x="1198" y="160"/>
                  <a:pt x="1198" y="160"/>
                  <a:pt x="1198" y="160"/>
                </a:cubicBezTo>
                <a:cubicBezTo>
                  <a:pt x="1181" y="160"/>
                  <a:pt x="1181" y="160"/>
                  <a:pt x="1181" y="160"/>
                </a:cubicBezTo>
                <a:cubicBezTo>
                  <a:pt x="1181" y="52"/>
                  <a:pt x="1181" y="52"/>
                  <a:pt x="1181" y="52"/>
                </a:cubicBezTo>
                <a:cubicBezTo>
                  <a:pt x="1198" y="52"/>
                  <a:pt x="1198" y="52"/>
                  <a:pt x="1198" y="52"/>
                </a:cubicBezTo>
                <a:cubicBezTo>
                  <a:pt x="1198" y="70"/>
                  <a:pt x="1198" y="70"/>
                  <a:pt x="1198" y="70"/>
                </a:cubicBezTo>
                <a:cubicBezTo>
                  <a:pt x="1199" y="70"/>
                  <a:pt x="1199" y="70"/>
                  <a:pt x="1199" y="70"/>
                </a:cubicBezTo>
                <a:cubicBezTo>
                  <a:pt x="1207" y="57"/>
                  <a:pt x="1219" y="50"/>
                  <a:pt x="1234" y="50"/>
                </a:cubicBezTo>
                <a:cubicBezTo>
                  <a:pt x="1246" y="50"/>
                  <a:pt x="1255" y="54"/>
                  <a:pt x="1261" y="61"/>
                </a:cubicBezTo>
                <a:close/>
                <a:moveTo>
                  <a:pt x="1378" y="67"/>
                </a:moveTo>
                <a:cubicBezTo>
                  <a:pt x="1378" y="67"/>
                  <a:pt x="1378" y="67"/>
                  <a:pt x="1378" y="67"/>
                </a:cubicBezTo>
                <a:cubicBezTo>
                  <a:pt x="1371" y="56"/>
                  <a:pt x="1360" y="50"/>
                  <a:pt x="1345" y="50"/>
                </a:cubicBezTo>
                <a:cubicBezTo>
                  <a:pt x="1330" y="50"/>
                  <a:pt x="1318" y="55"/>
                  <a:pt x="1309" y="66"/>
                </a:cubicBezTo>
                <a:cubicBezTo>
                  <a:pt x="1300" y="77"/>
                  <a:pt x="1296" y="91"/>
                  <a:pt x="1296" y="109"/>
                </a:cubicBezTo>
                <a:cubicBezTo>
                  <a:pt x="1296" y="126"/>
                  <a:pt x="1300" y="139"/>
                  <a:pt x="1308" y="148"/>
                </a:cubicBezTo>
                <a:cubicBezTo>
                  <a:pt x="1316" y="158"/>
                  <a:pt x="1327" y="163"/>
                  <a:pt x="1341" y="163"/>
                </a:cubicBezTo>
                <a:cubicBezTo>
                  <a:pt x="1357" y="163"/>
                  <a:pt x="1370" y="156"/>
                  <a:pt x="1378" y="142"/>
                </a:cubicBezTo>
                <a:cubicBezTo>
                  <a:pt x="1378" y="142"/>
                  <a:pt x="1378" y="142"/>
                  <a:pt x="1378" y="142"/>
                </a:cubicBezTo>
                <a:cubicBezTo>
                  <a:pt x="1378" y="160"/>
                  <a:pt x="1378" y="160"/>
                  <a:pt x="1378" y="160"/>
                </a:cubicBezTo>
                <a:cubicBezTo>
                  <a:pt x="1395" y="160"/>
                  <a:pt x="1395" y="160"/>
                  <a:pt x="1395" y="160"/>
                </a:cubicBezTo>
                <a:cubicBezTo>
                  <a:pt x="1395" y="0"/>
                  <a:pt x="1395" y="0"/>
                  <a:pt x="1395" y="0"/>
                </a:cubicBezTo>
                <a:cubicBezTo>
                  <a:pt x="1378" y="0"/>
                  <a:pt x="1378" y="0"/>
                  <a:pt x="1378" y="0"/>
                </a:cubicBezTo>
                <a:lnTo>
                  <a:pt x="1378" y="67"/>
                </a:lnTo>
                <a:close/>
                <a:moveTo>
                  <a:pt x="1378" y="112"/>
                </a:moveTo>
                <a:cubicBezTo>
                  <a:pt x="1378" y="122"/>
                  <a:pt x="1375" y="131"/>
                  <a:pt x="1369" y="138"/>
                </a:cubicBezTo>
                <a:cubicBezTo>
                  <a:pt x="1363" y="145"/>
                  <a:pt x="1355" y="148"/>
                  <a:pt x="1346" y="148"/>
                </a:cubicBezTo>
                <a:cubicBezTo>
                  <a:pt x="1336" y="148"/>
                  <a:pt x="1328" y="145"/>
                  <a:pt x="1322" y="138"/>
                </a:cubicBezTo>
                <a:cubicBezTo>
                  <a:pt x="1317" y="130"/>
                  <a:pt x="1314" y="120"/>
                  <a:pt x="1314" y="108"/>
                </a:cubicBezTo>
                <a:cubicBezTo>
                  <a:pt x="1314" y="94"/>
                  <a:pt x="1317" y="84"/>
                  <a:pt x="1323" y="76"/>
                </a:cubicBezTo>
                <a:cubicBezTo>
                  <a:pt x="1329" y="68"/>
                  <a:pt x="1337" y="64"/>
                  <a:pt x="1348" y="64"/>
                </a:cubicBezTo>
                <a:cubicBezTo>
                  <a:pt x="1356" y="64"/>
                  <a:pt x="1364" y="67"/>
                  <a:pt x="1370" y="73"/>
                </a:cubicBezTo>
                <a:cubicBezTo>
                  <a:pt x="1375" y="79"/>
                  <a:pt x="1378" y="87"/>
                  <a:pt x="1378" y="96"/>
                </a:cubicBezTo>
                <a:lnTo>
                  <a:pt x="1378" y="112"/>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Tree>
    <p:extLst>
      <p:ext uri="{BB962C8B-B14F-4D97-AF65-F5344CB8AC3E}">
        <p14:creationId xmlns:p14="http://schemas.microsoft.com/office/powerpoint/2010/main" val="3678256370"/>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spd="slow">
        <p:wipe dir="r"/>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637476"/>
            <a:ext cx="12190270" cy="8132952"/>
          </a:xfrm>
          <a:prstGeom prst="rect">
            <a:avLst/>
          </a:prstGeom>
        </p:spPr>
      </p:pic>
      <p:sp>
        <p:nvSpPr>
          <p:cNvPr id="5" name="Rectangle 4"/>
          <p:cNvSpPr/>
          <p:nvPr/>
        </p:nvSpPr>
        <p:spPr bwMode="auto">
          <a:xfrm>
            <a:off x="-153493" y="-854415"/>
            <a:ext cx="12526690" cy="9392049"/>
          </a:xfrm>
          <a:prstGeom prst="rect">
            <a:avLst/>
          </a:prstGeom>
          <a:solidFill>
            <a:schemeClr val="tx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ctrTitle"/>
          </p:nvPr>
        </p:nvSpPr>
        <p:spPr>
          <a:xfrm>
            <a:off x="278318" y="1037940"/>
            <a:ext cx="11635362" cy="1660219"/>
          </a:xfrm>
        </p:spPr>
        <p:txBody>
          <a:bodyPr/>
          <a:lstStyle/>
          <a:p>
            <a:r>
              <a:rPr lang="en-US" dirty="0" smtClean="0"/>
              <a:t>“Windows </a:t>
            </a:r>
            <a:r>
              <a:rPr lang="en-US" dirty="0"/>
              <a:t>10 is the first step to an era of more personal </a:t>
            </a:r>
            <a:r>
              <a:rPr lang="en-US" dirty="0" smtClean="0"/>
              <a:t>computing”</a:t>
            </a:r>
            <a:endParaRPr lang="en-US" dirty="0">
              <a:latin typeface="Segoe UI Light" panose="020B0502040204020203" pitchFamily="34" charset="0"/>
              <a:cs typeface="Segoe UI Light" panose="020B0502040204020203" pitchFamily="34" charset="0"/>
            </a:endParaRPr>
          </a:p>
        </p:txBody>
      </p:sp>
      <p:sp>
        <p:nvSpPr>
          <p:cNvPr id="3" name="Text Placeholder 2"/>
          <p:cNvSpPr txBox="1">
            <a:spLocks/>
          </p:cNvSpPr>
          <p:nvPr/>
        </p:nvSpPr>
        <p:spPr>
          <a:xfrm>
            <a:off x="8807149" y="2392196"/>
            <a:ext cx="2671569" cy="611926"/>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pPr>
            <a:r>
              <a:rPr lang="en-US" sz="2800" dirty="0">
                <a:solidFill>
                  <a:srgbClr val="FFFFFF">
                    <a:lumMod val="95000"/>
                  </a:srgbClr>
                </a:solidFill>
                <a:latin typeface="Segoe UI Light"/>
              </a:rPr>
              <a:t>Terry Myerson</a:t>
            </a:r>
          </a:p>
        </p:txBody>
      </p:sp>
    </p:spTree>
    <p:extLst>
      <p:ext uri="{BB962C8B-B14F-4D97-AF65-F5344CB8AC3E}">
        <p14:creationId xmlns:p14="http://schemas.microsoft.com/office/powerpoint/2010/main" val="3785506357"/>
      </p:ext>
    </p:extLst>
  </p:cSld>
  <p:clrMapOvr>
    <a:masterClrMapping/>
  </p:clrMapOvr>
  <p:transition spd="med">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75464" y="2717793"/>
            <a:ext cx="11868674" cy="1558924"/>
          </a:xfrm>
        </p:spPr>
        <p:txBody>
          <a:bodyPr/>
          <a:lstStyle/>
          <a:p>
            <a:r>
              <a:rPr lang="en-US" sz="9598" dirty="0"/>
              <a:t>Internet of Your Things</a:t>
            </a:r>
            <a:endParaRPr lang="en-US" sz="9598" dirty="0"/>
          </a:p>
        </p:txBody>
      </p:sp>
    </p:spTree>
    <p:extLst>
      <p:ext uri="{BB962C8B-B14F-4D97-AF65-F5344CB8AC3E}">
        <p14:creationId xmlns:p14="http://schemas.microsoft.com/office/powerpoint/2010/main" val="33477964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11111" y="1553029"/>
            <a:ext cx="4113728" cy="5173452"/>
          </a:xfrm>
          <a:prstGeom prst="rect">
            <a:avLst/>
          </a:prstGeom>
        </p:spPr>
      </p:pic>
      <p:sp>
        <p:nvSpPr>
          <p:cNvPr id="8" name="TextBox 7"/>
          <p:cNvSpPr txBox="1"/>
          <p:nvPr/>
        </p:nvSpPr>
        <p:spPr>
          <a:xfrm>
            <a:off x="3993016" y="1818821"/>
            <a:ext cx="7997371" cy="4708981"/>
          </a:xfrm>
          <a:prstGeom prst="rect">
            <a:avLst/>
          </a:prstGeom>
          <a:noFill/>
        </p:spPr>
        <p:txBody>
          <a:bodyPr wrap="square" rtlCol="0">
            <a:spAutoFit/>
          </a:bodyPr>
          <a:lstStyle/>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Student Internships over Summer</a:t>
            </a:r>
            <a:endParaRPr lang="en-US" sz="4000" kern="0" dirty="0">
              <a:solidFill>
                <a:prstClr val="white"/>
              </a:solidFill>
              <a:latin typeface="+mj-lt"/>
              <a:cs typeface="Segoe UI Light" panose="020B0502040204020203" pitchFamily="34" charset="0"/>
            </a:endParaRP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Innovative Projects</a:t>
            </a: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Employer Registrations now open!</a:t>
            </a: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Register at </a:t>
            </a:r>
            <a:r>
              <a:rPr lang="en-US" sz="4000" u="sng" kern="0" dirty="0">
                <a:solidFill>
                  <a:schemeClr val="bg1"/>
                </a:solidFill>
                <a:latin typeface="+mj-lt"/>
                <a:cs typeface="Segoe UI Light" panose="020B0502040204020203" pitchFamily="34" charset="0"/>
              </a:rPr>
              <a:t>http://msa.ms</a:t>
            </a:r>
            <a:r>
              <a:rPr lang="en-US" sz="4000" kern="0" dirty="0">
                <a:solidFill>
                  <a:prstClr val="white"/>
                </a:solidFill>
                <a:latin typeface="+mj-lt"/>
                <a:cs typeface="Segoe UI Light" panose="020B0502040204020203" pitchFamily="34" charset="0"/>
              </a:rPr>
              <a:t> </a:t>
            </a:r>
          </a:p>
          <a:p>
            <a:pPr marL="571329" indent="-571329" defTabSz="914126">
              <a:lnSpc>
                <a:spcPct val="150000"/>
              </a:lnSpc>
              <a:buFont typeface="Segoe UI Light" panose="020B0502040204020203" pitchFamily="34" charset="0"/>
              <a:buChar char="►"/>
              <a:defRPr/>
            </a:pPr>
            <a:endParaRPr lang="en-US" sz="4000" kern="0" dirty="0">
              <a:solidFill>
                <a:prstClr val="white"/>
              </a:solidFill>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2143"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3695" y="6189293"/>
            <a:ext cx="1168448" cy="511694"/>
          </a:xfrm>
          <a:prstGeom prst="rect">
            <a:avLst/>
          </a:prstGeom>
        </p:spPr>
      </p:pic>
      <p:sp>
        <p:nvSpPr>
          <p:cNvPr id="6" name="Title 1"/>
          <p:cNvSpPr txBox="1">
            <a:spLocks/>
          </p:cNvSpPr>
          <p:nvPr/>
        </p:nvSpPr>
        <p:spPr>
          <a:xfrm>
            <a:off x="2164218"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algn="l">
              <a:defRPr/>
            </a:pPr>
            <a:r>
              <a:rPr lang="en-GB" sz="4800" b="1" dirty="0">
                <a:solidFill>
                  <a:schemeClr val="bg1"/>
                </a:solidFill>
                <a:latin typeface="Segoe UI Semilight" panose="020B0402040204020203" pitchFamily="34" charset="0"/>
                <a:cs typeface="Segoe UI Semilight" panose="020B0402040204020203" pitchFamily="34" charset="0"/>
              </a:rPr>
              <a:t>Microsoft Student Accelerator</a:t>
            </a:r>
            <a:endParaRPr lang="en-GB" sz="4800" b="1"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9091196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650154" y="5091152"/>
            <a:ext cx="11647183" cy="1088168"/>
          </a:xfrm>
        </p:spPr>
        <p:txBody>
          <a:bodyPr/>
          <a:lstStyle/>
          <a:p>
            <a:pPr marL="0" indent="0">
              <a:buNone/>
            </a:pPr>
            <a:r>
              <a:rPr lang="en-US" sz="3999" dirty="0">
                <a:solidFill>
                  <a:srgbClr val="00BCF2"/>
                </a:solidFill>
              </a:rPr>
              <a:t>“A computer in every pot and chicken.”</a:t>
            </a:r>
            <a:r>
              <a:rPr lang="en-US" sz="4399" dirty="0">
                <a:solidFill>
                  <a:srgbClr val="00BCF2"/>
                </a:solidFill>
              </a:rPr>
              <a:t> </a:t>
            </a:r>
            <a:br>
              <a:rPr lang="en-US" sz="4399" dirty="0">
                <a:solidFill>
                  <a:srgbClr val="00BCF2"/>
                </a:solidFill>
              </a:rPr>
            </a:br>
            <a:r>
              <a:rPr lang="en-US" sz="1999" dirty="0"/>
              <a:t>      ~ (today)</a:t>
            </a:r>
          </a:p>
        </p:txBody>
      </p:sp>
      <p:sp>
        <p:nvSpPr>
          <p:cNvPr id="2" name="Title 1"/>
          <p:cNvSpPr>
            <a:spLocks noGrp="1"/>
          </p:cNvSpPr>
          <p:nvPr>
            <p:ph type="title"/>
          </p:nvPr>
        </p:nvSpPr>
        <p:spPr/>
        <p:txBody>
          <a:bodyPr/>
          <a:lstStyle/>
          <a:p>
            <a:r>
              <a:rPr lang="en-US" dirty="0" smtClean="0"/>
              <a:t>A Changing World – a new perspective</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9645" y="1380306"/>
            <a:ext cx="1990807" cy="3365267"/>
          </a:xfrm>
          <a:prstGeom prst="rect">
            <a:avLst/>
          </a:prstGeom>
        </p:spPr>
      </p:pic>
      <p:sp>
        <p:nvSpPr>
          <p:cNvPr id="10" name="TextBox 9"/>
          <p:cNvSpPr txBox="1"/>
          <p:nvPr/>
        </p:nvSpPr>
        <p:spPr>
          <a:xfrm>
            <a:off x="5044727" y="1343159"/>
            <a:ext cx="7048473" cy="1236590"/>
          </a:xfrm>
          <a:prstGeom prst="rect">
            <a:avLst/>
          </a:prstGeom>
          <a:noFill/>
        </p:spPr>
        <p:txBody>
          <a:bodyPr wrap="square" lIns="182781" tIns="146225" rIns="182781" bIns="146225" rtlCol="0">
            <a:spAutoFit/>
          </a:bodyPr>
          <a:lstStyle/>
          <a:p>
            <a:pPr defTabSz="456932"/>
            <a:r>
              <a:rPr lang="en-US" sz="3999" kern="0" dirty="0">
                <a:solidFill>
                  <a:srgbClr val="00BCF2"/>
                </a:solidFill>
                <a:latin typeface="Segoe UI Light"/>
              </a:rPr>
              <a:t>“A chicken in every pot.” </a:t>
            </a:r>
            <a:r>
              <a:rPr lang="en-US" sz="1999" kern="0" dirty="0">
                <a:solidFill>
                  <a:srgbClr val="00BCF2"/>
                </a:solidFill>
                <a:latin typeface="Segoe UI Light"/>
              </a:rPr>
              <a:t/>
            </a:r>
            <a:br>
              <a:rPr lang="en-US" sz="1999" kern="0" dirty="0">
                <a:solidFill>
                  <a:srgbClr val="00BCF2"/>
                </a:solidFill>
                <a:latin typeface="Segoe UI Light"/>
              </a:rPr>
            </a:br>
            <a:r>
              <a:rPr lang="en-US" sz="1999" kern="0" dirty="0">
                <a:solidFill>
                  <a:srgbClr val="404040"/>
                </a:solidFill>
                <a:latin typeface="Segoe UI Light"/>
              </a:rPr>
              <a:t>~ Henry IV of France – 17</a:t>
            </a:r>
            <a:r>
              <a:rPr lang="en-US" sz="1999" kern="0" baseline="30000" dirty="0">
                <a:solidFill>
                  <a:srgbClr val="404040"/>
                </a:solidFill>
                <a:latin typeface="Segoe UI Light"/>
              </a:rPr>
              <a:t>th</a:t>
            </a:r>
            <a:r>
              <a:rPr lang="en-US" sz="1999" kern="0" dirty="0">
                <a:solidFill>
                  <a:srgbClr val="404040"/>
                </a:solidFill>
                <a:latin typeface="Segoe UI Light"/>
              </a:rPr>
              <a:t> Century</a:t>
            </a:r>
          </a:p>
        </p:txBody>
      </p:sp>
      <p:sp>
        <p:nvSpPr>
          <p:cNvPr id="12" name="TextBox 11"/>
          <p:cNvSpPr txBox="1"/>
          <p:nvPr/>
        </p:nvSpPr>
        <p:spPr>
          <a:xfrm>
            <a:off x="2426843" y="2566641"/>
            <a:ext cx="6253246" cy="1864112"/>
          </a:xfrm>
          <a:prstGeom prst="rect">
            <a:avLst/>
          </a:prstGeom>
          <a:noFill/>
        </p:spPr>
        <p:txBody>
          <a:bodyPr wrap="none" lIns="182781" tIns="146225" rIns="182781" bIns="146225" rtlCol="0">
            <a:spAutoFit/>
          </a:bodyPr>
          <a:lstStyle/>
          <a:p>
            <a:pPr defTabSz="456932"/>
            <a:r>
              <a:rPr lang="en-US" sz="3999" kern="0" dirty="0">
                <a:solidFill>
                  <a:srgbClr val="00BCF2"/>
                </a:solidFill>
                <a:latin typeface="Segoe UI Light"/>
              </a:rPr>
              <a:t>“A computer on every desk</a:t>
            </a:r>
            <a:br>
              <a:rPr lang="en-US" sz="3999" kern="0" dirty="0">
                <a:solidFill>
                  <a:srgbClr val="00BCF2"/>
                </a:solidFill>
                <a:latin typeface="Segoe UI Light"/>
              </a:rPr>
            </a:br>
            <a:r>
              <a:rPr lang="en-US" sz="3999" kern="0" dirty="0">
                <a:solidFill>
                  <a:srgbClr val="00BCF2"/>
                </a:solidFill>
                <a:latin typeface="Segoe UI Light"/>
              </a:rPr>
              <a:t>and in every home.” </a:t>
            </a:r>
          </a:p>
          <a:p>
            <a:pPr marL="783876" lvl="3" defTabSz="456932"/>
            <a:r>
              <a:rPr lang="en-US" sz="1999" kern="0" dirty="0">
                <a:solidFill>
                  <a:srgbClr val="404040"/>
                </a:solidFill>
                <a:latin typeface="Segoe UI Light"/>
              </a:rPr>
              <a:t>~ Bill Gates (1977)</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734" y="2157931"/>
            <a:ext cx="2399439" cy="2171392"/>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6272" y="2846469"/>
            <a:ext cx="1470360" cy="1495712"/>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392" y="2846469"/>
            <a:ext cx="1470360" cy="1495712"/>
          </a:xfrm>
          <a:prstGeom prst="rect">
            <a:avLst/>
          </a:prstGeom>
        </p:spPr>
      </p:pic>
      <p:pic>
        <p:nvPicPr>
          <p:cNvPr id="15" name="Picture 14"/>
          <p:cNvPicPr>
            <a:picLocks noChangeAspect="1"/>
          </p:cNvPicPr>
          <p:nvPr/>
        </p:nvPicPr>
        <p:blipFill>
          <a:blip r:embed="rId6"/>
          <a:stretch>
            <a:fillRect/>
          </a:stretch>
        </p:blipFill>
        <p:spPr>
          <a:xfrm>
            <a:off x="1132750" y="3319785"/>
            <a:ext cx="517404" cy="549081"/>
          </a:xfrm>
          <a:prstGeom prst="rect">
            <a:avLst/>
          </a:prstGeom>
        </p:spPr>
      </p:pic>
      <p:pic>
        <p:nvPicPr>
          <p:cNvPr id="19" name="Picture 18"/>
          <p:cNvPicPr>
            <a:picLocks noChangeAspect="1"/>
          </p:cNvPicPr>
          <p:nvPr/>
        </p:nvPicPr>
        <p:blipFill>
          <a:blip r:embed="rId6"/>
          <a:stretch>
            <a:fillRect/>
          </a:stretch>
        </p:blipFill>
        <p:spPr>
          <a:xfrm>
            <a:off x="10376348" y="3745283"/>
            <a:ext cx="517404" cy="549081"/>
          </a:xfrm>
          <a:prstGeom prst="rect">
            <a:avLst/>
          </a:prstGeom>
        </p:spPr>
      </p:pic>
      <p:sp>
        <p:nvSpPr>
          <p:cNvPr id="4" name="Rectangle 3"/>
          <p:cNvSpPr/>
          <p:nvPr/>
        </p:nvSpPr>
        <p:spPr bwMode="auto">
          <a:xfrm>
            <a:off x="5028056" y="2154082"/>
            <a:ext cx="4256305" cy="3006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52870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par>
                                <p:cTn id="12" presetID="10"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0" end="0"/>
                                            </p:txEl>
                                          </p:spTgt>
                                        </p:tgtEl>
                                        <p:attrNameLst>
                                          <p:attrName>style.visibility</p:attrName>
                                        </p:attrNameLst>
                                      </p:cBhvr>
                                      <p:to>
                                        <p:strVal val="visible"/>
                                      </p:to>
                                    </p:set>
                                    <p:animEffect transition="in" filter="fade">
                                      <p:cBhvr>
                                        <p:cTn id="33" dur="500"/>
                                        <p:tgtEl>
                                          <p:spTgt spid="3">
                                            <p:txEl>
                                              <p:pRg st="0" end="0"/>
                                            </p:txEl>
                                          </p:spTgt>
                                        </p:tgtEl>
                                      </p:cBhvr>
                                    </p:animEffect>
                                  </p:childTnLst>
                                </p:cTn>
                              </p:par>
                              <p:par>
                                <p:cTn id="34" presetID="1"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childTnLst>
                                </p:cTn>
                              </p:par>
                              <p:par>
                                <p:cTn id="36" presetID="10" presetClass="entr" presetSubtype="0" repeatCount="3000"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2000"/>
                                        <p:tgtEl>
                                          <p:spTgt spid="19"/>
                                        </p:tgtEl>
                                      </p:cBhvr>
                                    </p:animEffect>
                                  </p:childTnLst>
                                </p:cTn>
                              </p:par>
                              <p:par>
                                <p:cTn id="39" presetID="42" presetClass="path" presetSubtype="0" accel="50000" decel="50000" fill="hold" nodeType="withEffect">
                                  <p:stCondLst>
                                    <p:cond delay="0"/>
                                  </p:stCondLst>
                                  <p:childTnLst>
                                    <p:animMotion origin="layout" path="M -2.29167E-6 -4.07407E-6 L 0.7668 -0.12847 " pathEditMode="relative" rAng="0" ptsTypes="AA">
                                      <p:cBhvr>
                                        <p:cTn id="40" dur="2000" fill="hold"/>
                                        <p:tgtEl>
                                          <p:spTgt spid="13"/>
                                        </p:tgtEl>
                                        <p:attrNameLst>
                                          <p:attrName>ppt_x</p:attrName>
                                          <p:attrName>ppt_y</p:attrName>
                                        </p:attrNameLst>
                                      </p:cBhvr>
                                      <p:rCtr x="38333" y="-6435"/>
                                    </p:animMotion>
                                  </p:childTnLst>
                                </p:cTn>
                              </p:par>
                              <p:par>
                                <p:cTn id="41" presetID="31" presetClass="exit" presetSubtype="0" fill="hold" nodeType="withEffect">
                                  <p:stCondLst>
                                    <p:cond delay="0"/>
                                  </p:stCondLst>
                                  <p:childTnLst>
                                    <p:anim calcmode="lin" valueType="num">
                                      <p:cBhvr>
                                        <p:cTn id="42" dur="2000"/>
                                        <p:tgtEl>
                                          <p:spTgt spid="13"/>
                                        </p:tgtEl>
                                        <p:attrNameLst>
                                          <p:attrName>ppt_w</p:attrName>
                                        </p:attrNameLst>
                                      </p:cBhvr>
                                      <p:tavLst>
                                        <p:tav tm="0">
                                          <p:val>
                                            <p:strVal val="ppt_w"/>
                                          </p:val>
                                        </p:tav>
                                        <p:tav tm="100000">
                                          <p:val>
                                            <p:fltVal val="0"/>
                                          </p:val>
                                        </p:tav>
                                      </p:tavLst>
                                    </p:anim>
                                    <p:anim calcmode="lin" valueType="num">
                                      <p:cBhvr>
                                        <p:cTn id="43" dur="2000"/>
                                        <p:tgtEl>
                                          <p:spTgt spid="13"/>
                                        </p:tgtEl>
                                        <p:attrNameLst>
                                          <p:attrName>ppt_h</p:attrName>
                                        </p:attrNameLst>
                                      </p:cBhvr>
                                      <p:tavLst>
                                        <p:tav tm="0">
                                          <p:val>
                                            <p:strVal val="ppt_h"/>
                                          </p:val>
                                        </p:tav>
                                        <p:tav tm="100000">
                                          <p:val>
                                            <p:fltVal val="0"/>
                                          </p:val>
                                        </p:tav>
                                      </p:tavLst>
                                    </p:anim>
                                    <p:anim calcmode="lin" valueType="num">
                                      <p:cBhvr>
                                        <p:cTn id="44" dur="2000"/>
                                        <p:tgtEl>
                                          <p:spTgt spid="13"/>
                                        </p:tgtEl>
                                        <p:attrNameLst>
                                          <p:attrName>style.rotation</p:attrName>
                                        </p:attrNameLst>
                                      </p:cBhvr>
                                      <p:tavLst>
                                        <p:tav tm="0">
                                          <p:val>
                                            <p:fltVal val="0"/>
                                          </p:val>
                                        </p:tav>
                                        <p:tav tm="100000">
                                          <p:val>
                                            <p:fltVal val="90"/>
                                          </p:val>
                                        </p:tav>
                                      </p:tavLst>
                                    </p:anim>
                                    <p:animEffect transition="out" filter="fade">
                                      <p:cBhvr>
                                        <p:cTn id="45" dur="2000"/>
                                        <p:tgtEl>
                                          <p:spTgt spid="13"/>
                                        </p:tgtEl>
                                      </p:cBhvr>
                                    </p:animEffect>
                                    <p:set>
                                      <p:cBhvr>
                                        <p:cTn id="46" dur="1" fill="hold">
                                          <p:stCondLst>
                                            <p:cond delay="1999"/>
                                          </p:stCondLst>
                                        </p:cTn>
                                        <p:tgtEl>
                                          <p:spTgt spid="13"/>
                                        </p:tgtEl>
                                        <p:attrNameLst>
                                          <p:attrName>style.visibility</p:attrName>
                                        </p:attrNameLst>
                                      </p:cBhvr>
                                      <p:to>
                                        <p:strVal val="hidden"/>
                                      </p:to>
                                    </p:set>
                                  </p:childTnLst>
                                </p:cTn>
                              </p:par>
                            </p:childTnLst>
                          </p:cTn>
                        </p:par>
                        <p:par>
                          <p:cTn id="47" fill="hold">
                            <p:stCondLst>
                              <p:cond delay="6000"/>
                            </p:stCondLst>
                            <p:childTnLst>
                              <p:par>
                                <p:cTn id="48" presetID="26" presetClass="emph" presetSubtype="0" repeatCount="3000" fill="hold" nodeType="afterEffect">
                                  <p:stCondLst>
                                    <p:cond delay="0"/>
                                  </p:stCondLst>
                                  <p:childTnLst>
                                    <p:animEffect transition="out" filter="fade">
                                      <p:cBhvr>
                                        <p:cTn id="49" dur="2000" tmFilter="0, 0; .2, .5; .8, .5; 1, 0"/>
                                        <p:tgtEl>
                                          <p:spTgt spid="19"/>
                                        </p:tgtEl>
                                      </p:cBhvr>
                                    </p:animEffect>
                                    <p:animScale>
                                      <p:cBhvr>
                                        <p:cTn id="50" dur="1000" autoRev="1" fill="hold"/>
                                        <p:tgtEl>
                                          <p:spTgt spid="1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0" grpId="0"/>
      <p:bldP spid="12" grpId="0"/>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160749"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Cell phone</a:t>
            </a:r>
          </a:p>
        </p:txBody>
      </p:sp>
      <p:sp>
        <p:nvSpPr>
          <p:cNvPr id="22" name="TextBox 21"/>
          <p:cNvSpPr txBox="1"/>
          <p:nvPr/>
        </p:nvSpPr>
        <p:spPr>
          <a:xfrm>
            <a:off x="5160749"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VoIP phon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138" name="Freeform 121"/>
          <p:cNvSpPr>
            <a:spLocks noEditPoints="1"/>
          </p:cNvSpPr>
          <p:nvPr/>
        </p:nvSpPr>
        <p:spPr bwMode="auto">
          <a:xfrm>
            <a:off x="5350003" y="4207374"/>
            <a:ext cx="384708" cy="600615"/>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185" name="Group 184"/>
          <p:cNvGrpSpPr/>
          <p:nvPr/>
        </p:nvGrpSpPr>
        <p:grpSpPr>
          <a:xfrm>
            <a:off x="5273454" y="2163448"/>
            <a:ext cx="537806" cy="465182"/>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5" name="TextBox 14"/>
          <p:cNvSpPr txBox="1"/>
          <p:nvPr/>
        </p:nvSpPr>
        <p:spPr>
          <a:xfrm>
            <a:off x="631675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HVAC</a:t>
            </a:r>
          </a:p>
        </p:txBody>
      </p:sp>
      <p:sp>
        <p:nvSpPr>
          <p:cNvPr id="23" name="TextBox 22"/>
          <p:cNvSpPr txBox="1"/>
          <p:nvPr/>
        </p:nvSpPr>
        <p:spPr>
          <a:xfrm>
            <a:off x="631675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mputer</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92" name="Group 191"/>
          <p:cNvGrpSpPr/>
          <p:nvPr/>
        </p:nvGrpSpPr>
        <p:grpSpPr>
          <a:xfrm>
            <a:off x="6458898" y="4329066"/>
            <a:ext cx="478923" cy="478923"/>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4" name="Group 183"/>
          <p:cNvGrpSpPr/>
          <p:nvPr/>
        </p:nvGrpSpPr>
        <p:grpSpPr>
          <a:xfrm>
            <a:off x="6428476" y="2147746"/>
            <a:ext cx="539769" cy="480884"/>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6" name="TextBox 15"/>
          <p:cNvSpPr txBox="1"/>
          <p:nvPr/>
        </p:nvSpPr>
        <p:spPr>
          <a:xfrm>
            <a:off x="7472755"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Vending</a:t>
            </a:r>
          </a:p>
        </p:txBody>
      </p:sp>
      <p:sp>
        <p:nvSpPr>
          <p:cNvPr id="24" name="TextBox 23"/>
          <p:cNvSpPr txBox="1"/>
          <p:nvPr/>
        </p:nvSpPr>
        <p:spPr>
          <a:xfrm>
            <a:off x="7472755"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rinter</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93" name="Group 192"/>
          <p:cNvGrpSpPr/>
          <p:nvPr/>
        </p:nvGrpSpPr>
        <p:grpSpPr>
          <a:xfrm>
            <a:off x="7574664" y="4207374"/>
            <a:ext cx="559398" cy="600615"/>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3" name="Group 182"/>
          <p:cNvGrpSpPr/>
          <p:nvPr/>
        </p:nvGrpSpPr>
        <p:grpSpPr>
          <a:xfrm>
            <a:off x="7585459" y="2159523"/>
            <a:ext cx="537806" cy="469107"/>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7" name="TextBox 16"/>
          <p:cNvSpPr txBox="1"/>
          <p:nvPr/>
        </p:nvSpPr>
        <p:spPr>
          <a:xfrm>
            <a:off x="8628757"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Security</a:t>
            </a:r>
          </a:p>
        </p:txBody>
      </p:sp>
      <p:sp>
        <p:nvSpPr>
          <p:cNvPr id="25" name="TextBox 24"/>
          <p:cNvSpPr txBox="1"/>
          <p:nvPr/>
        </p:nvSpPr>
        <p:spPr>
          <a:xfrm>
            <a:off x="8610399" y="2766152"/>
            <a:ext cx="852348"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a player</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145" name="Freeform 128"/>
          <p:cNvSpPr>
            <a:spLocks noEditPoints="1"/>
          </p:cNvSpPr>
          <p:nvPr/>
        </p:nvSpPr>
        <p:spPr bwMode="auto">
          <a:xfrm>
            <a:off x="8711038" y="4354584"/>
            <a:ext cx="598654" cy="453405"/>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182" name="Group 181"/>
          <p:cNvGrpSpPr/>
          <p:nvPr/>
        </p:nvGrpSpPr>
        <p:grpSpPr>
          <a:xfrm>
            <a:off x="8875624" y="2088861"/>
            <a:ext cx="321898" cy="539769"/>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3" name="TextBox 12"/>
          <p:cNvSpPr txBox="1"/>
          <p:nvPr/>
        </p:nvSpPr>
        <p:spPr>
          <a:xfrm>
            <a:off x="393491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Oven</a:t>
            </a:r>
          </a:p>
        </p:txBody>
      </p:sp>
      <p:sp>
        <p:nvSpPr>
          <p:cNvPr id="21" name="TextBox 20"/>
          <p:cNvSpPr txBox="1"/>
          <p:nvPr/>
        </p:nvSpPr>
        <p:spPr>
          <a:xfrm>
            <a:off x="393491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utomobil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91" name="Group 190"/>
          <p:cNvGrpSpPr/>
          <p:nvPr/>
        </p:nvGrpSpPr>
        <p:grpSpPr>
          <a:xfrm>
            <a:off x="4117295" y="4413467"/>
            <a:ext cx="398448" cy="394521"/>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6" name="Group 185"/>
          <p:cNvGrpSpPr/>
          <p:nvPr/>
        </p:nvGrpSpPr>
        <p:grpSpPr>
          <a:xfrm>
            <a:off x="3865077" y="2289067"/>
            <a:ext cx="902886" cy="339563"/>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2" name="TextBox 11"/>
          <p:cNvSpPr txBox="1"/>
          <p:nvPr/>
        </p:nvSpPr>
        <p:spPr>
          <a:xfrm>
            <a:off x="2709074"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Smart scale</a:t>
            </a:r>
          </a:p>
        </p:txBody>
      </p:sp>
      <p:sp>
        <p:nvSpPr>
          <p:cNvPr id="20" name="TextBox 19"/>
          <p:cNvSpPr txBox="1"/>
          <p:nvPr/>
        </p:nvSpPr>
        <p:spPr>
          <a:xfrm>
            <a:off x="2709074"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Refrigerator</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90" name="Group 189"/>
          <p:cNvGrpSpPr/>
          <p:nvPr/>
        </p:nvGrpSpPr>
        <p:grpSpPr>
          <a:xfrm>
            <a:off x="2856127" y="4329066"/>
            <a:ext cx="469109" cy="478923"/>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7" name="Group 186"/>
          <p:cNvGrpSpPr/>
          <p:nvPr/>
        </p:nvGrpSpPr>
        <p:grpSpPr>
          <a:xfrm>
            <a:off x="2941509" y="2088861"/>
            <a:ext cx="298346" cy="539769"/>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8" name="TextBox 17"/>
          <p:cNvSpPr txBox="1"/>
          <p:nvPr/>
        </p:nvSpPr>
        <p:spPr>
          <a:xfrm>
            <a:off x="9784758"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Television</a:t>
            </a:r>
          </a:p>
        </p:txBody>
      </p:sp>
      <p:sp>
        <p:nvSpPr>
          <p:cNvPr id="26" name="TextBox 25"/>
          <p:cNvSpPr txBox="1"/>
          <p:nvPr/>
        </p:nvSpPr>
        <p:spPr>
          <a:xfrm>
            <a:off x="9784758"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icrowav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94" name="Group 193"/>
          <p:cNvGrpSpPr/>
          <p:nvPr/>
        </p:nvGrpSpPr>
        <p:grpSpPr>
          <a:xfrm>
            <a:off x="9920036" y="4268220"/>
            <a:ext cx="492662" cy="539769"/>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1" name="Group 180"/>
          <p:cNvGrpSpPr/>
          <p:nvPr/>
        </p:nvGrpSpPr>
        <p:grpSpPr>
          <a:xfrm>
            <a:off x="9897462" y="2320471"/>
            <a:ext cx="537808" cy="308159"/>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1" name="TextBox 10"/>
          <p:cNvSpPr txBox="1"/>
          <p:nvPr/>
        </p:nvSpPr>
        <p:spPr>
          <a:xfrm>
            <a:off x="1462589" y="4966076"/>
            <a:ext cx="853700"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Coffee maker</a:t>
            </a:r>
          </a:p>
        </p:txBody>
      </p:sp>
      <p:sp>
        <p:nvSpPr>
          <p:cNvPr id="19" name="TextBox 18"/>
          <p:cNvSpPr txBox="1"/>
          <p:nvPr/>
        </p:nvSpPr>
        <p:spPr>
          <a:xfrm>
            <a:off x="155307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larm clock</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nvGrpSpPr>
          <p:cNvPr id="189" name="Group 188"/>
          <p:cNvGrpSpPr/>
          <p:nvPr/>
        </p:nvGrpSpPr>
        <p:grpSpPr>
          <a:xfrm>
            <a:off x="1590112" y="4438983"/>
            <a:ext cx="598654" cy="369006"/>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8" name="Group 187"/>
          <p:cNvGrpSpPr/>
          <p:nvPr/>
        </p:nvGrpSpPr>
        <p:grpSpPr>
          <a:xfrm>
            <a:off x="1709939" y="2077085"/>
            <a:ext cx="449481" cy="55154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13" name="Group 212"/>
          <p:cNvGrpSpPr/>
          <p:nvPr/>
        </p:nvGrpSpPr>
        <p:grpSpPr>
          <a:xfrm>
            <a:off x="663631" y="3151896"/>
            <a:ext cx="515134" cy="471556"/>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17" name="Group 216"/>
          <p:cNvGrpSpPr/>
          <p:nvPr/>
        </p:nvGrpSpPr>
        <p:grpSpPr>
          <a:xfrm>
            <a:off x="11025413" y="3151896"/>
            <a:ext cx="515134" cy="471556"/>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221" name="Freeform 92"/>
          <p:cNvSpPr>
            <a:spLocks noEditPoints="1"/>
          </p:cNvSpPr>
          <p:nvPr/>
        </p:nvSpPr>
        <p:spPr bwMode="auto">
          <a:xfrm>
            <a:off x="5909729" y="3088088"/>
            <a:ext cx="357947" cy="54003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2" name="Rectangle 93"/>
          <p:cNvSpPr>
            <a:spLocks noChangeArrowheads="1"/>
          </p:cNvSpPr>
          <p:nvPr/>
        </p:nvSpPr>
        <p:spPr bwMode="auto">
          <a:xfrm>
            <a:off x="1290945"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3" name="Rectangle 94"/>
          <p:cNvSpPr>
            <a:spLocks noChangeArrowheads="1"/>
          </p:cNvSpPr>
          <p:nvPr/>
        </p:nvSpPr>
        <p:spPr bwMode="auto">
          <a:xfrm>
            <a:off x="6470289"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4" name="TextBox 223"/>
          <p:cNvSpPr txBox="1"/>
          <p:nvPr/>
        </p:nvSpPr>
        <p:spPr>
          <a:xfrm>
            <a:off x="665421"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225" name="TextBox 224"/>
          <p:cNvSpPr txBox="1"/>
          <p:nvPr/>
        </p:nvSpPr>
        <p:spPr>
          <a:xfrm>
            <a:off x="11027203"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226" name="TextBox 225"/>
          <p:cNvSpPr txBox="1"/>
          <p:nvPr/>
        </p:nvSpPr>
        <p:spPr>
          <a:xfrm>
            <a:off x="5576615" y="3648866"/>
            <a:ext cx="1024173"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81289732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40604" y="4362335"/>
            <a:ext cx="1526692" cy="1135576"/>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leep track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sp>
        <p:nvSpPr>
          <p:cNvPr id="73" name="Rectangle 72"/>
          <p:cNvSpPr/>
          <p:nvPr/>
        </p:nvSpPr>
        <p:spPr bwMode="auto">
          <a:xfrm>
            <a:off x="4881552" y="3007025"/>
            <a:ext cx="2277958" cy="3659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176" spc="-50"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11" name="TextBox 10"/>
          <p:cNvSpPr txBox="1"/>
          <p:nvPr/>
        </p:nvSpPr>
        <p:spPr>
          <a:xfrm>
            <a:off x="3022879" y="3152704"/>
            <a:ext cx="957561" cy="181036"/>
          </a:xfrm>
          <a:prstGeom prst="rect">
            <a:avLst/>
          </a:prstGeom>
          <a:solidFill>
            <a:schemeClr val="bg1"/>
          </a:solidFill>
          <a:ln>
            <a:noFill/>
            <a:headEnd type="none" w="med" len="med"/>
            <a:tailEnd type="none" w="med" len="med"/>
          </a:ln>
        </p:spPr>
        <p:txBody>
          <a:bodyPr wrap="none" lIns="91427" tIns="0" rIns="91427" bIns="0" rtlCol="0">
            <a:spAutoFit/>
          </a:bodyPr>
          <a:lstStyle/>
          <a:p>
            <a:pPr defTabSz="914225">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sp>
        <p:nvSpPr>
          <p:cNvPr id="12" name="TextBox 11"/>
          <p:cNvSpPr txBox="1"/>
          <p:nvPr/>
        </p:nvSpPr>
        <p:spPr>
          <a:xfrm>
            <a:off x="8202223" y="3152704"/>
            <a:ext cx="957561" cy="181036"/>
          </a:xfrm>
          <a:prstGeom prst="rect">
            <a:avLst/>
          </a:prstGeom>
          <a:solidFill>
            <a:schemeClr val="bg1"/>
          </a:solidFill>
          <a:ln>
            <a:noFill/>
            <a:headEnd type="none" w="med" len="med"/>
            <a:tailEnd type="none" w="med" len="med"/>
          </a:ln>
        </p:spPr>
        <p:txBody>
          <a:bodyPr wrap="none" lIns="91427" tIns="0" rIns="91427" bIns="0" rtlCol="0">
            <a:spAutoFit/>
          </a:bodyPr>
          <a:lstStyle/>
          <a:p>
            <a:pPr defTabSz="914225">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grpSp>
        <p:nvGrpSpPr>
          <p:cNvPr id="37" name="Group 36"/>
          <p:cNvGrpSpPr/>
          <p:nvPr/>
        </p:nvGrpSpPr>
        <p:grpSpPr>
          <a:xfrm>
            <a:off x="414168" y="5552116"/>
            <a:ext cx="1155548" cy="849523"/>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security</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34" name="Group 33"/>
          <p:cNvGrpSpPr/>
          <p:nvPr/>
        </p:nvGrpSpPr>
        <p:grpSpPr>
          <a:xfrm>
            <a:off x="1772745" y="5530805"/>
            <a:ext cx="1277821" cy="867499"/>
            <a:chOff x="1818203" y="5627360"/>
            <a:chExt cx="1303444" cy="884894"/>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613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automation</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30" name="Group 29"/>
          <p:cNvGrpSpPr/>
          <p:nvPr/>
        </p:nvGrpSpPr>
        <p:grpSpPr>
          <a:xfrm>
            <a:off x="3253597" y="5891101"/>
            <a:ext cx="917060" cy="510539"/>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Leak detection</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11277" name="Group 11276"/>
          <p:cNvGrpSpPr/>
          <p:nvPr/>
        </p:nvGrpSpPr>
        <p:grpSpPr>
          <a:xfrm>
            <a:off x="1093513" y="3637201"/>
            <a:ext cx="1788638" cy="809485"/>
            <a:chOff x="1745850" y="3471298"/>
            <a:chExt cx="1824504" cy="82571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8"/>
              <a:ext cx="1584950" cy="825717"/>
              <a:chOff x="1897721" y="3634129"/>
              <a:chExt cx="1554014" cy="809600"/>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55504" cy="180973"/>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appliance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068182" y="2182050"/>
            <a:ext cx="950368" cy="721394"/>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doo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avigation</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80" name="Group 79"/>
          <p:cNvGrpSpPr/>
          <p:nvPr/>
        </p:nvGrpSpPr>
        <p:grpSpPr>
          <a:xfrm>
            <a:off x="3811445" y="834786"/>
            <a:ext cx="1537621" cy="885858"/>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ealth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onitor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498096" y="1852089"/>
            <a:ext cx="1378601" cy="1051354"/>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light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143" name="Group 142"/>
          <p:cNvGrpSpPr/>
          <p:nvPr/>
        </p:nvGrpSpPr>
        <p:grpSpPr>
          <a:xfrm>
            <a:off x="5645188" y="857812"/>
            <a:ext cx="932708" cy="862831"/>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et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track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511849" y="4722225"/>
            <a:ext cx="1767994" cy="704913"/>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formation captur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9884289" y="1723980"/>
            <a:ext cx="1200024" cy="1122533"/>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Trip tracking and car health</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9903187" y="4786094"/>
            <a:ext cx="1580565" cy="641045"/>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ntrol</a:t>
              </a:r>
            </a:p>
          </p:txBody>
        </p:sp>
      </p:grpSp>
      <p:grpSp>
        <p:nvGrpSpPr>
          <p:cNvPr id="150" name="Group 149"/>
          <p:cNvGrpSpPr/>
          <p:nvPr/>
        </p:nvGrpSpPr>
        <p:grpSpPr>
          <a:xfrm>
            <a:off x="1112063" y="1697158"/>
            <a:ext cx="1426474" cy="1206286"/>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hild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elder</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onitor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30023" y="1832737"/>
            <a:ext cx="2576587" cy="107070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ports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fitnes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137820" y="4566521"/>
            <a:ext cx="1500234" cy="860617"/>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ir conditioning and temperature control</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261397" y="4504783"/>
            <a:ext cx="1627110" cy="922356"/>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vironmental sensor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6874017" y="710504"/>
            <a:ext cx="1683635" cy="1010139"/>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havior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odification</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373686" y="5546208"/>
            <a:ext cx="2368656" cy="855431"/>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Garden, lawn and plant car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26158" y="3539329"/>
            <a:ext cx="1807494" cy="836673"/>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Food and nutrition track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210035" y="1578777"/>
            <a:ext cx="1482767" cy="1487600"/>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acons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proximity</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6945371" y="5551794"/>
            <a:ext cx="2465835" cy="849846"/>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ew devices and sensor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8853774" y="796608"/>
            <a:ext cx="2629351" cy="924035"/>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bject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tracking</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11279" name="Group 11278"/>
          <p:cNvGrpSpPr/>
          <p:nvPr/>
        </p:nvGrpSpPr>
        <p:grpSpPr>
          <a:xfrm>
            <a:off x="5071504" y="3972369"/>
            <a:ext cx="841337" cy="497995"/>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7903046" y="3657619"/>
            <a:ext cx="1167401" cy="964791"/>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vending machine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grpSp>
      <p:grpSp>
        <p:nvGrpSpPr>
          <p:cNvPr id="11284" name="Group 11283"/>
          <p:cNvGrpSpPr/>
          <p:nvPr/>
        </p:nvGrpSpPr>
        <p:grpSpPr>
          <a:xfrm>
            <a:off x="1899332" y="720759"/>
            <a:ext cx="1615992" cy="99988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cation </a:t>
              </a: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dherence</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123318" y="3707778"/>
            <a:ext cx="2321369" cy="82037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ike ride stats and protection</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614235" y="5572395"/>
            <a:ext cx="2090138" cy="829245"/>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tertainment systems</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528800" y="3614943"/>
            <a:ext cx="980044" cy="889839"/>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ffice equipment</a:t>
              </a:r>
              <a:endParaRPr lang="en-US" sz="1176"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a:t>IoT 2015</a:t>
            </a:r>
          </a:p>
        </p:txBody>
      </p:sp>
      <p:grpSp>
        <p:nvGrpSpPr>
          <p:cNvPr id="225" name="Group 224"/>
          <p:cNvGrpSpPr/>
          <p:nvPr/>
        </p:nvGrpSpPr>
        <p:grpSpPr>
          <a:xfrm>
            <a:off x="663631" y="3151896"/>
            <a:ext cx="515134" cy="471556"/>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29" name="Group 228"/>
          <p:cNvGrpSpPr/>
          <p:nvPr/>
        </p:nvGrpSpPr>
        <p:grpSpPr>
          <a:xfrm>
            <a:off x="11025413" y="3151896"/>
            <a:ext cx="515134" cy="471556"/>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233" name="Freeform 92"/>
          <p:cNvSpPr>
            <a:spLocks noEditPoints="1"/>
          </p:cNvSpPr>
          <p:nvPr/>
        </p:nvSpPr>
        <p:spPr bwMode="auto">
          <a:xfrm>
            <a:off x="5909729" y="3088088"/>
            <a:ext cx="357947" cy="54003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4" name="Rectangle 93"/>
          <p:cNvSpPr>
            <a:spLocks noChangeArrowheads="1"/>
          </p:cNvSpPr>
          <p:nvPr/>
        </p:nvSpPr>
        <p:spPr bwMode="auto">
          <a:xfrm>
            <a:off x="1290945"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5" name="Rectangle 94"/>
          <p:cNvSpPr>
            <a:spLocks noChangeArrowheads="1"/>
          </p:cNvSpPr>
          <p:nvPr/>
        </p:nvSpPr>
        <p:spPr bwMode="auto">
          <a:xfrm>
            <a:off x="6470289"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6" name="TextBox 235"/>
          <p:cNvSpPr txBox="1"/>
          <p:nvPr/>
        </p:nvSpPr>
        <p:spPr>
          <a:xfrm>
            <a:off x="665421"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237" name="TextBox 236"/>
          <p:cNvSpPr txBox="1"/>
          <p:nvPr/>
        </p:nvSpPr>
        <p:spPr>
          <a:xfrm>
            <a:off x="11038999"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238" name="TextBox 237"/>
          <p:cNvSpPr txBox="1"/>
          <p:nvPr/>
        </p:nvSpPr>
        <p:spPr>
          <a:xfrm>
            <a:off x="5576615" y="3648866"/>
            <a:ext cx="1024173"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endParaRPr lang="en-US" sz="1372" b="1" spc="-38" dirty="0">
              <a:gradFill>
                <a:gsLst>
                  <a:gs pos="0">
                    <a:srgbClr val="505050"/>
                  </a:gs>
                  <a:gs pos="100000">
                    <a:srgbClr val="505050"/>
                  </a:gs>
                </a:gsLst>
                <a:lin ang="5400000" scaled="1"/>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4843123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442372" y="1674941"/>
            <a:ext cx="11625534" cy="4912266"/>
            <a:chOff x="437088" y="1786025"/>
            <a:chExt cx="11873669" cy="5017112"/>
          </a:xfrm>
        </p:grpSpPr>
        <p:pic>
          <p:nvPicPr>
            <p:cNvPr id="19" name="Surface Hub"/>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088" y="1786025"/>
              <a:ext cx="5880264" cy="3296866"/>
            </a:xfrm>
            <a:prstGeom prst="rect">
              <a:avLst/>
            </a:prstGeom>
          </p:spPr>
        </p:pic>
        <p:pic>
          <p:nvPicPr>
            <p:cNvPr id="20" name="Headse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838" y="2326197"/>
              <a:ext cx="3083030" cy="1608538"/>
            </a:xfrm>
            <a:prstGeom prst="rect">
              <a:avLst/>
            </a:prstGeom>
          </p:spPr>
        </p:pic>
        <p:pic>
          <p:nvPicPr>
            <p:cNvPr id="25" name="Xbox"/>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1558" y="4259262"/>
              <a:ext cx="3869199" cy="2388396"/>
            </a:xfrm>
            <a:prstGeom prst="rect">
              <a:avLst/>
            </a:prstGeom>
          </p:spPr>
        </p:pic>
        <p:grpSp>
          <p:nvGrpSpPr>
            <p:cNvPr id="37" name="Mobile Devices"/>
            <p:cNvGrpSpPr/>
            <p:nvPr/>
          </p:nvGrpSpPr>
          <p:grpSpPr>
            <a:xfrm>
              <a:off x="1185007" y="5419070"/>
              <a:ext cx="2134384" cy="848296"/>
              <a:chOff x="218607" y="3894326"/>
              <a:chExt cx="2611614" cy="1037968"/>
            </a:xfrm>
          </p:grpSpPr>
          <p:grpSp>
            <p:nvGrpSpPr>
              <p:cNvPr id="43" name="Group 42"/>
              <p:cNvGrpSpPr/>
              <p:nvPr/>
            </p:nvGrpSpPr>
            <p:grpSpPr>
              <a:xfrm>
                <a:off x="218607" y="4086238"/>
                <a:ext cx="1505513" cy="846056"/>
                <a:chOff x="218607" y="4086238"/>
                <a:chExt cx="1505513" cy="846056"/>
              </a:xfrm>
            </p:grpSpPr>
            <p:pic>
              <p:nvPicPr>
                <p:cNvPr id="45" name="Phablet"/>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399" y="4086238"/>
                  <a:ext cx="918721" cy="846056"/>
                </a:xfrm>
                <a:prstGeom prst="rect">
                  <a:avLst/>
                </a:prstGeom>
              </p:spPr>
            </p:pic>
            <p:pic>
              <p:nvPicPr>
                <p:cNvPr id="46" name="Phon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607" y="4260187"/>
                  <a:ext cx="705007" cy="649243"/>
                </a:xfrm>
                <a:prstGeom prst="rect">
                  <a:avLst/>
                </a:prstGeom>
              </p:spPr>
            </p:pic>
          </p:grpSp>
          <p:pic>
            <p:nvPicPr>
              <p:cNvPr id="44" name="Small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6457" y="3894326"/>
                <a:ext cx="1393764" cy="1028916"/>
              </a:xfrm>
              <a:prstGeom prst="rect">
                <a:avLst/>
              </a:prstGeom>
            </p:spPr>
          </p:pic>
        </p:grpSp>
        <p:pic>
          <p:nvPicPr>
            <p:cNvPr id="38" name="2-in-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39543" y="5318219"/>
              <a:ext cx="2040636" cy="1484918"/>
            </a:xfrm>
            <a:prstGeom prst="rect">
              <a:avLst/>
            </a:prstGeom>
          </p:spPr>
        </p:pic>
        <p:grpSp>
          <p:nvGrpSpPr>
            <p:cNvPr id="39" name="Group 38"/>
            <p:cNvGrpSpPr/>
            <p:nvPr/>
          </p:nvGrpSpPr>
          <p:grpSpPr>
            <a:xfrm>
              <a:off x="4691780" y="4658777"/>
              <a:ext cx="4096278" cy="1559917"/>
              <a:chOff x="4188387" y="2878995"/>
              <a:chExt cx="4514862" cy="1719321"/>
            </a:xfrm>
          </p:grpSpPr>
          <p:pic>
            <p:nvPicPr>
              <p:cNvPr id="41" name="Laptop"/>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88387" y="3508025"/>
                <a:ext cx="1924461" cy="1090291"/>
              </a:xfrm>
              <a:prstGeom prst="rect">
                <a:avLst/>
              </a:prstGeom>
            </p:spPr>
          </p:pic>
          <p:pic>
            <p:nvPicPr>
              <p:cNvPr id="42" name="Desk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53863" y="2878995"/>
                <a:ext cx="3149386" cy="1697974"/>
              </a:xfrm>
              <a:prstGeom prst="rect">
                <a:avLst/>
              </a:prstGeom>
            </p:spPr>
          </p:pic>
        </p:grpSp>
        <p:pic>
          <p:nvPicPr>
            <p:cNvPr id="40"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0388" y="5811261"/>
              <a:ext cx="589017" cy="427233"/>
            </a:xfrm>
            <a:prstGeom prst="rect">
              <a:avLst/>
            </a:prstGeom>
          </p:spPr>
        </p:pic>
      </p:grpSp>
      <p:sp>
        <p:nvSpPr>
          <p:cNvPr id="47" name="Windows 10 - to Grow"/>
          <p:cNvSpPr>
            <a:spLocks noChangeAspect="1" noEditPoints="1"/>
          </p:cNvSpPr>
          <p:nvPr/>
        </p:nvSpPr>
        <p:spPr bwMode="auto">
          <a:xfrm>
            <a:off x="2547963" y="2791776"/>
            <a:ext cx="7086740" cy="1308271"/>
          </a:xfrm>
          <a:custGeom>
            <a:avLst/>
            <a:gdLst>
              <a:gd name="T0" fmla="*/ 89 w 1096"/>
              <a:gd name="T1" fmla="*/ 99 h 200"/>
              <a:gd name="T2" fmla="*/ 0 w 1096"/>
              <a:gd name="T3" fmla="*/ 28 h 200"/>
              <a:gd name="T4" fmla="*/ 89 w 1096"/>
              <a:gd name="T5" fmla="*/ 184 h 200"/>
              <a:gd name="T6" fmla="*/ 86 w 1096"/>
              <a:gd name="T7" fmla="*/ 102 h 200"/>
              <a:gd name="T8" fmla="*/ 86 w 1096"/>
              <a:gd name="T9" fmla="*/ 102 h 200"/>
              <a:gd name="T10" fmla="*/ 978 w 1096"/>
              <a:gd name="T11" fmla="*/ 48 h 200"/>
              <a:gd name="T12" fmla="*/ 966 w 1096"/>
              <a:gd name="T13" fmla="*/ 67 h 200"/>
              <a:gd name="T14" fmla="*/ 986 w 1096"/>
              <a:gd name="T15" fmla="*/ 159 h 200"/>
              <a:gd name="T16" fmla="*/ 1041 w 1096"/>
              <a:gd name="T17" fmla="*/ 42 h 200"/>
              <a:gd name="T18" fmla="*/ 1020 w 1096"/>
              <a:gd name="T19" fmla="*/ 127 h 200"/>
              <a:gd name="T20" fmla="*/ 1072 w 1096"/>
              <a:gd name="T21" fmla="*/ 157 h 200"/>
              <a:gd name="T22" fmla="*/ 1058 w 1096"/>
              <a:gd name="T23" fmla="*/ 38 h 200"/>
              <a:gd name="T24" fmla="*/ 1082 w 1096"/>
              <a:gd name="T25" fmla="*/ 100 h 200"/>
              <a:gd name="T26" fmla="*/ 364 w 1096"/>
              <a:gd name="T27" fmla="*/ 159 h 200"/>
              <a:gd name="T28" fmla="*/ 335 w 1096"/>
              <a:gd name="T29" fmla="*/ 72 h 200"/>
              <a:gd name="T30" fmla="*/ 274 w 1096"/>
              <a:gd name="T31" fmla="*/ 40 h 200"/>
              <a:gd name="T32" fmla="*/ 305 w 1096"/>
              <a:gd name="T33" fmla="*/ 131 h 200"/>
              <a:gd name="T34" fmla="*/ 372 w 1096"/>
              <a:gd name="T35" fmla="*/ 143 h 200"/>
              <a:gd name="T36" fmla="*/ 414 w 1096"/>
              <a:gd name="T37" fmla="*/ 40 h 200"/>
              <a:gd name="T38" fmla="*/ 426 w 1096"/>
              <a:gd name="T39" fmla="*/ 52 h 200"/>
              <a:gd name="T40" fmla="*/ 439 w 1096"/>
              <a:gd name="T41" fmla="*/ 40 h 200"/>
              <a:gd name="T42" fmla="*/ 426 w 1096"/>
              <a:gd name="T43" fmla="*/ 74 h 200"/>
              <a:gd name="T44" fmla="*/ 517 w 1096"/>
              <a:gd name="T45" fmla="*/ 159 h 200"/>
              <a:gd name="T46" fmla="*/ 473 w 1096"/>
              <a:gd name="T47" fmla="*/ 111 h 200"/>
              <a:gd name="T48" fmla="*/ 473 w 1096"/>
              <a:gd name="T49" fmla="*/ 74 h 200"/>
              <a:gd name="T50" fmla="*/ 523 w 1096"/>
              <a:gd name="T51" fmla="*/ 81 h 200"/>
              <a:gd name="T52" fmla="*/ 611 w 1096"/>
              <a:gd name="T53" fmla="*/ 159 h 200"/>
              <a:gd name="T54" fmla="*/ 556 w 1096"/>
              <a:gd name="T55" fmla="*/ 150 h 200"/>
              <a:gd name="T56" fmla="*/ 610 w 1096"/>
              <a:gd name="T57" fmla="*/ 86 h 200"/>
              <a:gd name="T58" fmla="*/ 624 w 1096"/>
              <a:gd name="T59" fmla="*/ 159 h 200"/>
              <a:gd name="T60" fmla="*/ 587 w 1096"/>
              <a:gd name="T61" fmla="*/ 84 h 200"/>
              <a:gd name="T62" fmla="*/ 585 w 1096"/>
              <a:gd name="T63" fmla="*/ 150 h 200"/>
              <a:gd name="T64" fmla="*/ 714 w 1096"/>
              <a:gd name="T65" fmla="*/ 149 h 200"/>
              <a:gd name="T66" fmla="*/ 653 w 1096"/>
              <a:gd name="T67" fmla="*/ 84 h 200"/>
              <a:gd name="T68" fmla="*/ 712 w 1096"/>
              <a:gd name="T69" fmla="*/ 117 h 200"/>
              <a:gd name="T70" fmla="*/ 656 w 1096"/>
              <a:gd name="T71" fmla="*/ 117 h 200"/>
              <a:gd name="T72" fmla="*/ 712 w 1096"/>
              <a:gd name="T73" fmla="*/ 117 h 200"/>
              <a:gd name="T74" fmla="*/ 793 w 1096"/>
              <a:gd name="T75" fmla="*/ 98 h 200"/>
              <a:gd name="T76" fmla="*/ 771 w 1096"/>
              <a:gd name="T77" fmla="*/ 159 h 200"/>
              <a:gd name="T78" fmla="*/ 763 w 1096"/>
              <a:gd name="T79" fmla="*/ 138 h 200"/>
              <a:gd name="T80" fmla="*/ 786 w 1096"/>
              <a:gd name="T81" fmla="*/ 74 h 200"/>
              <a:gd name="T82" fmla="*/ 818 w 1096"/>
              <a:gd name="T83" fmla="*/ 146 h 200"/>
              <a:gd name="T84" fmla="*/ 909 w 1096"/>
              <a:gd name="T85" fmla="*/ 136 h 200"/>
              <a:gd name="T86" fmla="*/ 857 w 1096"/>
              <a:gd name="T87" fmla="*/ 142 h 200"/>
              <a:gd name="T88" fmla="*/ 878 w 1096"/>
              <a:gd name="T89" fmla="*/ 122 h 200"/>
              <a:gd name="T90" fmla="*/ 887 w 1096"/>
              <a:gd name="T91" fmla="*/ 72 h 200"/>
              <a:gd name="T92" fmla="*/ 875 w 1096"/>
              <a:gd name="T93" fmla="*/ 87 h 200"/>
              <a:gd name="T94" fmla="*/ 904 w 1096"/>
              <a:gd name="T95" fmla="*/ 12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6" h="200">
                <a:moveTo>
                  <a:pt x="89" y="16"/>
                </a:moveTo>
                <a:cubicBezTo>
                  <a:pt x="200" y="0"/>
                  <a:pt x="200" y="0"/>
                  <a:pt x="200" y="0"/>
                </a:cubicBezTo>
                <a:cubicBezTo>
                  <a:pt x="200" y="99"/>
                  <a:pt x="200" y="99"/>
                  <a:pt x="200" y="99"/>
                </a:cubicBezTo>
                <a:cubicBezTo>
                  <a:pt x="89" y="99"/>
                  <a:pt x="89" y="99"/>
                  <a:pt x="89" y="99"/>
                </a:cubicBezTo>
                <a:lnTo>
                  <a:pt x="89" y="16"/>
                </a:lnTo>
                <a:close/>
                <a:moveTo>
                  <a:pt x="86" y="99"/>
                </a:moveTo>
                <a:cubicBezTo>
                  <a:pt x="86" y="16"/>
                  <a:pt x="86" y="16"/>
                  <a:pt x="86" y="16"/>
                </a:cubicBezTo>
                <a:cubicBezTo>
                  <a:pt x="0" y="28"/>
                  <a:pt x="0" y="28"/>
                  <a:pt x="0" y="28"/>
                </a:cubicBezTo>
                <a:cubicBezTo>
                  <a:pt x="0" y="99"/>
                  <a:pt x="0" y="99"/>
                  <a:pt x="0" y="99"/>
                </a:cubicBezTo>
                <a:lnTo>
                  <a:pt x="86" y="99"/>
                </a:lnTo>
                <a:close/>
                <a:moveTo>
                  <a:pt x="89" y="102"/>
                </a:moveTo>
                <a:cubicBezTo>
                  <a:pt x="89" y="184"/>
                  <a:pt x="89" y="184"/>
                  <a:pt x="89" y="184"/>
                </a:cubicBezTo>
                <a:cubicBezTo>
                  <a:pt x="200" y="200"/>
                  <a:pt x="200" y="200"/>
                  <a:pt x="200" y="200"/>
                </a:cubicBezTo>
                <a:cubicBezTo>
                  <a:pt x="200" y="102"/>
                  <a:pt x="200" y="102"/>
                  <a:pt x="200" y="102"/>
                </a:cubicBezTo>
                <a:lnTo>
                  <a:pt x="89" y="102"/>
                </a:lnTo>
                <a:close/>
                <a:moveTo>
                  <a:pt x="86" y="102"/>
                </a:moveTo>
                <a:cubicBezTo>
                  <a:pt x="0" y="102"/>
                  <a:pt x="0" y="102"/>
                  <a:pt x="0" y="102"/>
                </a:cubicBezTo>
                <a:cubicBezTo>
                  <a:pt x="0" y="172"/>
                  <a:pt x="0" y="172"/>
                  <a:pt x="0" y="172"/>
                </a:cubicBezTo>
                <a:cubicBezTo>
                  <a:pt x="86" y="184"/>
                  <a:pt x="86" y="184"/>
                  <a:pt x="86" y="184"/>
                </a:cubicBezTo>
                <a:lnTo>
                  <a:pt x="86" y="102"/>
                </a:lnTo>
                <a:close/>
                <a:moveTo>
                  <a:pt x="999" y="37"/>
                </a:moveTo>
                <a:cubicBezTo>
                  <a:pt x="994" y="37"/>
                  <a:pt x="994" y="37"/>
                  <a:pt x="994" y="37"/>
                </a:cubicBezTo>
                <a:cubicBezTo>
                  <a:pt x="992" y="39"/>
                  <a:pt x="990" y="41"/>
                  <a:pt x="987" y="43"/>
                </a:cubicBezTo>
                <a:cubicBezTo>
                  <a:pt x="984" y="45"/>
                  <a:pt x="981" y="46"/>
                  <a:pt x="978" y="48"/>
                </a:cubicBezTo>
                <a:cubicBezTo>
                  <a:pt x="974" y="50"/>
                  <a:pt x="971" y="51"/>
                  <a:pt x="968" y="53"/>
                </a:cubicBezTo>
                <a:cubicBezTo>
                  <a:pt x="964" y="54"/>
                  <a:pt x="961" y="55"/>
                  <a:pt x="958" y="56"/>
                </a:cubicBezTo>
                <a:cubicBezTo>
                  <a:pt x="958" y="70"/>
                  <a:pt x="958" y="70"/>
                  <a:pt x="958" y="70"/>
                </a:cubicBezTo>
                <a:cubicBezTo>
                  <a:pt x="961" y="69"/>
                  <a:pt x="964" y="68"/>
                  <a:pt x="966" y="67"/>
                </a:cubicBezTo>
                <a:cubicBezTo>
                  <a:pt x="969" y="66"/>
                  <a:pt x="972" y="65"/>
                  <a:pt x="974" y="64"/>
                </a:cubicBezTo>
                <a:cubicBezTo>
                  <a:pt x="977" y="62"/>
                  <a:pt x="979" y="61"/>
                  <a:pt x="981" y="60"/>
                </a:cubicBezTo>
                <a:cubicBezTo>
                  <a:pt x="983" y="58"/>
                  <a:pt x="985" y="57"/>
                  <a:pt x="986" y="56"/>
                </a:cubicBezTo>
                <a:cubicBezTo>
                  <a:pt x="986" y="159"/>
                  <a:pt x="986" y="159"/>
                  <a:pt x="986" y="159"/>
                </a:cubicBezTo>
                <a:cubicBezTo>
                  <a:pt x="999" y="159"/>
                  <a:pt x="999" y="159"/>
                  <a:pt x="999" y="159"/>
                </a:cubicBezTo>
                <a:lnTo>
                  <a:pt x="999" y="37"/>
                </a:lnTo>
                <a:close/>
                <a:moveTo>
                  <a:pt x="1058" y="38"/>
                </a:moveTo>
                <a:cubicBezTo>
                  <a:pt x="1052" y="38"/>
                  <a:pt x="1046" y="39"/>
                  <a:pt x="1041" y="42"/>
                </a:cubicBezTo>
                <a:cubicBezTo>
                  <a:pt x="1036" y="45"/>
                  <a:pt x="1032" y="49"/>
                  <a:pt x="1028" y="54"/>
                </a:cubicBezTo>
                <a:cubicBezTo>
                  <a:pt x="1025" y="59"/>
                  <a:pt x="1022" y="66"/>
                  <a:pt x="1021" y="74"/>
                </a:cubicBezTo>
                <a:cubicBezTo>
                  <a:pt x="1019" y="82"/>
                  <a:pt x="1018" y="91"/>
                  <a:pt x="1018" y="102"/>
                </a:cubicBezTo>
                <a:cubicBezTo>
                  <a:pt x="1018" y="111"/>
                  <a:pt x="1019" y="120"/>
                  <a:pt x="1020" y="127"/>
                </a:cubicBezTo>
                <a:cubicBezTo>
                  <a:pt x="1022" y="134"/>
                  <a:pt x="1024" y="140"/>
                  <a:pt x="1028" y="146"/>
                </a:cubicBezTo>
                <a:cubicBezTo>
                  <a:pt x="1031" y="151"/>
                  <a:pt x="1035" y="154"/>
                  <a:pt x="1040" y="157"/>
                </a:cubicBezTo>
                <a:cubicBezTo>
                  <a:pt x="1044" y="160"/>
                  <a:pt x="1050" y="161"/>
                  <a:pt x="1056" y="161"/>
                </a:cubicBezTo>
                <a:cubicBezTo>
                  <a:pt x="1062" y="161"/>
                  <a:pt x="1068" y="160"/>
                  <a:pt x="1072" y="157"/>
                </a:cubicBezTo>
                <a:cubicBezTo>
                  <a:pt x="1077" y="154"/>
                  <a:pt x="1082" y="150"/>
                  <a:pt x="1085" y="145"/>
                </a:cubicBezTo>
                <a:cubicBezTo>
                  <a:pt x="1088" y="140"/>
                  <a:pt x="1091" y="133"/>
                  <a:pt x="1093" y="125"/>
                </a:cubicBezTo>
                <a:cubicBezTo>
                  <a:pt x="1095" y="118"/>
                  <a:pt x="1096" y="109"/>
                  <a:pt x="1096" y="99"/>
                </a:cubicBezTo>
                <a:cubicBezTo>
                  <a:pt x="1096" y="58"/>
                  <a:pt x="1083" y="38"/>
                  <a:pt x="1058" y="38"/>
                </a:cubicBezTo>
                <a:close/>
                <a:moveTo>
                  <a:pt x="1057" y="149"/>
                </a:moveTo>
                <a:cubicBezTo>
                  <a:pt x="1040" y="149"/>
                  <a:pt x="1032" y="133"/>
                  <a:pt x="1032" y="101"/>
                </a:cubicBezTo>
                <a:cubicBezTo>
                  <a:pt x="1032" y="67"/>
                  <a:pt x="1040" y="49"/>
                  <a:pt x="1057" y="49"/>
                </a:cubicBezTo>
                <a:cubicBezTo>
                  <a:pt x="1074" y="49"/>
                  <a:pt x="1082" y="66"/>
                  <a:pt x="1082" y="100"/>
                </a:cubicBezTo>
                <a:cubicBezTo>
                  <a:pt x="1082" y="133"/>
                  <a:pt x="1073" y="149"/>
                  <a:pt x="1057" y="149"/>
                </a:cubicBezTo>
                <a:close/>
                <a:moveTo>
                  <a:pt x="414" y="40"/>
                </a:moveTo>
                <a:cubicBezTo>
                  <a:pt x="380" y="159"/>
                  <a:pt x="380" y="159"/>
                  <a:pt x="380" y="159"/>
                </a:cubicBezTo>
                <a:cubicBezTo>
                  <a:pt x="364" y="159"/>
                  <a:pt x="364" y="159"/>
                  <a:pt x="364" y="159"/>
                </a:cubicBezTo>
                <a:cubicBezTo>
                  <a:pt x="339" y="72"/>
                  <a:pt x="339" y="72"/>
                  <a:pt x="339" y="72"/>
                </a:cubicBezTo>
                <a:cubicBezTo>
                  <a:pt x="338" y="69"/>
                  <a:pt x="338" y="65"/>
                  <a:pt x="337" y="60"/>
                </a:cubicBezTo>
                <a:cubicBezTo>
                  <a:pt x="337" y="60"/>
                  <a:pt x="337" y="60"/>
                  <a:pt x="337" y="60"/>
                </a:cubicBezTo>
                <a:cubicBezTo>
                  <a:pt x="337" y="64"/>
                  <a:pt x="336" y="68"/>
                  <a:pt x="335" y="72"/>
                </a:cubicBezTo>
                <a:cubicBezTo>
                  <a:pt x="310" y="159"/>
                  <a:pt x="310" y="159"/>
                  <a:pt x="310" y="159"/>
                </a:cubicBezTo>
                <a:cubicBezTo>
                  <a:pt x="294" y="159"/>
                  <a:pt x="294" y="159"/>
                  <a:pt x="294" y="159"/>
                </a:cubicBezTo>
                <a:cubicBezTo>
                  <a:pt x="259" y="40"/>
                  <a:pt x="259" y="40"/>
                  <a:pt x="259" y="40"/>
                </a:cubicBezTo>
                <a:cubicBezTo>
                  <a:pt x="274" y="40"/>
                  <a:pt x="274" y="40"/>
                  <a:pt x="274" y="40"/>
                </a:cubicBezTo>
                <a:cubicBezTo>
                  <a:pt x="300" y="131"/>
                  <a:pt x="300" y="131"/>
                  <a:pt x="300" y="131"/>
                </a:cubicBezTo>
                <a:cubicBezTo>
                  <a:pt x="301" y="135"/>
                  <a:pt x="302" y="139"/>
                  <a:pt x="302" y="143"/>
                </a:cubicBezTo>
                <a:cubicBezTo>
                  <a:pt x="302" y="143"/>
                  <a:pt x="302" y="143"/>
                  <a:pt x="302" y="143"/>
                </a:cubicBezTo>
                <a:cubicBezTo>
                  <a:pt x="302" y="140"/>
                  <a:pt x="303" y="136"/>
                  <a:pt x="305" y="131"/>
                </a:cubicBezTo>
                <a:cubicBezTo>
                  <a:pt x="331" y="40"/>
                  <a:pt x="331" y="40"/>
                  <a:pt x="331" y="40"/>
                </a:cubicBezTo>
                <a:cubicBezTo>
                  <a:pt x="345" y="40"/>
                  <a:pt x="345" y="40"/>
                  <a:pt x="345" y="40"/>
                </a:cubicBezTo>
                <a:cubicBezTo>
                  <a:pt x="370" y="132"/>
                  <a:pt x="370" y="132"/>
                  <a:pt x="370" y="132"/>
                </a:cubicBezTo>
                <a:cubicBezTo>
                  <a:pt x="371" y="136"/>
                  <a:pt x="371" y="139"/>
                  <a:pt x="372" y="143"/>
                </a:cubicBezTo>
                <a:cubicBezTo>
                  <a:pt x="372" y="143"/>
                  <a:pt x="372" y="143"/>
                  <a:pt x="372" y="143"/>
                </a:cubicBezTo>
                <a:cubicBezTo>
                  <a:pt x="372" y="140"/>
                  <a:pt x="373" y="136"/>
                  <a:pt x="374" y="132"/>
                </a:cubicBezTo>
                <a:cubicBezTo>
                  <a:pt x="399" y="40"/>
                  <a:pt x="399" y="40"/>
                  <a:pt x="399" y="40"/>
                </a:cubicBezTo>
                <a:lnTo>
                  <a:pt x="414" y="40"/>
                </a:lnTo>
                <a:close/>
                <a:moveTo>
                  <a:pt x="442" y="46"/>
                </a:moveTo>
                <a:cubicBezTo>
                  <a:pt x="442" y="49"/>
                  <a:pt x="441" y="51"/>
                  <a:pt x="439" y="52"/>
                </a:cubicBezTo>
                <a:cubicBezTo>
                  <a:pt x="437" y="54"/>
                  <a:pt x="435" y="55"/>
                  <a:pt x="433" y="55"/>
                </a:cubicBezTo>
                <a:cubicBezTo>
                  <a:pt x="430" y="55"/>
                  <a:pt x="428" y="54"/>
                  <a:pt x="426" y="52"/>
                </a:cubicBezTo>
                <a:cubicBezTo>
                  <a:pt x="425" y="51"/>
                  <a:pt x="424" y="49"/>
                  <a:pt x="424" y="46"/>
                </a:cubicBezTo>
                <a:cubicBezTo>
                  <a:pt x="424" y="44"/>
                  <a:pt x="425" y="42"/>
                  <a:pt x="426" y="40"/>
                </a:cubicBezTo>
                <a:cubicBezTo>
                  <a:pt x="428" y="38"/>
                  <a:pt x="430" y="37"/>
                  <a:pt x="433" y="37"/>
                </a:cubicBezTo>
                <a:cubicBezTo>
                  <a:pt x="435" y="37"/>
                  <a:pt x="437" y="38"/>
                  <a:pt x="439" y="40"/>
                </a:cubicBezTo>
                <a:cubicBezTo>
                  <a:pt x="441" y="41"/>
                  <a:pt x="442" y="44"/>
                  <a:pt x="442" y="46"/>
                </a:cubicBezTo>
                <a:close/>
                <a:moveTo>
                  <a:pt x="439" y="159"/>
                </a:moveTo>
                <a:cubicBezTo>
                  <a:pt x="426" y="159"/>
                  <a:pt x="426" y="159"/>
                  <a:pt x="426" y="159"/>
                </a:cubicBezTo>
                <a:cubicBezTo>
                  <a:pt x="426" y="74"/>
                  <a:pt x="426" y="74"/>
                  <a:pt x="426" y="74"/>
                </a:cubicBezTo>
                <a:cubicBezTo>
                  <a:pt x="439" y="74"/>
                  <a:pt x="439" y="74"/>
                  <a:pt x="439" y="74"/>
                </a:cubicBezTo>
                <a:lnTo>
                  <a:pt x="439" y="159"/>
                </a:lnTo>
                <a:close/>
                <a:moveTo>
                  <a:pt x="530" y="159"/>
                </a:moveTo>
                <a:cubicBezTo>
                  <a:pt x="517" y="159"/>
                  <a:pt x="517" y="159"/>
                  <a:pt x="517" y="159"/>
                </a:cubicBezTo>
                <a:cubicBezTo>
                  <a:pt x="517" y="111"/>
                  <a:pt x="517" y="111"/>
                  <a:pt x="517" y="111"/>
                </a:cubicBezTo>
                <a:cubicBezTo>
                  <a:pt x="517" y="93"/>
                  <a:pt x="510" y="84"/>
                  <a:pt x="497" y="84"/>
                </a:cubicBezTo>
                <a:cubicBezTo>
                  <a:pt x="490" y="84"/>
                  <a:pt x="485" y="86"/>
                  <a:pt x="480" y="91"/>
                </a:cubicBezTo>
                <a:cubicBezTo>
                  <a:pt x="476" y="96"/>
                  <a:pt x="473" y="103"/>
                  <a:pt x="473" y="111"/>
                </a:cubicBezTo>
                <a:cubicBezTo>
                  <a:pt x="473" y="159"/>
                  <a:pt x="473" y="159"/>
                  <a:pt x="473" y="159"/>
                </a:cubicBezTo>
                <a:cubicBezTo>
                  <a:pt x="460" y="159"/>
                  <a:pt x="460" y="159"/>
                  <a:pt x="460" y="159"/>
                </a:cubicBezTo>
                <a:cubicBezTo>
                  <a:pt x="460" y="74"/>
                  <a:pt x="460" y="74"/>
                  <a:pt x="460" y="74"/>
                </a:cubicBezTo>
                <a:cubicBezTo>
                  <a:pt x="473" y="74"/>
                  <a:pt x="473" y="74"/>
                  <a:pt x="473" y="74"/>
                </a:cubicBezTo>
                <a:cubicBezTo>
                  <a:pt x="473" y="88"/>
                  <a:pt x="473" y="88"/>
                  <a:pt x="473" y="88"/>
                </a:cubicBezTo>
                <a:cubicBezTo>
                  <a:pt x="474" y="88"/>
                  <a:pt x="474" y="88"/>
                  <a:pt x="474" y="88"/>
                </a:cubicBezTo>
                <a:cubicBezTo>
                  <a:pt x="480" y="77"/>
                  <a:pt x="489" y="72"/>
                  <a:pt x="502" y="72"/>
                </a:cubicBezTo>
                <a:cubicBezTo>
                  <a:pt x="511" y="72"/>
                  <a:pt x="518" y="75"/>
                  <a:pt x="523" y="81"/>
                </a:cubicBezTo>
                <a:cubicBezTo>
                  <a:pt x="528" y="87"/>
                  <a:pt x="530" y="96"/>
                  <a:pt x="530" y="107"/>
                </a:cubicBezTo>
                <a:lnTo>
                  <a:pt x="530" y="159"/>
                </a:lnTo>
                <a:close/>
                <a:moveTo>
                  <a:pt x="624" y="159"/>
                </a:moveTo>
                <a:cubicBezTo>
                  <a:pt x="611" y="159"/>
                  <a:pt x="611" y="159"/>
                  <a:pt x="611" y="159"/>
                </a:cubicBezTo>
                <a:cubicBezTo>
                  <a:pt x="611" y="145"/>
                  <a:pt x="611" y="145"/>
                  <a:pt x="611" y="145"/>
                </a:cubicBezTo>
                <a:cubicBezTo>
                  <a:pt x="610" y="145"/>
                  <a:pt x="610" y="145"/>
                  <a:pt x="610" y="145"/>
                </a:cubicBezTo>
                <a:cubicBezTo>
                  <a:pt x="604" y="156"/>
                  <a:pt x="594" y="161"/>
                  <a:pt x="581" y="161"/>
                </a:cubicBezTo>
                <a:cubicBezTo>
                  <a:pt x="570" y="161"/>
                  <a:pt x="562" y="157"/>
                  <a:pt x="556" y="150"/>
                </a:cubicBezTo>
                <a:cubicBezTo>
                  <a:pt x="549" y="142"/>
                  <a:pt x="546" y="132"/>
                  <a:pt x="546" y="119"/>
                </a:cubicBezTo>
                <a:cubicBezTo>
                  <a:pt x="546" y="105"/>
                  <a:pt x="549" y="93"/>
                  <a:pt x="557" y="85"/>
                </a:cubicBezTo>
                <a:cubicBezTo>
                  <a:pt x="564" y="76"/>
                  <a:pt x="573" y="72"/>
                  <a:pt x="585" y="72"/>
                </a:cubicBezTo>
                <a:cubicBezTo>
                  <a:pt x="597" y="72"/>
                  <a:pt x="605" y="77"/>
                  <a:pt x="610" y="86"/>
                </a:cubicBezTo>
                <a:cubicBezTo>
                  <a:pt x="611" y="86"/>
                  <a:pt x="611" y="86"/>
                  <a:pt x="611" y="86"/>
                </a:cubicBezTo>
                <a:cubicBezTo>
                  <a:pt x="611" y="33"/>
                  <a:pt x="611" y="33"/>
                  <a:pt x="611" y="33"/>
                </a:cubicBezTo>
                <a:cubicBezTo>
                  <a:pt x="624" y="33"/>
                  <a:pt x="624" y="33"/>
                  <a:pt x="624" y="33"/>
                </a:cubicBezTo>
                <a:lnTo>
                  <a:pt x="624" y="159"/>
                </a:lnTo>
                <a:close/>
                <a:moveTo>
                  <a:pt x="611" y="121"/>
                </a:moveTo>
                <a:cubicBezTo>
                  <a:pt x="611" y="108"/>
                  <a:pt x="611" y="108"/>
                  <a:pt x="611" y="108"/>
                </a:cubicBezTo>
                <a:cubicBezTo>
                  <a:pt x="611" y="101"/>
                  <a:pt x="608" y="95"/>
                  <a:pt x="604" y="91"/>
                </a:cubicBezTo>
                <a:cubicBezTo>
                  <a:pt x="599" y="86"/>
                  <a:pt x="593" y="84"/>
                  <a:pt x="587" y="84"/>
                </a:cubicBezTo>
                <a:cubicBezTo>
                  <a:pt x="578" y="84"/>
                  <a:pt x="572" y="87"/>
                  <a:pt x="567" y="93"/>
                </a:cubicBezTo>
                <a:cubicBezTo>
                  <a:pt x="562" y="99"/>
                  <a:pt x="560" y="107"/>
                  <a:pt x="560" y="118"/>
                </a:cubicBezTo>
                <a:cubicBezTo>
                  <a:pt x="560" y="128"/>
                  <a:pt x="562" y="135"/>
                  <a:pt x="567" y="141"/>
                </a:cubicBezTo>
                <a:cubicBezTo>
                  <a:pt x="571" y="147"/>
                  <a:pt x="577" y="150"/>
                  <a:pt x="585" y="150"/>
                </a:cubicBezTo>
                <a:cubicBezTo>
                  <a:pt x="593" y="150"/>
                  <a:pt x="599" y="147"/>
                  <a:pt x="604" y="142"/>
                </a:cubicBezTo>
                <a:cubicBezTo>
                  <a:pt x="608" y="136"/>
                  <a:pt x="611" y="129"/>
                  <a:pt x="611" y="121"/>
                </a:cubicBezTo>
                <a:close/>
                <a:moveTo>
                  <a:pt x="726" y="116"/>
                </a:moveTo>
                <a:cubicBezTo>
                  <a:pt x="726" y="130"/>
                  <a:pt x="722" y="141"/>
                  <a:pt x="714" y="149"/>
                </a:cubicBezTo>
                <a:cubicBezTo>
                  <a:pt x="707" y="157"/>
                  <a:pt x="696" y="161"/>
                  <a:pt x="683" y="161"/>
                </a:cubicBezTo>
                <a:cubicBezTo>
                  <a:pt x="671" y="161"/>
                  <a:pt x="661" y="157"/>
                  <a:pt x="653" y="149"/>
                </a:cubicBezTo>
                <a:cubicBezTo>
                  <a:pt x="646" y="141"/>
                  <a:pt x="642" y="131"/>
                  <a:pt x="642" y="118"/>
                </a:cubicBezTo>
                <a:cubicBezTo>
                  <a:pt x="642" y="104"/>
                  <a:pt x="646" y="92"/>
                  <a:pt x="653" y="84"/>
                </a:cubicBezTo>
                <a:cubicBezTo>
                  <a:pt x="661" y="76"/>
                  <a:pt x="672" y="72"/>
                  <a:pt x="685" y="72"/>
                </a:cubicBezTo>
                <a:cubicBezTo>
                  <a:pt x="698" y="72"/>
                  <a:pt x="708" y="76"/>
                  <a:pt x="715" y="84"/>
                </a:cubicBezTo>
                <a:cubicBezTo>
                  <a:pt x="722" y="92"/>
                  <a:pt x="726" y="103"/>
                  <a:pt x="726" y="116"/>
                </a:cubicBezTo>
                <a:close/>
                <a:moveTo>
                  <a:pt x="712" y="117"/>
                </a:moveTo>
                <a:cubicBezTo>
                  <a:pt x="712" y="106"/>
                  <a:pt x="709" y="98"/>
                  <a:pt x="705" y="92"/>
                </a:cubicBezTo>
                <a:cubicBezTo>
                  <a:pt x="700" y="87"/>
                  <a:pt x="693" y="84"/>
                  <a:pt x="684" y="84"/>
                </a:cubicBezTo>
                <a:cubicBezTo>
                  <a:pt x="676" y="84"/>
                  <a:pt x="669" y="87"/>
                  <a:pt x="664" y="92"/>
                </a:cubicBezTo>
                <a:cubicBezTo>
                  <a:pt x="658" y="98"/>
                  <a:pt x="656" y="107"/>
                  <a:pt x="656" y="117"/>
                </a:cubicBezTo>
                <a:cubicBezTo>
                  <a:pt x="656" y="127"/>
                  <a:pt x="658" y="135"/>
                  <a:pt x="664" y="141"/>
                </a:cubicBezTo>
                <a:cubicBezTo>
                  <a:pt x="669" y="147"/>
                  <a:pt x="676" y="150"/>
                  <a:pt x="684" y="150"/>
                </a:cubicBezTo>
                <a:cubicBezTo>
                  <a:pt x="693" y="150"/>
                  <a:pt x="700" y="147"/>
                  <a:pt x="705" y="141"/>
                </a:cubicBezTo>
                <a:cubicBezTo>
                  <a:pt x="709" y="136"/>
                  <a:pt x="712" y="127"/>
                  <a:pt x="712" y="117"/>
                </a:cubicBezTo>
                <a:close/>
                <a:moveTo>
                  <a:pt x="850" y="74"/>
                </a:moveTo>
                <a:cubicBezTo>
                  <a:pt x="825" y="159"/>
                  <a:pt x="825" y="159"/>
                  <a:pt x="825" y="159"/>
                </a:cubicBezTo>
                <a:cubicBezTo>
                  <a:pt x="811" y="159"/>
                  <a:pt x="811" y="159"/>
                  <a:pt x="811" y="159"/>
                </a:cubicBezTo>
                <a:cubicBezTo>
                  <a:pt x="793" y="98"/>
                  <a:pt x="793" y="98"/>
                  <a:pt x="793" y="98"/>
                </a:cubicBezTo>
                <a:cubicBezTo>
                  <a:pt x="793" y="96"/>
                  <a:pt x="792" y="94"/>
                  <a:pt x="792" y="90"/>
                </a:cubicBezTo>
                <a:cubicBezTo>
                  <a:pt x="792" y="90"/>
                  <a:pt x="792" y="90"/>
                  <a:pt x="792" y="90"/>
                </a:cubicBezTo>
                <a:cubicBezTo>
                  <a:pt x="791" y="92"/>
                  <a:pt x="791" y="95"/>
                  <a:pt x="790" y="98"/>
                </a:cubicBezTo>
                <a:cubicBezTo>
                  <a:pt x="771" y="159"/>
                  <a:pt x="771" y="159"/>
                  <a:pt x="771" y="159"/>
                </a:cubicBezTo>
                <a:cubicBezTo>
                  <a:pt x="757" y="159"/>
                  <a:pt x="757" y="159"/>
                  <a:pt x="757" y="159"/>
                </a:cubicBezTo>
                <a:cubicBezTo>
                  <a:pt x="731" y="74"/>
                  <a:pt x="731" y="74"/>
                  <a:pt x="731" y="74"/>
                </a:cubicBezTo>
                <a:cubicBezTo>
                  <a:pt x="746" y="74"/>
                  <a:pt x="746" y="74"/>
                  <a:pt x="746" y="74"/>
                </a:cubicBezTo>
                <a:cubicBezTo>
                  <a:pt x="763" y="138"/>
                  <a:pt x="763" y="138"/>
                  <a:pt x="763" y="138"/>
                </a:cubicBezTo>
                <a:cubicBezTo>
                  <a:pt x="764" y="140"/>
                  <a:pt x="764" y="143"/>
                  <a:pt x="764" y="146"/>
                </a:cubicBezTo>
                <a:cubicBezTo>
                  <a:pt x="765" y="146"/>
                  <a:pt x="765" y="146"/>
                  <a:pt x="765" y="146"/>
                </a:cubicBezTo>
                <a:cubicBezTo>
                  <a:pt x="765" y="144"/>
                  <a:pt x="766" y="141"/>
                  <a:pt x="767" y="138"/>
                </a:cubicBezTo>
                <a:cubicBezTo>
                  <a:pt x="786" y="74"/>
                  <a:pt x="786" y="74"/>
                  <a:pt x="786" y="74"/>
                </a:cubicBezTo>
                <a:cubicBezTo>
                  <a:pt x="799" y="74"/>
                  <a:pt x="799" y="74"/>
                  <a:pt x="799" y="74"/>
                </a:cubicBezTo>
                <a:cubicBezTo>
                  <a:pt x="816" y="138"/>
                  <a:pt x="816" y="138"/>
                  <a:pt x="816" y="138"/>
                </a:cubicBezTo>
                <a:cubicBezTo>
                  <a:pt x="817" y="140"/>
                  <a:pt x="817" y="143"/>
                  <a:pt x="818" y="146"/>
                </a:cubicBezTo>
                <a:cubicBezTo>
                  <a:pt x="818" y="146"/>
                  <a:pt x="818" y="146"/>
                  <a:pt x="818" y="146"/>
                </a:cubicBezTo>
                <a:cubicBezTo>
                  <a:pt x="818" y="143"/>
                  <a:pt x="819" y="141"/>
                  <a:pt x="820" y="138"/>
                </a:cubicBezTo>
                <a:cubicBezTo>
                  <a:pt x="837" y="74"/>
                  <a:pt x="837" y="74"/>
                  <a:pt x="837" y="74"/>
                </a:cubicBezTo>
                <a:lnTo>
                  <a:pt x="850" y="74"/>
                </a:lnTo>
                <a:close/>
                <a:moveTo>
                  <a:pt x="909" y="136"/>
                </a:moveTo>
                <a:cubicBezTo>
                  <a:pt x="909" y="144"/>
                  <a:pt x="906" y="150"/>
                  <a:pt x="901" y="154"/>
                </a:cubicBezTo>
                <a:cubicBezTo>
                  <a:pt x="895" y="159"/>
                  <a:pt x="887" y="161"/>
                  <a:pt x="878" y="161"/>
                </a:cubicBezTo>
                <a:cubicBezTo>
                  <a:pt x="870" y="161"/>
                  <a:pt x="863" y="160"/>
                  <a:pt x="857" y="156"/>
                </a:cubicBezTo>
                <a:cubicBezTo>
                  <a:pt x="857" y="142"/>
                  <a:pt x="857" y="142"/>
                  <a:pt x="857" y="142"/>
                </a:cubicBezTo>
                <a:cubicBezTo>
                  <a:pt x="864" y="147"/>
                  <a:pt x="871" y="150"/>
                  <a:pt x="879" y="150"/>
                </a:cubicBezTo>
                <a:cubicBezTo>
                  <a:pt x="890" y="150"/>
                  <a:pt x="895" y="146"/>
                  <a:pt x="895" y="138"/>
                </a:cubicBezTo>
                <a:cubicBezTo>
                  <a:pt x="895" y="135"/>
                  <a:pt x="894" y="132"/>
                  <a:pt x="892" y="130"/>
                </a:cubicBezTo>
                <a:cubicBezTo>
                  <a:pt x="890" y="128"/>
                  <a:pt x="885" y="125"/>
                  <a:pt x="878" y="122"/>
                </a:cubicBezTo>
                <a:cubicBezTo>
                  <a:pt x="870" y="119"/>
                  <a:pt x="865" y="115"/>
                  <a:pt x="862" y="111"/>
                </a:cubicBezTo>
                <a:cubicBezTo>
                  <a:pt x="859" y="108"/>
                  <a:pt x="857" y="103"/>
                  <a:pt x="857" y="97"/>
                </a:cubicBezTo>
                <a:cubicBezTo>
                  <a:pt x="857" y="90"/>
                  <a:pt x="860" y="84"/>
                  <a:pt x="866" y="79"/>
                </a:cubicBezTo>
                <a:cubicBezTo>
                  <a:pt x="871" y="74"/>
                  <a:pt x="878" y="72"/>
                  <a:pt x="887" y="72"/>
                </a:cubicBezTo>
                <a:cubicBezTo>
                  <a:pt x="894" y="72"/>
                  <a:pt x="900" y="73"/>
                  <a:pt x="905" y="76"/>
                </a:cubicBezTo>
                <a:cubicBezTo>
                  <a:pt x="905" y="90"/>
                  <a:pt x="905" y="90"/>
                  <a:pt x="905" y="90"/>
                </a:cubicBezTo>
                <a:cubicBezTo>
                  <a:pt x="900" y="86"/>
                  <a:pt x="893" y="84"/>
                  <a:pt x="886" y="84"/>
                </a:cubicBezTo>
                <a:cubicBezTo>
                  <a:pt x="881" y="84"/>
                  <a:pt x="878" y="85"/>
                  <a:pt x="875" y="87"/>
                </a:cubicBezTo>
                <a:cubicBezTo>
                  <a:pt x="872" y="89"/>
                  <a:pt x="871" y="92"/>
                  <a:pt x="871" y="96"/>
                </a:cubicBezTo>
                <a:cubicBezTo>
                  <a:pt x="871" y="99"/>
                  <a:pt x="872" y="102"/>
                  <a:pt x="874" y="104"/>
                </a:cubicBezTo>
                <a:cubicBezTo>
                  <a:pt x="876" y="106"/>
                  <a:pt x="881" y="109"/>
                  <a:pt x="887" y="111"/>
                </a:cubicBezTo>
                <a:cubicBezTo>
                  <a:pt x="895" y="115"/>
                  <a:pt x="901" y="118"/>
                  <a:pt x="904" y="122"/>
                </a:cubicBezTo>
                <a:cubicBezTo>
                  <a:pt x="908" y="126"/>
                  <a:pt x="909" y="131"/>
                  <a:pt x="909" y="1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Tree>
    <p:extLst>
      <p:ext uri="{BB962C8B-B14F-4D97-AF65-F5344CB8AC3E}">
        <p14:creationId xmlns:p14="http://schemas.microsoft.com/office/powerpoint/2010/main" val="1500388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1000" fill="hold"/>
                                        <p:tgtEl>
                                          <p:spTgt spid="47"/>
                                        </p:tgtEl>
                                      </p:cBhvr>
                                      <p:by x="63000" y="63000"/>
                                    </p:animScale>
                                  </p:childTnLst>
                                </p:cTn>
                              </p:par>
                              <p:par>
                                <p:cTn id="7" presetID="64" presetClass="path" presetSubtype="0" accel="50000" decel="50000" fill="hold" grpId="1" nodeType="withEffect">
                                  <p:stCondLst>
                                    <p:cond delay="0"/>
                                  </p:stCondLst>
                                  <p:childTnLst>
                                    <p:animMotion origin="layout" path="M 2.94613E-6 3.6768E-7 L 0.00025 -0.34975 " pathEditMode="relative" rAng="0" ptsTypes="AA">
                                      <p:cBhvr>
                                        <p:cTn id="8" dur="1000" fill="hold"/>
                                        <p:tgtEl>
                                          <p:spTgt spid="47"/>
                                        </p:tgtEl>
                                        <p:attrNameLst>
                                          <p:attrName>ppt_x</p:attrName>
                                          <p:attrName>ppt_y</p:attrName>
                                        </p:attrNameLst>
                                      </p:cBhvr>
                                      <p:rCtr x="13" y="-17499"/>
                                    </p:animMotion>
                                  </p:childTnLst>
                                </p:cTn>
                              </p:par>
                              <p:par>
                                <p:cTn id="9" presetID="10" presetClass="entr" presetSubtype="0" fill="hold"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2c606567-19b6-485b-a86d-96d2c1b5fd7e">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761682" y="990946"/>
            <a:ext cx="8668637" cy="4876108"/>
          </a:xfrm>
          <a:prstGeom prst="rect">
            <a:avLst/>
          </a:prstGeom>
        </p:spPr>
      </p:pic>
      <p:sp>
        <p:nvSpPr>
          <p:cNvPr id="3" name="Title 1"/>
          <p:cNvSpPr txBox="1">
            <a:spLocks/>
          </p:cNvSpPr>
          <p:nvPr/>
        </p:nvSpPr>
        <p:spPr>
          <a:xfrm>
            <a:off x="270066" y="1174344"/>
            <a:ext cx="11654187" cy="899537"/>
          </a:xfrm>
          <a:prstGeom prst="rect">
            <a:avLst/>
          </a:prstGeom>
        </p:spPr>
        <p:txBody>
          <a:bodyPr vert="horz" wrap="square" lIns="195044" tIns="121903" rIns="195044" bIns="121903" rtlCol="0" anchor="t">
            <a:noAutofit/>
          </a:bodyPr>
          <a:lstStyle>
            <a:lvl1pPr algn="l" defTabSz="68580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72290"/>
            <a:endParaRPr lang="en-US" sz="4704" spc="-74">
              <a:solidFill>
                <a:srgbClr val="FFFFFF">
                  <a:lumMod val="75000"/>
                </a:srgbClr>
              </a:solidFill>
            </a:endParaRPr>
          </a:p>
        </p:txBody>
      </p:sp>
    </p:spTree>
    <p:extLst>
      <p:ext uri="{BB962C8B-B14F-4D97-AF65-F5344CB8AC3E}">
        <p14:creationId xmlns:p14="http://schemas.microsoft.com/office/powerpoint/2010/main" val="2647912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mediacall" presetSubtype="0" fill="hold" nodeType="withEffect">
                                  <p:stCondLst>
                                    <p:cond delay="0"/>
                                  </p:stCondLst>
                                  <p:childTnLst>
                                    <p:cmd type="call" cmd="togglePause">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You’ve come to the right room!</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41617681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Microsoft Student Accelerator!</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91270088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28342" y="1173947"/>
            <a:ext cx="7330533" cy="5226574"/>
          </a:xfrm>
        </p:spPr>
        <p:txBody>
          <a:bodyPr/>
          <a:lstStyle/>
          <a:p>
            <a:pPr algn="just"/>
            <a:r>
              <a:rPr lang="en-NZ" sz="6400" dirty="0" smtClean="0"/>
              <a:t>Username: conf9216</a:t>
            </a:r>
            <a:r>
              <a:rPr lang="en-NZ" sz="6400" dirty="0"/>
              <a:t/>
            </a:r>
            <a:br>
              <a:rPr lang="en-NZ" sz="6400" dirty="0"/>
            </a:br>
            <a:r>
              <a:rPr lang="en-NZ" sz="6400" dirty="0" smtClean="0"/>
              <a:t>Password: 2arotard</a:t>
            </a:r>
            <a:br>
              <a:rPr lang="en-NZ" sz="6400" dirty="0" smtClean="0"/>
            </a:br>
            <a:r>
              <a:rPr lang="en-NZ" sz="6400" dirty="0"/>
              <a:t/>
            </a:r>
            <a:br>
              <a:rPr lang="en-NZ" sz="6400" dirty="0"/>
            </a:br>
            <a:r>
              <a:rPr lang="en-NZ" sz="6400" dirty="0" smtClean="0"/>
              <a:t>Username: conf9217</a:t>
            </a:r>
            <a:br>
              <a:rPr lang="en-NZ" sz="6400" dirty="0" smtClean="0"/>
            </a:br>
            <a:r>
              <a:rPr lang="en-NZ" sz="6400" dirty="0"/>
              <a:t> </a:t>
            </a:r>
            <a:r>
              <a:rPr lang="en-NZ" sz="6400" dirty="0" smtClean="0"/>
              <a:t>Password: ndinka5a</a:t>
            </a:r>
            <a:r>
              <a:rPr lang="en-NZ" sz="6400" dirty="0"/>
              <a:t/>
            </a:r>
            <a:br>
              <a:rPr lang="en-NZ" sz="6400" dirty="0"/>
            </a:br>
            <a:endParaRPr lang="en-NZ" sz="6400" dirty="0"/>
          </a:p>
        </p:txBody>
      </p:sp>
      <p:sp>
        <p:nvSpPr>
          <p:cNvPr id="3" name="TextBox 2"/>
          <p:cNvSpPr txBox="1"/>
          <p:nvPr/>
        </p:nvSpPr>
        <p:spPr>
          <a:xfrm>
            <a:off x="312234"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dirty="0" err="1" smtClean="0">
                <a:ln w="3175">
                  <a:noFill/>
                </a:ln>
                <a:gradFill>
                  <a:gsLst>
                    <a:gs pos="1250">
                      <a:srgbClr val="FFFFFF"/>
                    </a:gs>
                    <a:gs pos="100000">
                      <a:srgbClr val="FFFFFF"/>
                    </a:gs>
                  </a:gsLst>
                  <a:lin ang="5400000" scaled="0"/>
                </a:gradFill>
                <a:latin typeface="Segoe UI Light"/>
                <a:cs typeface="Segoe UI" pitchFamily="34" charset="0"/>
              </a:rPr>
              <a:t>WiFi</a:t>
            </a:r>
            <a:r>
              <a:rPr lang="en-NZ" sz="5882" spc="-100" dirty="0" smtClean="0">
                <a:ln w="3175">
                  <a:noFill/>
                </a:ln>
                <a:gradFill>
                  <a:gsLst>
                    <a:gs pos="1250">
                      <a:srgbClr val="FFFFFF"/>
                    </a:gs>
                    <a:gs pos="100000">
                      <a:srgbClr val="FFFFFF"/>
                    </a:gs>
                  </a:gsLst>
                  <a:lin ang="5400000" scaled="0"/>
                </a:gradFill>
                <a:latin typeface="Segoe UI Light"/>
                <a:cs typeface="Segoe UI" pitchFamily="34" charset="0"/>
              </a:rPr>
              <a:t>:</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0628782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3317" y="1873405"/>
            <a:ext cx="11154010" cy="2342957"/>
          </a:xfrm>
        </p:spPr>
        <p:txBody>
          <a:bodyPr/>
          <a:lstStyle/>
          <a:p>
            <a:pPr algn="ctr"/>
            <a:r>
              <a:rPr lang="en-NZ" sz="6600" dirty="0" smtClean="0"/>
              <a:t>msa.ms/drive</a:t>
            </a:r>
            <a:br>
              <a:rPr lang="en-NZ" sz="6600" dirty="0" smtClean="0"/>
            </a:br>
            <a:r>
              <a:rPr lang="en-NZ" sz="6600" dirty="0" smtClean="0"/>
              <a:t/>
            </a:r>
            <a:br>
              <a:rPr lang="en-NZ" sz="6600" dirty="0" smtClean="0"/>
            </a:br>
            <a:r>
              <a:rPr lang="en-NZ" sz="6600" dirty="0" smtClean="0"/>
              <a:t>msa.ms/</a:t>
            </a:r>
            <a:r>
              <a:rPr lang="en-NZ" sz="6600" dirty="0" err="1" smtClean="0"/>
              <a:t>github</a:t>
            </a:r>
            <a:endParaRPr lang="en-NZ" sz="66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
        <p:nvSpPr>
          <p:cNvPr id="3" name="TextBox 2"/>
          <p:cNvSpPr txBox="1"/>
          <p:nvPr/>
        </p:nvSpPr>
        <p:spPr>
          <a:xfrm>
            <a:off x="390292"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a:ln w="3175">
                  <a:noFill/>
                </a:ln>
                <a:gradFill>
                  <a:gsLst>
                    <a:gs pos="1250">
                      <a:srgbClr val="FFFFFF"/>
                    </a:gs>
                    <a:gs pos="100000">
                      <a:srgbClr val="FFFFFF"/>
                    </a:gs>
                  </a:gsLst>
                  <a:lin ang="5400000" scaled="0"/>
                </a:gradFill>
                <a:latin typeface="Segoe UI Light"/>
                <a:cs typeface="Segoe UI" pitchFamily="34" charset="0"/>
              </a:rPr>
              <a:t>Resources:</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67529105"/>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925562"/>
          </a:xfrm>
        </p:spPr>
        <p:txBody>
          <a:bodyPr/>
          <a:lstStyle/>
          <a:p>
            <a:r>
              <a:rPr lang="en-NZ" dirty="0" smtClean="0"/>
              <a:t> Training from MSPs (students) for students</a:t>
            </a:r>
          </a:p>
          <a:p>
            <a:r>
              <a:rPr lang="en-NZ" dirty="0"/>
              <a:t> </a:t>
            </a:r>
            <a:r>
              <a:rPr lang="en-NZ" dirty="0" smtClean="0"/>
              <a:t>Supported by Microsoft </a:t>
            </a:r>
          </a:p>
          <a:p>
            <a:r>
              <a:rPr lang="en-NZ" dirty="0"/>
              <a:t> </a:t>
            </a:r>
            <a:r>
              <a:rPr lang="en-NZ" dirty="0" smtClean="0"/>
              <a:t>Training + Work Placement</a:t>
            </a:r>
          </a:p>
          <a:p>
            <a:pPr marL="0" indent="0">
              <a:buNone/>
            </a:pPr>
            <a:endParaRPr lang="en-NZ" dirty="0" smtClean="0"/>
          </a:p>
          <a:p>
            <a:r>
              <a:rPr lang="en-NZ" dirty="0"/>
              <a:t> </a:t>
            </a:r>
            <a:r>
              <a:rPr lang="en-NZ" dirty="0" smtClean="0"/>
              <a:t>Meet people, learn new things and have fun along the way!</a:t>
            </a:r>
            <a:endParaRPr lang="en-NZ" dirty="0"/>
          </a:p>
        </p:txBody>
      </p:sp>
      <p:sp>
        <p:nvSpPr>
          <p:cNvPr id="3" name="Title 2"/>
          <p:cNvSpPr>
            <a:spLocks noGrp="1"/>
          </p:cNvSpPr>
          <p:nvPr>
            <p:ph type="title"/>
          </p:nvPr>
        </p:nvSpPr>
        <p:spPr/>
        <p:txBody>
          <a:bodyPr/>
          <a:lstStyle/>
          <a:p>
            <a:r>
              <a:rPr lang="en-NZ" dirty="0" smtClean="0"/>
              <a:t>Microsoft Student Accelerator!</a:t>
            </a:r>
            <a:endParaRPr lang="en-NZ"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0623541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3" y="2084379"/>
            <a:ext cx="8964185" cy="2343572"/>
          </a:xfrm>
        </p:spPr>
        <p:txBody>
          <a:bodyPr/>
          <a:lstStyle/>
          <a:p>
            <a:r>
              <a:rPr lang="en-US" sz="7842" dirty="0" smtClean="0"/>
              <a:t>Microsoft!</a:t>
            </a:r>
            <a:endParaRPr lang="en-US" sz="7842" dirty="0"/>
          </a:p>
        </p:txBody>
      </p:sp>
    </p:spTree>
    <p:extLst>
      <p:ext uri="{BB962C8B-B14F-4D97-AF65-F5344CB8AC3E}">
        <p14:creationId xmlns:p14="http://schemas.microsoft.com/office/powerpoint/2010/main" val="212332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smtClean="0"/>
              <a:t>Need Help?</a:t>
            </a:r>
            <a:endParaRPr lang="en-NZ" dirty="0"/>
          </a:p>
        </p:txBody>
      </p:sp>
      <p:pic>
        <p:nvPicPr>
          <p:cNvPr id="4" name="Picture 3"/>
          <p:cNvPicPr>
            <a:picLocks noChangeAspect="1"/>
          </p:cNvPicPr>
          <p:nvPr/>
        </p:nvPicPr>
        <p:blipFill>
          <a:blip r:embed="rId2"/>
          <a:stretch>
            <a:fillRect/>
          </a:stretch>
        </p:blipFill>
        <p:spPr>
          <a:xfrm>
            <a:off x="8329170" y="-2119943"/>
            <a:ext cx="1712171" cy="7248934"/>
          </a:xfrm>
          <a:prstGeom prst="rect">
            <a:avLst/>
          </a:prstGeom>
        </p:spPr>
      </p:pic>
      <p:sp>
        <p:nvSpPr>
          <p:cNvPr id="5" name="TextBox 4"/>
          <p:cNvSpPr txBox="1"/>
          <p:nvPr/>
        </p:nvSpPr>
        <p:spPr>
          <a:xfrm>
            <a:off x="355462" y="2158335"/>
            <a:ext cx="9702937" cy="2659537"/>
          </a:xfrm>
          <a:prstGeom prst="rect">
            <a:avLst/>
          </a:prstGeom>
          <a:noFill/>
        </p:spPr>
        <p:txBody>
          <a:bodyPr wrap="square" lIns="179285" tIns="143428" rIns="179285" bIns="143428" rtlCol="0">
            <a:spAutoFit/>
          </a:bodyPr>
          <a:lstStyle/>
          <a:p>
            <a:pPr marL="457200" marR="0" lvl="0" indent="-457200" defTabSz="914367"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MSA Facebook Group! – </a:t>
            </a:r>
            <a:r>
              <a:rPr lang="en-NZ" sz="3200" kern="0" dirty="0">
                <a:gradFill>
                  <a:gsLst>
                    <a:gs pos="2917">
                      <a:srgbClr val="FFFFFF"/>
                    </a:gs>
                    <a:gs pos="30000">
                      <a:srgbClr val="FFFFFF"/>
                    </a:gs>
                  </a:gsLst>
                  <a:lin ang="5400000" scaled="0"/>
                </a:gradFill>
              </a:rPr>
              <a:t/>
            </a:r>
            <a:br>
              <a:rPr lang="en-NZ" sz="3200" kern="0" dirty="0">
                <a:gradFill>
                  <a:gsLst>
                    <a:gs pos="2917">
                      <a:srgbClr val="FFFFFF"/>
                    </a:gs>
                    <a:gs pos="30000">
                      <a:srgbClr val="FFFFFF"/>
                    </a:gs>
                  </a:gsLst>
                  <a:lin ang="5400000" scaled="0"/>
                </a:gradFill>
              </a:rPr>
            </a:br>
            <a:r>
              <a:rPr lang="en-NZ" sz="3200" kern="0" dirty="0" smtClean="0">
                <a:gradFill>
                  <a:gsLst>
                    <a:gs pos="2917">
                      <a:srgbClr val="FFFFFF"/>
                    </a:gs>
                    <a:gs pos="30000">
                      <a:srgbClr val="FFFFFF"/>
                    </a:gs>
                  </a:gsLst>
                  <a:lin ang="5400000" scaled="0"/>
                </a:gradFill>
              </a:rPr>
              <a:t>	</a:t>
            </a: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rPr>
              <a:t>Drop </a:t>
            </a: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Deep </a:t>
            </a:r>
            <a:r>
              <a:rPr kumimoji="0" lang="en-NZ" sz="3200" b="0" i="0" u="none" strike="noStrike" kern="0" cap="none" spc="0" normalizeH="0" baseline="0" noProof="0" dirty="0" err="1">
                <a:ln>
                  <a:noFill/>
                </a:ln>
                <a:gradFill>
                  <a:gsLst>
                    <a:gs pos="2917">
                      <a:srgbClr val="FFFFFF"/>
                    </a:gs>
                    <a:gs pos="30000">
                      <a:srgbClr val="FFFFFF"/>
                    </a:gs>
                  </a:gsLst>
                  <a:lin ang="5400000" scaled="0"/>
                </a:gradFill>
                <a:effectLst/>
                <a:uLnTx/>
                <a:uFillTx/>
              </a:rPr>
              <a:t>SeaDev</a:t>
            </a: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 a line</a:t>
            </a: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rPr>
              <a:t>!</a:t>
            </a:r>
          </a:p>
          <a:p>
            <a:pPr marL="457200" marR="0" lvl="0" indent="-457200" defTabSz="914367" eaLnBrk="1" fontAlgn="auto" latinLnBrk="0" hangingPunct="1">
              <a:lnSpc>
                <a:spcPct val="90000"/>
              </a:lnSpc>
              <a:spcBef>
                <a:spcPts val="0"/>
              </a:spcBef>
              <a:spcAft>
                <a:spcPts val="588"/>
              </a:spcAft>
              <a:buClrTx/>
              <a:buSzTx/>
              <a:buFont typeface="Arial" panose="020B0604020202020204" pitchFamily="34" charset="0"/>
              <a:buChar char="•"/>
              <a:tabLst/>
              <a:defRPr/>
            </a:pPr>
            <a:endPar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endParaRPr>
          </a:p>
          <a:p>
            <a:pPr marL="457200" lvl="0" indent="-457200" defTabSz="914367">
              <a:lnSpc>
                <a:spcPct val="90000"/>
              </a:lnSpc>
              <a:spcAft>
                <a:spcPts val="588"/>
              </a:spcAft>
              <a:buFont typeface="Arial" panose="020B0604020202020204" pitchFamily="34" charset="0"/>
              <a:buChar char="•"/>
              <a:defRPr/>
            </a:pP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hlinkClick r:id="rId3"/>
              </a:rPr>
              <a:t>nzedu@microsoft.com</a:t>
            </a:r>
            <a:r>
              <a:rPr kumimoji="0" lang="en-NZ" sz="3200" b="0" i="0" u="none" strike="noStrike" kern="0" cap="none" spc="0" normalizeH="0" noProof="0" dirty="0" smtClean="0">
                <a:ln>
                  <a:noFill/>
                </a:ln>
                <a:gradFill>
                  <a:gsLst>
                    <a:gs pos="2917">
                      <a:srgbClr val="FFFFFF"/>
                    </a:gs>
                    <a:gs pos="30000">
                      <a:srgbClr val="FFFFFF"/>
                    </a:gs>
                  </a:gsLst>
                  <a:lin ang="5400000" scaled="0"/>
                </a:gradFill>
                <a:effectLst/>
                <a:uLnTx/>
                <a:uFillTx/>
              </a:rPr>
              <a:t> – </a:t>
            </a:r>
            <a:r>
              <a:rPr lang="en-NZ" sz="3200" kern="0" dirty="0">
                <a:gradFill>
                  <a:gsLst>
                    <a:gs pos="2917">
                      <a:srgbClr val="FFFFFF"/>
                    </a:gs>
                    <a:gs pos="30000">
                      <a:srgbClr val="FFFFFF"/>
                    </a:gs>
                  </a:gsLst>
                  <a:lin ang="5400000" scaled="0"/>
                </a:gradFill>
              </a:rPr>
              <a:t/>
            </a:r>
            <a:br>
              <a:rPr lang="en-NZ" sz="3200" kern="0" dirty="0">
                <a:gradFill>
                  <a:gsLst>
                    <a:gs pos="2917">
                      <a:srgbClr val="FFFFFF"/>
                    </a:gs>
                    <a:gs pos="30000">
                      <a:srgbClr val="FFFFFF"/>
                    </a:gs>
                  </a:gsLst>
                  <a:lin ang="5400000" scaled="0"/>
                </a:gradFill>
              </a:rPr>
            </a:br>
            <a:r>
              <a:rPr lang="en-NZ" sz="3200" kern="0" dirty="0" smtClean="0">
                <a:gradFill>
                  <a:gsLst>
                    <a:gs pos="2917">
                      <a:srgbClr val="FFFFFF"/>
                    </a:gs>
                    <a:gs pos="30000">
                      <a:srgbClr val="FFFFFF"/>
                    </a:gs>
                  </a:gsLst>
                  <a:lin ang="5400000" scaled="0"/>
                </a:gradFill>
              </a:rPr>
              <a:t>	Programmatic questions</a:t>
            </a:r>
            <a:endParaRPr kumimoji="0" lang="en-NZ" sz="3200" b="0" i="0" u="none" strike="noStrike" kern="0" cap="none" spc="0" normalizeH="0" noProof="0" dirty="0" smtClean="0">
              <a:ln>
                <a:noFill/>
              </a:ln>
              <a:gradFill>
                <a:gsLst>
                  <a:gs pos="2917">
                    <a:srgbClr val="FFFFFF"/>
                  </a:gs>
                  <a:gs pos="30000">
                    <a:srgbClr val="FFFFFF"/>
                  </a:gs>
                </a:gsLst>
                <a:lin ang="5400000" scaled="0"/>
              </a:gradFill>
              <a:effectLst/>
              <a:uLnTx/>
              <a:uFillTx/>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5"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47810790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055114"/>
          </a:xfrm>
        </p:spPr>
        <p:txBody>
          <a:bodyPr/>
          <a:lstStyle/>
          <a:p>
            <a:r>
              <a:rPr lang="en-US" dirty="0" smtClean="0">
                <a:solidFill>
                  <a:schemeClr val="tx1"/>
                </a:solidFill>
              </a:rPr>
              <a:t> MVA Content on C</a:t>
            </a:r>
            <a:r>
              <a:rPr lang="en-US" dirty="0" smtClean="0">
                <a:solidFill>
                  <a:schemeClr val="tx1"/>
                </a:solidFill>
              </a:rPr>
              <a:t>#</a:t>
            </a:r>
            <a:endParaRPr lang="en-US" dirty="0" smtClean="0">
              <a:solidFill>
                <a:schemeClr val="tx1"/>
              </a:solidFill>
            </a:endParaRPr>
          </a:p>
          <a:p>
            <a:r>
              <a:rPr lang="en-US" dirty="0" smtClean="0">
                <a:solidFill>
                  <a:schemeClr val="tx1"/>
                </a:solidFill>
              </a:rPr>
              <a:t> Built a Windows app and familiar with Windows</a:t>
            </a:r>
          </a:p>
          <a:p>
            <a:r>
              <a:rPr lang="en-US" dirty="0">
                <a:solidFill>
                  <a:schemeClr val="tx1"/>
                </a:solidFill>
              </a:rPr>
              <a:t> </a:t>
            </a:r>
            <a:r>
              <a:rPr lang="en-US" dirty="0" smtClean="0">
                <a:solidFill>
                  <a:schemeClr val="tx1"/>
                </a:solidFill>
              </a:rPr>
              <a:t>Visual Studio + Windows / Mac</a:t>
            </a:r>
          </a:p>
        </p:txBody>
      </p:sp>
      <p:sp>
        <p:nvSpPr>
          <p:cNvPr id="3" name="Title 2"/>
          <p:cNvSpPr>
            <a:spLocks noGrp="1"/>
          </p:cNvSpPr>
          <p:nvPr>
            <p:ph type="title"/>
          </p:nvPr>
        </p:nvSpPr>
        <p:spPr/>
        <p:txBody>
          <a:bodyPr/>
          <a:lstStyle/>
          <a:p>
            <a:r>
              <a:rPr lang="en-US" dirty="0" smtClean="0"/>
              <a:t>Phase 1</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28857392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Dates	 &amp; Progress</a:t>
            </a:r>
            <a:endParaRPr lang="en-US" dirty="0"/>
          </a:p>
        </p:txBody>
      </p:sp>
      <p:pic>
        <p:nvPicPr>
          <p:cNvPr id="3" name="Picture 2"/>
          <p:cNvPicPr>
            <a:picLocks noChangeAspect="1"/>
          </p:cNvPicPr>
          <p:nvPr/>
        </p:nvPicPr>
        <p:blipFill>
          <a:blip r:embed="rId3"/>
          <a:stretch>
            <a:fillRect/>
          </a:stretch>
        </p:blipFill>
        <p:spPr>
          <a:xfrm>
            <a:off x="1906859" y="1586719"/>
            <a:ext cx="8874744" cy="4210050"/>
          </a:xfrm>
          <a:prstGeom prst="rect">
            <a:avLst/>
          </a:prstGeom>
        </p:spPr>
      </p:pic>
      <p:sp>
        <p:nvSpPr>
          <p:cNvPr id="5" name="Oval 4"/>
          <p:cNvSpPr/>
          <p:nvPr/>
        </p:nvSpPr>
        <p:spPr>
          <a:xfrm>
            <a:off x="2982680" y="3305476"/>
            <a:ext cx="351535" cy="329821"/>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2860728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Phase 2</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422671559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lvl="1">
              <a:lnSpc>
                <a:spcPct val="150000"/>
              </a:lnSpc>
            </a:pPr>
            <a:r>
              <a:rPr lang="en-US" sz="2800" dirty="0" smtClean="0">
                <a:solidFill>
                  <a:schemeClr val="tx1"/>
                </a:solidFill>
              </a:rPr>
              <a:t> </a:t>
            </a:r>
            <a:r>
              <a:rPr lang="en-US" sz="3200" b="1" dirty="0" smtClean="0">
                <a:solidFill>
                  <a:schemeClr val="tx1"/>
                </a:solidFill>
                <a:latin typeface="+mj-lt"/>
              </a:rPr>
              <a:t>Training Events</a:t>
            </a:r>
            <a:endParaRPr lang="en-US" sz="3200" b="1" dirty="0">
              <a:solidFill>
                <a:schemeClr val="tx1"/>
              </a:solidFill>
              <a:latin typeface="+mj-lt"/>
            </a:endParaRPr>
          </a:p>
          <a:p>
            <a:pPr lvl="1">
              <a:lnSpc>
                <a:spcPct val="150000"/>
              </a:lnSpc>
            </a:pPr>
            <a:r>
              <a:rPr lang="en-US" sz="3200" b="1" dirty="0" smtClean="0">
                <a:solidFill>
                  <a:schemeClr val="tx1"/>
                </a:solidFill>
                <a:latin typeface="+mj-lt"/>
              </a:rPr>
              <a:t> Individual Assessments</a:t>
            </a:r>
          </a:p>
          <a:p>
            <a:pPr lvl="1">
              <a:lnSpc>
                <a:spcPct val="150000"/>
              </a:lnSpc>
            </a:pPr>
            <a:r>
              <a:rPr lang="en-US" sz="3200" b="1" dirty="0">
                <a:solidFill>
                  <a:schemeClr val="tx1"/>
                </a:solidFill>
                <a:latin typeface="+mj-lt"/>
              </a:rPr>
              <a:t> </a:t>
            </a:r>
            <a:r>
              <a:rPr lang="en-US" sz="3200" b="1" dirty="0" smtClean="0">
                <a:solidFill>
                  <a:schemeClr val="tx1"/>
                </a:solidFill>
                <a:latin typeface="+mj-lt"/>
              </a:rPr>
              <a:t>Imagine Cup Training</a:t>
            </a:r>
          </a:p>
          <a:p>
            <a:pPr lvl="1">
              <a:lnSpc>
                <a:spcPct val="150000"/>
              </a:lnSpc>
            </a:pPr>
            <a:r>
              <a:rPr lang="en-US" sz="3200" b="1" dirty="0">
                <a:solidFill>
                  <a:schemeClr val="tx1"/>
                </a:solidFill>
                <a:latin typeface="+mj-lt"/>
              </a:rPr>
              <a:t> </a:t>
            </a:r>
            <a:r>
              <a:rPr lang="en-US" sz="3200" b="1" dirty="0" smtClean="0">
                <a:solidFill>
                  <a:schemeClr val="tx1"/>
                </a:solidFill>
                <a:latin typeface="+mj-lt"/>
              </a:rPr>
              <a:t>Group Assessments</a:t>
            </a:r>
          </a:p>
          <a:p>
            <a:pPr lvl="1">
              <a:lnSpc>
                <a:spcPct val="150000"/>
              </a:lnSpc>
            </a:pPr>
            <a:r>
              <a:rPr lang="en-US" sz="3200" b="1" dirty="0">
                <a:solidFill>
                  <a:schemeClr val="tx1"/>
                </a:solidFill>
                <a:latin typeface="+mj-lt"/>
              </a:rPr>
              <a:t> </a:t>
            </a:r>
            <a:r>
              <a:rPr lang="en-US" sz="3200" b="1" dirty="0" smtClean="0">
                <a:solidFill>
                  <a:schemeClr val="tx1"/>
                </a:solidFill>
                <a:latin typeface="+mj-lt"/>
              </a:rPr>
              <a:t>Employer Speed Dating</a:t>
            </a:r>
          </a:p>
          <a:p>
            <a:pPr lvl="1">
              <a:lnSpc>
                <a:spcPct val="150000"/>
              </a:lnSpc>
            </a:pPr>
            <a:r>
              <a:rPr lang="en-US" sz="3200" b="1" dirty="0">
                <a:solidFill>
                  <a:schemeClr val="tx1"/>
                </a:solidFill>
                <a:latin typeface="+mj-lt"/>
              </a:rPr>
              <a:t> </a:t>
            </a:r>
            <a:r>
              <a:rPr lang="en-US" sz="3200" b="1" dirty="0" smtClean="0">
                <a:solidFill>
                  <a:schemeClr val="tx1"/>
                </a:solidFill>
                <a:latin typeface="+mj-lt"/>
              </a:rPr>
              <a:t>Networking Drinks</a:t>
            </a:r>
            <a:endParaRPr lang="en-US" sz="3200" b="1" dirty="0" smtClean="0">
              <a:solidFill>
                <a:schemeClr val="tx1"/>
              </a:solidFill>
              <a:latin typeface="+mj-lt"/>
            </a:endParaRPr>
          </a:p>
        </p:txBody>
      </p:sp>
      <p:sp>
        <p:nvSpPr>
          <p:cNvPr id="3" name="Title 2"/>
          <p:cNvSpPr>
            <a:spLocks noGrp="1"/>
          </p:cNvSpPr>
          <p:nvPr>
            <p:ph type="title"/>
          </p:nvPr>
        </p:nvSpPr>
        <p:spPr/>
        <p:txBody>
          <a:bodyPr/>
          <a:lstStyle/>
          <a:p>
            <a:r>
              <a:rPr lang="en-US" dirty="0" smtClean="0"/>
              <a:t>Phase 2</a:t>
            </a:r>
            <a:endParaRPr lang="en-US" dirty="0"/>
          </a:p>
        </p:txBody>
      </p:sp>
    </p:spTree>
    <p:extLst>
      <p:ext uri="{BB962C8B-B14F-4D97-AF65-F5344CB8AC3E}">
        <p14:creationId xmlns:p14="http://schemas.microsoft.com/office/powerpoint/2010/main" val="281976352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t>Phase 2 - Dates</a:t>
            </a:r>
            <a:endParaRPr lang="en-US" sz="4400" dirty="0"/>
          </a:p>
        </p:txBody>
      </p:sp>
      <p:graphicFrame>
        <p:nvGraphicFramePr>
          <p:cNvPr id="6" name="Table 5"/>
          <p:cNvGraphicFramePr>
            <a:graphicFrameLocks noGrp="1"/>
          </p:cNvGraphicFramePr>
          <p:nvPr>
            <p:extLst>
              <p:ext uri="{D42A27DB-BD31-4B8C-83A1-F6EECF244321}">
                <p14:modId xmlns:p14="http://schemas.microsoft.com/office/powerpoint/2010/main" val="827488848"/>
              </p:ext>
            </p:extLst>
          </p:nvPr>
        </p:nvGraphicFramePr>
        <p:xfrm>
          <a:off x="890953" y="1032420"/>
          <a:ext cx="10715750" cy="5699760"/>
        </p:xfrm>
        <a:graphic>
          <a:graphicData uri="http://schemas.openxmlformats.org/drawingml/2006/table">
            <a:tbl>
              <a:tblPr/>
              <a:tblGrid>
                <a:gridCol w="2022132">
                  <a:extLst>
                    <a:ext uri="{9D8B030D-6E8A-4147-A177-3AD203B41FA5}">
                      <a16:colId xmlns:a16="http://schemas.microsoft.com/office/drawing/2014/main" val="3384886431"/>
                    </a:ext>
                  </a:extLst>
                </a:gridCol>
                <a:gridCol w="2815883">
                  <a:extLst>
                    <a:ext uri="{9D8B030D-6E8A-4147-A177-3AD203B41FA5}">
                      <a16:colId xmlns:a16="http://schemas.microsoft.com/office/drawing/2014/main" val="1783219201"/>
                    </a:ext>
                  </a:extLst>
                </a:gridCol>
                <a:gridCol w="5877735">
                  <a:extLst>
                    <a:ext uri="{9D8B030D-6E8A-4147-A177-3AD203B41FA5}">
                      <a16:colId xmlns:a16="http://schemas.microsoft.com/office/drawing/2014/main" val="3843802050"/>
                    </a:ext>
                  </a:extLst>
                </a:gridCol>
              </a:tblGrid>
              <a:tr h="330696">
                <a:tc>
                  <a:txBody>
                    <a:bodyPr/>
                    <a:lstStyle/>
                    <a:p>
                      <a:pPr algn="l" fontAlgn="b"/>
                      <a:r>
                        <a:rPr lang="en-US" sz="2800" b="1" i="0" u="none" strike="noStrike" dirty="0">
                          <a:solidFill>
                            <a:srgbClr val="FFFFFF"/>
                          </a:solidFill>
                          <a:effectLst/>
                          <a:latin typeface="Calibri" panose="020F0502020204030204" pitchFamily="34" charset="0"/>
                        </a:rPr>
                        <a:t>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2800" b="1" i="0" u="none" strike="noStrike">
                          <a:solidFill>
                            <a:srgbClr val="FFFFFF"/>
                          </a:solidFill>
                          <a:effectLst/>
                          <a:latin typeface="Calibri" panose="020F0502020204030204" pitchFamily="34" charset="0"/>
                        </a:rPr>
                        <a:t>Date</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2800" b="1" i="0" u="none" strike="noStrike" dirty="0">
                          <a:solidFill>
                            <a:srgbClr val="FFFFFF"/>
                          </a:solidFill>
                          <a:effectLst/>
                          <a:latin typeface="Calibri" panose="020F0502020204030204" pitchFamily="34" charset="0"/>
                        </a:rPr>
                        <a:t>Description</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497349408"/>
                  </a:ext>
                </a:extLst>
              </a:tr>
              <a:tr h="330696">
                <a:tc>
                  <a:txBody>
                    <a:bodyPr/>
                    <a:lstStyle/>
                    <a:p>
                      <a:pPr algn="l" fontAlgn="b"/>
                      <a:r>
                        <a:rPr lang="en-US" sz="2800" b="0" i="0" u="none" strike="noStrike" dirty="0">
                          <a:solidFill>
                            <a:srgbClr val="000000"/>
                          </a:solidFill>
                          <a:effectLst/>
                          <a:latin typeface="Calibri" panose="020F0502020204030204" pitchFamily="34" charset="0"/>
                        </a:rPr>
                        <a:t>Fri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smtClean="0">
                          <a:solidFill>
                            <a:srgbClr val="000000"/>
                          </a:solidFill>
                          <a:effectLst/>
                          <a:latin typeface="Calibri" panose="020F0502020204030204" pitchFamily="34" charset="0"/>
                        </a:rPr>
                        <a:t>20th 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3079483328"/>
                  </a:ext>
                </a:extLst>
              </a:tr>
              <a:tr h="330696">
                <a:tc>
                  <a:txBody>
                    <a:bodyPr/>
                    <a:lstStyle/>
                    <a:p>
                      <a:pPr algn="l" fontAlgn="b"/>
                      <a:r>
                        <a:rPr lang="en-US" sz="2800" b="0" i="0" u="none" strike="noStrike">
                          <a:solidFill>
                            <a:srgbClr val="000000"/>
                          </a:solidFill>
                          <a:effectLst/>
                          <a:latin typeface="Calibri" panose="020F0502020204030204" pitchFamily="34" charset="0"/>
                        </a:rPr>
                        <a:t>Satur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1st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743582321"/>
                  </a:ext>
                </a:extLst>
              </a:tr>
              <a:tr h="241964">
                <a:tc>
                  <a:txBody>
                    <a:bodyPr/>
                    <a:lstStyle/>
                    <a:p>
                      <a:pPr algn="l" fontAlgn="b"/>
                      <a:r>
                        <a:rPr lang="en-US" sz="2800" b="0" i="0" u="none" strike="noStrike">
                          <a:solidFill>
                            <a:srgbClr val="000000"/>
                          </a:solidFill>
                          <a:effectLst/>
                          <a:latin typeface="Calibri" panose="020F0502020204030204" pitchFamily="34" charset="0"/>
                        </a:rPr>
                        <a:t>Su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2nd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637324585"/>
                  </a:ext>
                </a:extLst>
              </a:tr>
              <a:tr h="386072">
                <a:tc>
                  <a:txBody>
                    <a:bodyPr/>
                    <a:lstStyle/>
                    <a:p>
                      <a:pPr algn="l" fontAlgn="b"/>
                      <a:r>
                        <a:rPr lang="en-US" sz="2800" b="0" i="0" u="none" strike="noStrike">
                          <a:solidFill>
                            <a:srgbClr val="000000"/>
                          </a:solidFill>
                          <a:effectLst/>
                          <a:latin typeface="Calibri" panose="020F0502020204030204" pitchFamily="34" charset="0"/>
                        </a:rPr>
                        <a:t>Mo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2800" b="0" i="0" u="none" strike="noStrike" dirty="0">
                          <a:solidFill>
                            <a:srgbClr val="000000"/>
                          </a:solidFill>
                          <a:effectLst/>
                          <a:latin typeface="Calibri" panose="020F0502020204030204" pitchFamily="34" charset="0"/>
                        </a:rPr>
                        <a:t>23rd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NZ" sz="2800" b="0" i="0" u="none" strike="noStrike" dirty="0">
                          <a:solidFill>
                            <a:srgbClr val="000000"/>
                          </a:solidFill>
                          <a:effectLst/>
                          <a:latin typeface="Calibri" panose="020F0502020204030204" pitchFamily="34" charset="0"/>
                        </a:rPr>
                        <a:t>Support Labs and Office Hours</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65903498"/>
                  </a:ext>
                </a:extLst>
              </a:tr>
              <a:tr h="330696">
                <a:tc>
                  <a:txBody>
                    <a:bodyPr/>
                    <a:lstStyle/>
                    <a:p>
                      <a:pPr algn="l" fontAlgn="b"/>
                      <a:r>
                        <a:rPr lang="en-US" sz="2800" b="0" i="0" u="none" strike="noStrike">
                          <a:solidFill>
                            <a:srgbClr val="000000"/>
                          </a:solidFill>
                          <a:effectLst/>
                          <a:latin typeface="Calibri" panose="020F0502020204030204" pitchFamily="34" charset="0"/>
                        </a:rPr>
                        <a:t>Fri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2800" b="0" i="0" u="none" strike="noStrike" dirty="0">
                          <a:solidFill>
                            <a:srgbClr val="000000"/>
                          </a:solidFill>
                          <a:effectLst/>
                          <a:latin typeface="Calibri" panose="020F0502020204030204" pitchFamily="34" charset="0"/>
                        </a:rPr>
                        <a:t>27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2800" b="0" i="0" u="none" strike="noStrike">
                          <a:solidFill>
                            <a:srgbClr val="000000"/>
                          </a:solidFill>
                          <a:effectLst/>
                          <a:latin typeface="Calibri" panose="020F0502020204030204" pitchFamily="34" charset="0"/>
                        </a:rPr>
                        <a:t>Assessments 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741975191"/>
                  </a:ext>
                </a:extLst>
              </a:tr>
              <a:tr h="330696">
                <a:tc>
                  <a:txBody>
                    <a:bodyPr/>
                    <a:lstStyle/>
                    <a:p>
                      <a:pPr algn="l" fontAlgn="b"/>
                      <a:r>
                        <a:rPr lang="en-US" sz="2800" b="0" i="0" u="none" strike="noStrike">
                          <a:solidFill>
                            <a:srgbClr val="000000"/>
                          </a:solidFill>
                          <a:effectLst/>
                          <a:latin typeface="Calibri" panose="020F0502020204030204" pitchFamily="34" charset="0"/>
                        </a:rPr>
                        <a:t>Satur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8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Groups Announced/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741312058"/>
                  </a:ext>
                </a:extLst>
              </a:tr>
              <a:tr h="330696">
                <a:tc>
                  <a:txBody>
                    <a:bodyPr/>
                    <a:lstStyle/>
                    <a:p>
                      <a:pPr algn="l" fontAlgn="b"/>
                      <a:r>
                        <a:rPr lang="en-US" sz="2800" b="0" i="0" u="none" strike="noStrike">
                          <a:solidFill>
                            <a:srgbClr val="000000"/>
                          </a:solidFill>
                          <a:effectLst/>
                          <a:latin typeface="Calibri" panose="020F0502020204030204" pitchFamily="34" charset="0"/>
                        </a:rPr>
                        <a:t>Su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9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738196581"/>
                  </a:ext>
                </a:extLst>
              </a:tr>
              <a:tr h="330696">
                <a:tc>
                  <a:txBody>
                    <a:bodyPr/>
                    <a:lstStyle/>
                    <a:p>
                      <a:pPr algn="l" fontAlgn="b"/>
                      <a:r>
                        <a:rPr lang="en-US" sz="2800" b="0" i="0" u="none" strike="noStrike">
                          <a:solidFill>
                            <a:srgbClr val="000000"/>
                          </a:solidFill>
                          <a:effectLst/>
                          <a:latin typeface="Calibri" panose="020F0502020204030204" pitchFamily="34" charset="0"/>
                        </a:rPr>
                        <a:t>Mo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30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3047918060"/>
                  </a:ext>
                </a:extLst>
              </a:tr>
              <a:tr h="330696">
                <a:tc>
                  <a:txBody>
                    <a:bodyPr/>
                    <a:lstStyle/>
                    <a:p>
                      <a:pPr algn="l" fontAlgn="b"/>
                      <a:r>
                        <a:rPr lang="en-US" sz="2800" b="0" i="0" u="none" strike="noStrike">
                          <a:solidFill>
                            <a:srgbClr val="000000"/>
                          </a:solidFill>
                          <a:effectLst/>
                          <a:latin typeface="Calibri" panose="020F0502020204030204" pitchFamily="34" charset="0"/>
                        </a:rPr>
                        <a:t>Tues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dirty="0">
                          <a:solidFill>
                            <a:srgbClr val="000000"/>
                          </a:solidFill>
                          <a:effectLst/>
                          <a:latin typeface="Calibri" panose="020F0502020204030204" pitchFamily="34" charset="0"/>
                        </a:rPr>
                        <a:t>1st </a:t>
                      </a:r>
                      <a:r>
                        <a:rPr lang="en-US" sz="2800" b="0" i="0" u="none" strike="noStrike" dirty="0" smtClean="0">
                          <a:solidFill>
                            <a:srgbClr val="000000"/>
                          </a:solidFill>
                          <a:effectLst/>
                          <a:latin typeface="Calibri" panose="020F0502020204030204" pitchFamily="34" charset="0"/>
                        </a:rPr>
                        <a:t>Dec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a:solidFill>
                            <a:srgbClr val="000000"/>
                          </a:solidFill>
                          <a:effectLst/>
                          <a:latin typeface="Calibri" panose="020F0502020204030204" pitchFamily="34" charset="0"/>
                        </a:rPr>
                        <a:t>Networking Eve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641723064"/>
                  </a:ext>
                </a:extLst>
              </a:tr>
              <a:tr h="327457">
                <a:tc>
                  <a:txBody>
                    <a:bodyPr/>
                    <a:lstStyle/>
                    <a:p>
                      <a:pPr algn="l" fontAlgn="b"/>
                      <a:r>
                        <a:rPr lang="en-US" sz="2800" b="0" i="0" u="none" strike="noStrike">
                          <a:solidFill>
                            <a:srgbClr val="000000"/>
                          </a:solidFill>
                          <a:effectLst/>
                          <a:latin typeface="Calibri" panose="020F0502020204030204" pitchFamily="34" charset="0"/>
                        </a:rPr>
                        <a:t>Wednes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dirty="0">
                          <a:solidFill>
                            <a:srgbClr val="000000"/>
                          </a:solidFill>
                          <a:effectLst/>
                          <a:latin typeface="Calibri" panose="020F0502020204030204" pitchFamily="34" charset="0"/>
                        </a:rPr>
                        <a:t>2nd </a:t>
                      </a:r>
                      <a:r>
                        <a:rPr lang="en-US" sz="2800" b="0" i="0" u="none" strike="noStrike" dirty="0" smtClean="0">
                          <a:solidFill>
                            <a:srgbClr val="000000"/>
                          </a:solidFill>
                          <a:effectLst/>
                          <a:latin typeface="Calibri" panose="020F0502020204030204" pitchFamily="34" charset="0"/>
                        </a:rPr>
                        <a:t>Dec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NZ" sz="2800" b="0" i="0" u="none" strike="noStrike" dirty="0">
                          <a:solidFill>
                            <a:srgbClr val="000000"/>
                          </a:solidFill>
                          <a:effectLst/>
                          <a:latin typeface="Calibri" panose="020F0502020204030204" pitchFamily="34" charset="0"/>
                        </a:rPr>
                        <a:t>Placements </a:t>
                      </a:r>
                      <a:r>
                        <a:rPr lang="en-NZ" sz="2800" b="0" i="0" u="none" strike="noStrike" dirty="0" smtClean="0">
                          <a:solidFill>
                            <a:srgbClr val="000000"/>
                          </a:solidFill>
                          <a:effectLst/>
                          <a:latin typeface="Calibri" panose="020F0502020204030204" pitchFamily="34" charset="0"/>
                        </a:rPr>
                        <a:t>Announced </a:t>
                      </a:r>
                      <a:endParaRPr lang="en-NZ"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863377630"/>
                  </a:ext>
                </a:extLst>
              </a:tr>
            </a:tbl>
          </a:graphicData>
        </a:graphic>
      </p:graphicFrame>
    </p:spTree>
    <p:extLst>
      <p:ext uri="{BB962C8B-B14F-4D97-AF65-F5344CB8AC3E}">
        <p14:creationId xmlns:p14="http://schemas.microsoft.com/office/powerpoint/2010/main" val="274917136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503045"/>
          </a:xfrm>
        </p:spPr>
        <p:txBody>
          <a:bodyPr/>
          <a:lstStyle/>
          <a:p>
            <a:pPr lvl="1"/>
            <a:r>
              <a:rPr lang="en-US" sz="2800" dirty="0" smtClean="0">
                <a:solidFill>
                  <a:schemeClr val="tx1"/>
                </a:solidFill>
              </a:rPr>
              <a:t> </a:t>
            </a:r>
            <a:r>
              <a:rPr lang="en-US" sz="3200" b="1" dirty="0" smtClean="0">
                <a:solidFill>
                  <a:schemeClr val="tx1"/>
                </a:solidFill>
                <a:latin typeface="+mj-lt"/>
              </a:rPr>
              <a:t>Day 1</a:t>
            </a:r>
            <a:endParaRPr lang="en-US" sz="2800" b="1" dirty="0" smtClean="0">
              <a:solidFill>
                <a:schemeClr val="tx1"/>
              </a:solidFill>
              <a:latin typeface="+mj-lt"/>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Introduction to Source Control</a:t>
            </a:r>
          </a:p>
          <a:p>
            <a:pPr lvl="2">
              <a:buFont typeface="Arial" panose="020B0604020202020204" pitchFamily="34" charset="0"/>
              <a:buChar char="•"/>
            </a:pPr>
            <a:r>
              <a:rPr lang="en-US" sz="2800" dirty="0" smtClean="0">
                <a:solidFill>
                  <a:schemeClr val="tx1"/>
                </a:solidFill>
                <a:latin typeface="+mj-lt"/>
              </a:rPr>
              <a:t> Introduction to Web App development</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HTML, CSS, JS, Ajax and more…</a:t>
            </a:r>
          </a:p>
          <a:p>
            <a:pPr marL="560241" lvl="2" indent="0">
              <a:buNone/>
            </a:pPr>
            <a:endParaRPr lang="en-US" sz="1400" dirty="0" smtClean="0">
              <a:solidFill>
                <a:schemeClr val="tx1"/>
              </a:solidFill>
              <a:latin typeface="+mj-lt"/>
            </a:endParaRPr>
          </a:p>
          <a:p>
            <a:pPr lvl="1"/>
            <a:r>
              <a:rPr lang="en-US" sz="2800" dirty="0" smtClean="0">
                <a:solidFill>
                  <a:schemeClr val="tx1"/>
                </a:solidFill>
                <a:latin typeface="+mj-lt"/>
              </a:rPr>
              <a:t> </a:t>
            </a:r>
            <a:r>
              <a:rPr lang="en-US" sz="3200" b="1" dirty="0" smtClean="0">
                <a:solidFill>
                  <a:schemeClr val="tx1"/>
                </a:solidFill>
                <a:latin typeface="+mj-lt"/>
              </a:rPr>
              <a:t>Day 2</a:t>
            </a:r>
            <a:endParaRPr lang="en-US" sz="2800" b="1" dirty="0" smtClean="0">
              <a:solidFill>
                <a:schemeClr val="tx1"/>
              </a:solidFill>
              <a:latin typeface="+mj-lt"/>
            </a:endParaRPr>
          </a:p>
          <a:p>
            <a:pPr lvl="2">
              <a:buFont typeface="Arial" panose="020B0604020202020204" pitchFamily="34" charset="0"/>
              <a:buChar char="•"/>
            </a:pPr>
            <a:r>
              <a:rPr lang="en-US" sz="2800" dirty="0" smtClean="0">
                <a:solidFill>
                  <a:schemeClr val="tx1"/>
                </a:solidFill>
                <a:latin typeface="+mj-lt"/>
              </a:rPr>
              <a:t> Introduction to API development</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APIs, Swagger, </a:t>
            </a:r>
            <a:r>
              <a:rPr lang="en-US" sz="2800" dirty="0" err="1" smtClean="0">
                <a:solidFill>
                  <a:schemeClr val="tx1"/>
                </a:solidFill>
                <a:latin typeface="+mj-lt"/>
              </a:rPr>
              <a:t>mySQL</a:t>
            </a:r>
            <a:r>
              <a:rPr lang="en-US" sz="2800" dirty="0" smtClean="0">
                <a:solidFill>
                  <a:schemeClr val="tx1"/>
                </a:solidFill>
                <a:latin typeface="+mj-lt"/>
              </a:rPr>
              <a:t>, EF, App Insights, VSTS and more…</a:t>
            </a:r>
            <a:endParaRPr lang="en-US" sz="2800" dirty="0" smtClean="0">
              <a:solidFill>
                <a:schemeClr val="tx1"/>
              </a:solidFill>
              <a:latin typeface="+mj-lt"/>
            </a:endParaRPr>
          </a:p>
          <a:p>
            <a:pPr lvl="1"/>
            <a:endParaRPr lang="en-US" sz="1400" dirty="0">
              <a:solidFill>
                <a:schemeClr val="tx1"/>
              </a:solidFill>
            </a:endParaRPr>
          </a:p>
          <a:p>
            <a:pPr lvl="1"/>
            <a:r>
              <a:rPr lang="en-US" sz="2800" dirty="0">
                <a:solidFill>
                  <a:schemeClr val="tx1"/>
                </a:solidFill>
              </a:rPr>
              <a:t> </a:t>
            </a:r>
            <a:r>
              <a:rPr lang="en-US" sz="3200" b="1" dirty="0" smtClean="0">
                <a:solidFill>
                  <a:schemeClr val="tx1"/>
                </a:solidFill>
                <a:latin typeface="+mj-lt"/>
              </a:rPr>
              <a:t>Day 3</a:t>
            </a:r>
            <a:endParaRPr lang="en-US" sz="2800" b="1" dirty="0" smtClean="0">
              <a:solidFill>
                <a:schemeClr val="tx1"/>
              </a:solidFill>
              <a:latin typeface="+mj-lt"/>
            </a:endParaRP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Optional features development</a:t>
            </a:r>
          </a:p>
          <a:p>
            <a:pPr lvl="2">
              <a:buFont typeface="Arial" panose="020B0604020202020204" pitchFamily="34" charset="0"/>
              <a:buChar char="•"/>
            </a:pPr>
            <a:r>
              <a:rPr lang="en-US" sz="2800" dirty="0">
                <a:solidFill>
                  <a:schemeClr val="tx1"/>
                </a:solidFill>
                <a:latin typeface="+mj-lt"/>
              </a:rPr>
              <a:t> </a:t>
            </a:r>
            <a:r>
              <a:rPr lang="en-US" sz="2800" dirty="0" err="1" smtClean="0">
                <a:solidFill>
                  <a:schemeClr val="tx1"/>
                </a:solidFill>
                <a:latin typeface="+mj-lt"/>
              </a:rPr>
              <a:t>Auth</a:t>
            </a:r>
            <a:r>
              <a:rPr lang="en-US" sz="2800" dirty="0" smtClean="0">
                <a:solidFill>
                  <a:schemeClr val="tx1"/>
                </a:solidFill>
                <a:latin typeface="+mj-lt"/>
              </a:rPr>
              <a:t>, JQuery, </a:t>
            </a:r>
            <a:r>
              <a:rPr lang="en-US" sz="2800" dirty="0" err="1" smtClean="0">
                <a:solidFill>
                  <a:schemeClr val="tx1"/>
                </a:solidFill>
                <a:latin typeface="+mj-lt"/>
              </a:rPr>
              <a:t>xPlat</a:t>
            </a:r>
            <a:r>
              <a:rPr lang="en-US" sz="2800" dirty="0" smtClean="0">
                <a:solidFill>
                  <a:schemeClr val="tx1"/>
                </a:solidFill>
                <a:latin typeface="+mj-lt"/>
              </a:rPr>
              <a:t>, </a:t>
            </a:r>
            <a:r>
              <a:rPr lang="en-US" sz="2800" dirty="0" err="1" smtClean="0">
                <a:solidFill>
                  <a:schemeClr val="tx1"/>
                </a:solidFill>
                <a:latin typeface="+mj-lt"/>
              </a:rPr>
              <a:t>ManifoldJS</a:t>
            </a:r>
            <a:endParaRPr lang="en-US" sz="2800" dirty="0" smtClean="0">
              <a:solidFill>
                <a:schemeClr val="tx1"/>
              </a:solidFill>
              <a:latin typeface="+mj-lt"/>
            </a:endParaRPr>
          </a:p>
        </p:txBody>
      </p:sp>
      <p:sp>
        <p:nvSpPr>
          <p:cNvPr id="3" name="Title 2"/>
          <p:cNvSpPr>
            <a:spLocks noGrp="1"/>
          </p:cNvSpPr>
          <p:nvPr>
            <p:ph type="title"/>
          </p:nvPr>
        </p:nvSpPr>
        <p:spPr/>
        <p:txBody>
          <a:bodyPr/>
          <a:lstStyle/>
          <a:p>
            <a:r>
              <a:rPr lang="en-US" dirty="0" smtClean="0"/>
              <a:t>Phase 2 - Training</a:t>
            </a:r>
            <a:endParaRPr lang="en-US" dirty="0"/>
          </a:p>
        </p:txBody>
      </p:sp>
    </p:spTree>
    <p:extLst>
      <p:ext uri="{BB962C8B-B14F-4D97-AF65-F5344CB8AC3E}">
        <p14:creationId xmlns:p14="http://schemas.microsoft.com/office/powerpoint/2010/main" val="3530228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 calcmode="lin" valueType="num">
                                      <p:cBhvr additive="base">
                                        <p:cTn id="12"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2">
                                            <p:txEl>
                                              <p:pRg st="1" end="1"/>
                                            </p:txEl>
                                          </p:spTgt>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 calcmode="lin" valueType="num">
                                      <p:cBhvr additive="base">
                                        <p:cTn id="16"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 calcmode="lin" valueType="num">
                                      <p:cBhvr additive="base">
                                        <p:cTn id="20"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1"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 calcmode="lin" valueType="num">
                                      <p:cBhvr additive="base">
                                        <p:cTn id="26"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 presetClass="entr" presetSubtype="4" fill="hold" nodeType="after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 calcmode="lin" valueType="num">
                                      <p:cBhvr additive="base">
                                        <p:cTn id="35"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anim calcmode="lin" valueType="num">
                                      <p:cBhvr additive="base">
                                        <p:cTn id="41"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par>
                          <p:cTn id="43" fill="hold">
                            <p:stCondLst>
                              <p:cond delay="500"/>
                            </p:stCondLst>
                            <p:childTnLst>
                              <p:par>
                                <p:cTn id="44" presetID="2" presetClass="entr" presetSubtype="4" fill="hold" nodeType="afterEffect">
                                  <p:stCondLst>
                                    <p:cond delay="0"/>
                                  </p:stCondLst>
                                  <p:childTnLst>
                                    <p:set>
                                      <p:cBhvr>
                                        <p:cTn id="45" dur="1" fill="hold">
                                          <p:stCondLst>
                                            <p:cond delay="0"/>
                                          </p:stCondLst>
                                        </p:cTn>
                                        <p:tgtEl>
                                          <p:spTgt spid="2">
                                            <p:txEl>
                                              <p:pRg st="10" end="10"/>
                                            </p:txEl>
                                          </p:spTgt>
                                        </p:tgtEl>
                                        <p:attrNameLst>
                                          <p:attrName>style.visibility</p:attrName>
                                        </p:attrNameLst>
                                      </p:cBhvr>
                                      <p:to>
                                        <p:strVal val="visible"/>
                                      </p:to>
                                    </p:set>
                                    <p:anim calcmode="lin" valueType="num">
                                      <p:cBhvr additive="base">
                                        <p:cTn id="46"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47" dur="500" fill="hold"/>
                                        <p:tgtEl>
                                          <p:spTgt spid="2">
                                            <p:txEl>
                                              <p:pRg st="10" end="10"/>
                                            </p:txEl>
                                          </p:spTgt>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2">
                                            <p:txEl>
                                              <p:pRg st="11" end="11"/>
                                            </p:txEl>
                                          </p:spTgt>
                                        </p:tgtEl>
                                        <p:attrNameLst>
                                          <p:attrName>style.visibility</p:attrName>
                                        </p:attrNameLst>
                                      </p:cBhvr>
                                      <p:to>
                                        <p:strVal val="visible"/>
                                      </p:to>
                                    </p:set>
                                    <p:anim calcmode="lin" valueType="num">
                                      <p:cBhvr additive="base">
                                        <p:cTn id="50"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51"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da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567130012"/>
              </p:ext>
            </p:extLst>
          </p:nvPr>
        </p:nvGraphicFramePr>
        <p:xfrm>
          <a:off x="2602522" y="1107904"/>
          <a:ext cx="7602641" cy="5349312"/>
        </p:xfrm>
        <a:graphic>
          <a:graphicData uri="http://schemas.openxmlformats.org/drawingml/2006/table">
            <a:tbl>
              <a:tblPr/>
              <a:tblGrid>
                <a:gridCol w="1957754">
                  <a:extLst>
                    <a:ext uri="{9D8B030D-6E8A-4147-A177-3AD203B41FA5}">
                      <a16:colId xmlns:a16="http://schemas.microsoft.com/office/drawing/2014/main" val="3055611613"/>
                    </a:ext>
                  </a:extLst>
                </a:gridCol>
                <a:gridCol w="5644887">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9:30 to 10:00</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Gates open</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a:t>
                      </a:r>
                      <a:r>
                        <a:rPr lang="en-US" sz="2400" dirty="0" smtClean="0">
                          <a:solidFill>
                            <a:schemeClr val="tx1"/>
                          </a:solidFill>
                          <a:effectLst/>
                          <a:latin typeface="Calibri" panose="020F0502020204030204" pitchFamily="34" charset="0"/>
                        </a:rPr>
                        <a:t>11:15</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lcome </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1:15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2:0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Introduction to Source Control via GitHub</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2:0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2: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Ice-breakers!</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2:3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3: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Lunch</a:t>
                      </a:r>
                      <a:r>
                        <a:rPr lang="en-US" sz="2400" baseline="0" dirty="0" smtClean="0">
                          <a:solidFill>
                            <a:schemeClr val="tx1"/>
                          </a:solidFill>
                          <a:effectLst/>
                          <a:latin typeface="Calibri" panose="020F0502020204030204" pitchFamily="34" charset="0"/>
                        </a:rPr>
                        <a:t> Break</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3:3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4:0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Fun Quiz</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4:0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4:45</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 - Introduction</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4:45</a:t>
                      </a:r>
                      <a:r>
                        <a:rPr lang="en-US" sz="2400" baseline="0" dirty="0" smtClean="0">
                          <a:solidFill>
                            <a:schemeClr val="tx1"/>
                          </a:solidFill>
                          <a:effectLst/>
                          <a:latin typeface="Calibri" panose="020F0502020204030204" pitchFamily="34" charset="0"/>
                        </a:rPr>
                        <a:t> to 15: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indent="0" algn="l" defTabSz="914367" rtl="0" eaLnBrk="1" fontAlgn="t" latinLnBrk="0" hangingPunct="1">
                        <a:lnSpc>
                          <a:spcPct val="100000"/>
                        </a:lnSpc>
                        <a:spcBef>
                          <a:spcPts val="0"/>
                        </a:spcBef>
                        <a:spcAft>
                          <a:spcPts val="0"/>
                        </a:spcAft>
                        <a:buClrTx/>
                        <a:buSzTx/>
                        <a:buFontTx/>
                        <a:buNone/>
                        <a:tabLst/>
                        <a:defRPr/>
                      </a:pPr>
                      <a:r>
                        <a:rPr lang="en-US" sz="2400" dirty="0" smtClean="0">
                          <a:solidFill>
                            <a:schemeClr val="tx1"/>
                          </a:solidFill>
                          <a:effectLst/>
                          <a:latin typeface="Calibri" panose="020F0502020204030204" pitchFamily="34" charset="0"/>
                        </a:rPr>
                        <a:t>Web II – Deep Dive</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395569477"/>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5:30 </a:t>
                      </a:r>
                      <a:r>
                        <a:rPr lang="en-US" sz="2400" dirty="0">
                          <a:solidFill>
                            <a:schemeClr val="tx1"/>
                          </a:solidFill>
                          <a:effectLst/>
                          <a:latin typeface="Calibri" panose="020F0502020204030204" pitchFamily="34" charset="0"/>
                        </a:rPr>
                        <a:t>to 15:45</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Break</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5:45 to 16:45</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II – Deep Dive</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810142254"/>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6:45 to 17:00</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Recap</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683349664"/>
                  </a:ext>
                </a:extLst>
              </a:tr>
            </a:tbl>
          </a:graphicData>
        </a:graphic>
      </p:graphicFrame>
    </p:spTree>
    <p:extLst>
      <p:ext uri="{BB962C8B-B14F-4D97-AF65-F5344CB8AC3E}">
        <p14:creationId xmlns:p14="http://schemas.microsoft.com/office/powerpoint/2010/main" val="2179903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turda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000130399"/>
              </p:ext>
            </p:extLst>
          </p:nvPr>
        </p:nvGraphicFramePr>
        <p:xfrm>
          <a:off x="2227383" y="1189176"/>
          <a:ext cx="8932986" cy="5175256"/>
        </p:xfrm>
        <a:graphic>
          <a:graphicData uri="http://schemas.openxmlformats.org/drawingml/2006/table">
            <a:tbl>
              <a:tblPr/>
              <a:tblGrid>
                <a:gridCol w="2028094">
                  <a:extLst>
                    <a:ext uri="{9D8B030D-6E8A-4147-A177-3AD203B41FA5}">
                      <a16:colId xmlns:a16="http://schemas.microsoft.com/office/drawing/2014/main" val="3055611613"/>
                    </a:ext>
                  </a:extLst>
                </a:gridCol>
                <a:gridCol w="6904892">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9:30 to 10: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Gates Ope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10: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lco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0:30 to 11: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 - Introduction</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1:15 to 12: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I - </a:t>
                      </a:r>
                      <a:r>
                        <a:rPr lang="en-US" sz="2400" dirty="0">
                          <a:solidFill>
                            <a:schemeClr val="tx1"/>
                          </a:solidFill>
                          <a:effectLst/>
                          <a:latin typeface="Calibri" panose="020F0502020204030204" pitchFamily="34" charset="0"/>
                        </a:rPr>
                        <a:t>Dev</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2:30 to 13: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Lunc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30 to 15: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II - </a:t>
                      </a:r>
                      <a:r>
                        <a:rPr lang="en-US" sz="2400" dirty="0">
                          <a:solidFill>
                            <a:schemeClr val="tx1"/>
                          </a:solidFill>
                          <a:effectLst/>
                          <a:latin typeface="Calibri" panose="020F0502020204030204" pitchFamily="34" charset="0"/>
                        </a:rPr>
                        <a:t>Dev </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5:00 to 15: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Break</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5:30 to </a:t>
                      </a:r>
                      <a:r>
                        <a:rPr lang="en-US" sz="2400" dirty="0" smtClean="0">
                          <a:solidFill>
                            <a:schemeClr val="tx1"/>
                          </a:solidFill>
                          <a:effectLst/>
                          <a:latin typeface="Calibri" panose="020F0502020204030204" pitchFamily="34" charset="0"/>
                        </a:rPr>
                        <a:t>16:15</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V</a:t>
                      </a:r>
                      <a:r>
                        <a:rPr lang="en-US" sz="2400" baseline="0" dirty="0" smtClean="0">
                          <a:solidFill>
                            <a:schemeClr val="tx1"/>
                          </a:solidFill>
                          <a:effectLst/>
                          <a:latin typeface="Calibri" panose="020F0502020204030204" pitchFamily="34" charset="0"/>
                        </a:rPr>
                        <a:t> – Publish and ALM </a:t>
                      </a:r>
                      <a:r>
                        <a:rPr lang="en-US" sz="2400" baseline="0" dirty="0" err="1" smtClean="0">
                          <a:solidFill>
                            <a:schemeClr val="tx1"/>
                          </a:solidFill>
                          <a:effectLst/>
                          <a:latin typeface="Calibri" panose="020F0502020204030204" pitchFamily="34" charset="0"/>
                        </a:rPr>
                        <a:t>viaVisual</a:t>
                      </a:r>
                      <a:r>
                        <a:rPr lang="en-US" sz="2400" baseline="0" dirty="0" smtClean="0">
                          <a:solidFill>
                            <a:schemeClr val="tx1"/>
                          </a:solidFill>
                          <a:effectLst/>
                          <a:latin typeface="Calibri" panose="020F0502020204030204" pitchFamily="34" charset="0"/>
                        </a:rPr>
                        <a:t> Studio Online</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395569477"/>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6:15</a:t>
                      </a:r>
                      <a:r>
                        <a:rPr lang="en-US" sz="2400" baseline="0" dirty="0" smtClean="0">
                          <a:solidFill>
                            <a:schemeClr val="tx1"/>
                          </a:solidFill>
                          <a:effectLst/>
                          <a:latin typeface="Calibri" panose="020F0502020204030204" pitchFamily="34" charset="0"/>
                        </a:rPr>
                        <a:t> to 16:45</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Application Insights</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752943933"/>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6:45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7:00</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Closing</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bl>
          </a:graphicData>
        </a:graphic>
      </p:graphicFrame>
    </p:spTree>
    <p:extLst>
      <p:ext uri="{BB962C8B-B14F-4D97-AF65-F5344CB8AC3E}">
        <p14:creationId xmlns:p14="http://schemas.microsoft.com/office/powerpoint/2010/main" val="2518720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nda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15600511"/>
              </p:ext>
            </p:extLst>
          </p:nvPr>
        </p:nvGraphicFramePr>
        <p:xfrm>
          <a:off x="2332891" y="1417059"/>
          <a:ext cx="8932986" cy="4707896"/>
        </p:xfrm>
        <a:graphic>
          <a:graphicData uri="http://schemas.openxmlformats.org/drawingml/2006/table">
            <a:tbl>
              <a:tblPr/>
              <a:tblGrid>
                <a:gridCol w="2028094">
                  <a:extLst>
                    <a:ext uri="{9D8B030D-6E8A-4147-A177-3AD203B41FA5}">
                      <a16:colId xmlns:a16="http://schemas.microsoft.com/office/drawing/2014/main" val="3055611613"/>
                    </a:ext>
                  </a:extLst>
                </a:gridCol>
                <a:gridCol w="6904892">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9:30 to 10: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Gates Ope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10:4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Welco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0:45 to 12: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uthentica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2:00 to 13: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Lunc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00 to 13: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xPl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30 to 14: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ManifoldJ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4:15 to 15: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DIY xPl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5:15 to 16: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JQuery Plug-i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752943933"/>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6:00 to 16: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DIY JQuer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bl>
          </a:graphicData>
        </a:graphic>
      </p:graphicFrame>
    </p:spTree>
    <p:extLst>
      <p:ext uri="{BB962C8B-B14F-4D97-AF65-F5344CB8AC3E}">
        <p14:creationId xmlns:p14="http://schemas.microsoft.com/office/powerpoint/2010/main" val="2857239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555" y="2430443"/>
            <a:ext cx="2705774" cy="3400252"/>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8459" y="2430444"/>
            <a:ext cx="2824090" cy="3400253"/>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2717" y="2430445"/>
            <a:ext cx="2688168" cy="3400253"/>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965" y="1075639"/>
            <a:ext cx="8910071" cy="999971"/>
          </a:xfrm>
          <a:prstGeom prst="rect">
            <a:avLst/>
          </a:prstGeom>
        </p:spPr>
        <p:txBody>
          <a:bodyPr wrap="square">
            <a:spAutoFit/>
          </a:bodyPr>
          <a:lstStyle/>
          <a:p>
            <a:pPr algn="ctr" defTabSz="914043" fontAlgn="base">
              <a:lnSpc>
                <a:spcPct val="90000"/>
              </a:lnSpc>
              <a:spcBef>
                <a:spcPct val="0"/>
              </a:spcBef>
              <a:spcAft>
                <a:spcPct val="0"/>
              </a:spcAft>
              <a:defRPr/>
            </a:pPr>
            <a:r>
              <a:rPr lang="en-US" sz="3283"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3"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3"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3"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4253379000"/>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Assessments</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885966796"/>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055114"/>
          </a:xfrm>
        </p:spPr>
        <p:txBody>
          <a:bodyPr/>
          <a:lstStyle/>
          <a:p>
            <a:r>
              <a:rPr lang="en-US" dirty="0" smtClean="0">
                <a:solidFill>
                  <a:schemeClr val="tx1"/>
                </a:solidFill>
              </a:rPr>
              <a:t> To be placed, you must complete assessment</a:t>
            </a:r>
          </a:p>
          <a:p>
            <a:r>
              <a:rPr lang="en-US" dirty="0" smtClean="0">
                <a:solidFill>
                  <a:schemeClr val="tx1"/>
                </a:solidFill>
              </a:rPr>
              <a:t> In person only</a:t>
            </a:r>
          </a:p>
          <a:p>
            <a:r>
              <a:rPr lang="en-US" dirty="0">
                <a:solidFill>
                  <a:schemeClr val="tx1"/>
                </a:solidFill>
              </a:rPr>
              <a:t> </a:t>
            </a:r>
            <a:r>
              <a:rPr lang="en-US" dirty="0" smtClean="0">
                <a:solidFill>
                  <a:schemeClr val="tx1"/>
                </a:solidFill>
              </a:rPr>
              <a:t>Time Slot booking will be released soon</a:t>
            </a:r>
          </a:p>
        </p:txBody>
      </p:sp>
      <p:sp>
        <p:nvSpPr>
          <p:cNvPr id="3" name="Title 2"/>
          <p:cNvSpPr>
            <a:spLocks noGrp="1"/>
          </p:cNvSpPr>
          <p:nvPr>
            <p:ph type="title"/>
          </p:nvPr>
        </p:nvSpPr>
        <p:spPr/>
        <p:txBody>
          <a:bodyPr/>
          <a:lstStyle/>
          <a:p>
            <a:r>
              <a:rPr lang="en-US" dirty="0" smtClean="0"/>
              <a:t>Assessment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18360116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915192"/>
          </a:xfrm>
        </p:spPr>
        <p:txBody>
          <a:bodyPr/>
          <a:lstStyle/>
          <a:p>
            <a:pPr lvl="1">
              <a:buFont typeface="Wingdings" panose="05000000000000000000" pitchFamily="2" charset="2"/>
              <a:buChar char="§"/>
            </a:pPr>
            <a:r>
              <a:rPr lang="en-US" sz="3600" dirty="0" smtClean="0">
                <a:solidFill>
                  <a:schemeClr val="tx1"/>
                </a:solidFill>
              </a:rPr>
              <a:t> Required</a:t>
            </a:r>
            <a:r>
              <a:rPr lang="en-US" sz="3600" dirty="0" smtClean="0">
                <a:solidFill>
                  <a:schemeClr val="tx1"/>
                </a:solidFill>
              </a:rPr>
              <a:t>:</a:t>
            </a:r>
            <a:endParaRPr lang="en-US" sz="2800" dirty="0" smtClean="0">
              <a:solidFill>
                <a:schemeClr val="tx1"/>
              </a:solidFill>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Web Component</a:t>
            </a:r>
          </a:p>
          <a:p>
            <a:pPr lvl="2">
              <a:buFont typeface="Arial" panose="020B0604020202020204" pitchFamily="34" charset="0"/>
              <a:buChar char="•"/>
            </a:pPr>
            <a:r>
              <a:rPr lang="en-US" sz="2800" dirty="0" smtClean="0">
                <a:solidFill>
                  <a:schemeClr val="tx1"/>
                </a:solidFill>
                <a:latin typeface="+mj-lt"/>
              </a:rPr>
              <a:t> API Component</a:t>
            </a:r>
          </a:p>
          <a:p>
            <a:pPr lvl="1"/>
            <a:endParaRPr lang="en-US" sz="1800" dirty="0">
              <a:solidFill>
                <a:schemeClr val="tx1"/>
              </a:solidFill>
            </a:endParaRPr>
          </a:p>
          <a:p>
            <a:pPr lvl="1">
              <a:buFont typeface="Wingdings" panose="05000000000000000000" pitchFamily="2" charset="2"/>
              <a:buChar char="§"/>
            </a:pPr>
            <a:r>
              <a:rPr lang="en-US" sz="2800" dirty="0" smtClean="0">
                <a:solidFill>
                  <a:schemeClr val="tx1"/>
                </a:solidFill>
              </a:rPr>
              <a:t> </a:t>
            </a:r>
            <a:r>
              <a:rPr lang="en-US" sz="3600" dirty="0" smtClean="0">
                <a:solidFill>
                  <a:schemeClr val="tx1"/>
                </a:solidFill>
              </a:rPr>
              <a:t>Additional Features (Minimum 2):</a:t>
            </a:r>
            <a:endParaRPr lang="en-US" sz="2800" dirty="0" smtClean="0">
              <a:solidFill>
                <a:schemeClr val="tx1"/>
              </a:solidFill>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Authentication</a:t>
            </a:r>
          </a:p>
          <a:p>
            <a:pPr lvl="2">
              <a:buFont typeface="Arial" panose="020B0604020202020204" pitchFamily="34" charset="0"/>
              <a:buChar char="•"/>
            </a:pPr>
            <a:r>
              <a:rPr lang="en-US" sz="2800" dirty="0" smtClean="0">
                <a:solidFill>
                  <a:schemeClr val="tx1"/>
                </a:solidFill>
                <a:latin typeface="+mj-lt"/>
              </a:rPr>
              <a:t> JQuery Plug-ins</a:t>
            </a:r>
          </a:p>
          <a:p>
            <a:pPr lvl="2">
              <a:buFont typeface="Arial" panose="020B0604020202020204" pitchFamily="34" charset="0"/>
              <a:buChar char="•"/>
            </a:pPr>
            <a:r>
              <a:rPr lang="en-US" sz="2800" dirty="0" smtClean="0">
                <a:solidFill>
                  <a:schemeClr val="tx1"/>
                </a:solidFill>
                <a:latin typeface="+mj-lt"/>
              </a:rPr>
              <a:t> Cross-Platform Hosted App (through Manifold JS)</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Source-Controlled via GitHub and Managed via Visual Studio Online</a:t>
            </a:r>
          </a:p>
          <a:p>
            <a:pPr lvl="2">
              <a:buFont typeface="Arial" panose="020B0604020202020204" pitchFamily="34" charset="0"/>
              <a:buChar char="•"/>
            </a:pPr>
            <a:r>
              <a:rPr lang="en-US" sz="2800" dirty="0" smtClean="0">
                <a:solidFill>
                  <a:schemeClr val="tx1"/>
                </a:solidFill>
                <a:latin typeface="+mj-lt"/>
              </a:rPr>
              <a:t> And more..</a:t>
            </a:r>
          </a:p>
        </p:txBody>
      </p:sp>
      <p:sp>
        <p:nvSpPr>
          <p:cNvPr id="3" name="Title 2"/>
          <p:cNvSpPr>
            <a:spLocks noGrp="1"/>
          </p:cNvSpPr>
          <p:nvPr>
            <p:ph type="title"/>
          </p:nvPr>
        </p:nvSpPr>
        <p:spPr/>
        <p:txBody>
          <a:bodyPr/>
          <a:lstStyle/>
          <a:p>
            <a:r>
              <a:rPr lang="en-US" dirty="0" smtClean="0"/>
              <a:t>Assessments - </a:t>
            </a:r>
            <a:r>
              <a:rPr lang="en-US" dirty="0">
                <a:solidFill>
                  <a:schemeClr val="tx1"/>
                </a:solidFill>
              </a:rPr>
              <a:t>Deliverables</a:t>
            </a:r>
            <a:endParaRPr lang="en-US" dirty="0"/>
          </a:p>
        </p:txBody>
      </p:sp>
    </p:spTree>
    <p:extLst>
      <p:ext uri="{BB962C8B-B14F-4D97-AF65-F5344CB8AC3E}">
        <p14:creationId xmlns:p14="http://schemas.microsoft.com/office/powerpoint/2010/main" val="3920874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anim calcmode="lin" valueType="num">
                                      <p:cBhvr additive="base">
                                        <p:cTn id="1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4" end="4"/>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anim calcmode="lin" valueType="num">
                                      <p:cBhvr additive="base">
                                        <p:cTn id="1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5" end="5"/>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anim calcmode="lin" valueType="num">
                                      <p:cBhvr additive="base">
                                        <p:cTn id="2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
                                            <p:txEl>
                                              <p:pRg st="6" end="6"/>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anim calcmode="lin" valueType="num">
                                      <p:cBhvr additive="base">
                                        <p:cTn id="2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
                                            <p:txEl>
                                              <p:pRg st="7" end="7"/>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 calcmode="lin" valueType="num">
                                      <p:cBhvr additive="base">
                                        <p:cTn id="31"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8" end="8"/>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
                                            <p:txEl>
                                              <p:pRg st="9" end="9"/>
                                            </p:txEl>
                                          </p:spTgt>
                                        </p:tgtEl>
                                        <p:attrNameLst>
                                          <p:attrName>style.visibility</p:attrName>
                                        </p:attrNameLst>
                                      </p:cBhvr>
                                      <p:to>
                                        <p:strVal val="visible"/>
                                      </p:to>
                                    </p:set>
                                    <p:anim calcmode="lin" valueType="num">
                                      <p:cBhvr additive="base">
                                        <p:cTn id="35"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0292" y="2771476"/>
            <a:ext cx="11154010" cy="1082067"/>
          </a:xfrm>
        </p:spPr>
        <p:txBody>
          <a:bodyPr/>
          <a:lstStyle/>
          <a:p>
            <a:pPr algn="ctr"/>
            <a:r>
              <a:rPr lang="en-NZ" sz="6600" dirty="0" err="1" smtClean="0"/>
              <a:t>msa.ms</a:t>
            </a:r>
            <a:r>
              <a:rPr lang="en-NZ" sz="6600" dirty="0" smtClean="0"/>
              <a:t>/drive</a:t>
            </a:r>
            <a:endParaRPr lang="en-NZ" sz="6600" dirty="0"/>
          </a:p>
        </p:txBody>
      </p:sp>
      <p:sp>
        <p:nvSpPr>
          <p:cNvPr id="6"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marL="228766" indent="-228766" algn="l" defTabSz="914367" rtl="0" eaLnBrk="1" latinLnBrk="0" hangingPunct="1">
              <a:lnSpc>
                <a:spcPct val="90000"/>
              </a:lnSpc>
              <a:spcBef>
                <a:spcPct val="0"/>
              </a:spcBef>
              <a:buNone/>
              <a:defRPr lang="en-US" sz="5882"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8766" marR="0" lvl="0" indent="-228766" algn="l" defTabSz="914367" rtl="0" eaLnBrk="1" fontAlgn="auto" latinLnBrk="0" hangingPunct="1">
              <a:lnSpc>
                <a:spcPct val="90000"/>
              </a:lnSpc>
              <a:spcBef>
                <a:spcPct val="0"/>
              </a:spcBef>
              <a:spcAft>
                <a:spcPts val="0"/>
              </a:spcAft>
              <a:buClrTx/>
              <a:buSzTx/>
              <a:buFontTx/>
              <a:buNone/>
              <a:tabLst/>
              <a:defRPr/>
            </a:pPr>
            <a:r>
              <a:rPr kumimoji="0" lang="en-US" sz="5882" b="0" i="0" u="none" strike="noStrike" kern="1200" cap="none" spc="-100" normalizeH="0" baseline="0" noProof="0" smtClean="0">
                <a:ln w="3175">
                  <a:noFill/>
                </a:ln>
                <a:gradFill>
                  <a:gsLst>
                    <a:gs pos="1250">
                      <a:schemeClr val="tx1"/>
                    </a:gs>
                    <a:gs pos="100000">
                      <a:schemeClr val="tx1"/>
                    </a:gs>
                  </a:gsLst>
                  <a:lin ang="5400000" scaled="0"/>
                </a:gradFill>
                <a:effectLst/>
                <a:uLnTx/>
                <a:uFillTx/>
                <a:latin typeface="+mj-lt"/>
                <a:ea typeface="+mn-ea"/>
                <a:cs typeface="Segoe UI" pitchFamily="34" charset="0"/>
              </a:rPr>
              <a:t>Assessments - </a:t>
            </a:r>
            <a:r>
              <a:rPr kumimoji="0" lang="en-US" sz="5882" b="0" i="0" u="none" strike="noStrike" kern="1200" cap="none" spc="-100" normalizeH="0" baseline="0" noProof="0" smtClean="0">
                <a:ln w="3175">
                  <a:noFill/>
                </a:ln>
                <a:solidFill>
                  <a:schemeClr val="tx1"/>
                </a:solidFill>
                <a:effectLst/>
                <a:uLnTx/>
                <a:uFillTx/>
                <a:latin typeface="+mj-lt"/>
                <a:ea typeface="+mn-ea"/>
                <a:cs typeface="Segoe UI" pitchFamily="34" charset="0"/>
              </a:rPr>
              <a:t>Scenarios</a:t>
            </a:r>
            <a:endParaRPr kumimoji="0" lang="en-US" sz="5882"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Tree>
    <p:extLst>
      <p:ext uri="{BB962C8B-B14F-4D97-AF65-F5344CB8AC3E}">
        <p14:creationId xmlns:p14="http://schemas.microsoft.com/office/powerpoint/2010/main" val="1270098896"/>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180953"/>
          </a:xfrm>
        </p:spPr>
        <p:txBody>
          <a:bodyPr/>
          <a:lstStyle/>
          <a:p>
            <a:pPr>
              <a:buFont typeface="Arial" charset="0"/>
              <a:buChar char="•"/>
            </a:pPr>
            <a:endParaRPr lang="en-US" dirty="0">
              <a:solidFill>
                <a:schemeClr val="tx1"/>
              </a:solidFill>
            </a:endParaRPr>
          </a:p>
          <a:p>
            <a:pPr lvl="3">
              <a:buFont typeface="Arial" charset="0"/>
              <a:buChar char="•"/>
            </a:pPr>
            <a:r>
              <a:rPr lang="en-US" sz="3208" dirty="0" smtClean="0">
                <a:solidFill>
                  <a:schemeClr val="tx1"/>
                </a:solidFill>
              </a:rPr>
              <a:t> </a:t>
            </a:r>
            <a:r>
              <a:rPr lang="en-US" sz="3600" dirty="0" smtClean="0">
                <a:solidFill>
                  <a:schemeClr val="tx1"/>
                </a:solidFill>
                <a:latin typeface="+mj-lt"/>
              </a:rPr>
              <a:t>Two main scenarios</a:t>
            </a:r>
          </a:p>
          <a:p>
            <a:pPr lvl="4">
              <a:buFont typeface="Arial" charset="0"/>
              <a:buChar char="•"/>
            </a:pPr>
            <a:r>
              <a:rPr lang="en-US" sz="3200" dirty="0" smtClean="0">
                <a:solidFill>
                  <a:schemeClr val="tx1"/>
                </a:solidFill>
                <a:latin typeface="+mj-lt"/>
              </a:rPr>
              <a:t> Contoso </a:t>
            </a:r>
          </a:p>
          <a:p>
            <a:pPr lvl="4">
              <a:buFont typeface="Arial" charset="0"/>
              <a:buChar char="•"/>
            </a:pPr>
            <a:r>
              <a:rPr lang="en-US" sz="3200" dirty="0" smtClean="0">
                <a:solidFill>
                  <a:schemeClr val="tx1"/>
                </a:solidFill>
                <a:latin typeface="+mj-lt"/>
              </a:rPr>
              <a:t> </a:t>
            </a:r>
            <a:r>
              <a:rPr lang="en-US" sz="3200" dirty="0" err="1" smtClean="0">
                <a:solidFill>
                  <a:schemeClr val="tx1"/>
                </a:solidFill>
                <a:latin typeface="+mj-lt"/>
              </a:rPr>
              <a:t>Nandoso</a:t>
            </a:r>
            <a:endParaRPr lang="en-US" sz="3200" dirty="0" smtClean="0">
              <a:solidFill>
                <a:schemeClr val="tx1"/>
              </a:solidFill>
              <a:latin typeface="+mj-lt"/>
            </a:endParaRPr>
          </a:p>
          <a:p>
            <a:pPr lvl="4">
              <a:buFont typeface="Arial" charset="0"/>
              <a:buChar char="•"/>
            </a:pPr>
            <a:endParaRPr lang="en-US" sz="3200" dirty="0" smtClean="0">
              <a:solidFill>
                <a:schemeClr val="tx1"/>
              </a:solidFill>
              <a:latin typeface="+mj-lt"/>
            </a:endParaRPr>
          </a:p>
          <a:p>
            <a:pPr lvl="3">
              <a:buFont typeface="Arial" charset="0"/>
              <a:buChar char="•"/>
            </a:pPr>
            <a:r>
              <a:rPr lang="en-US" sz="3600" dirty="0" smtClean="0">
                <a:solidFill>
                  <a:schemeClr val="tx1"/>
                </a:solidFill>
                <a:latin typeface="+mj-lt"/>
              </a:rPr>
              <a:t> Or Your own </a:t>
            </a:r>
          </a:p>
          <a:p>
            <a:pPr lvl="4">
              <a:buFont typeface="Arial" charset="0"/>
              <a:buChar char="•"/>
            </a:pPr>
            <a:r>
              <a:rPr lang="en-US" sz="3600" dirty="0">
                <a:solidFill>
                  <a:schemeClr val="tx1"/>
                </a:solidFill>
                <a:latin typeface="+mj-lt"/>
              </a:rPr>
              <a:t> </a:t>
            </a:r>
            <a:r>
              <a:rPr lang="en-US" sz="3600" dirty="0" smtClean="0">
                <a:solidFill>
                  <a:schemeClr val="tx1"/>
                </a:solidFill>
                <a:latin typeface="+mj-lt"/>
              </a:rPr>
              <a:t>Similar Workload </a:t>
            </a:r>
          </a:p>
        </p:txBody>
      </p:sp>
      <p:sp>
        <p:nvSpPr>
          <p:cNvPr id="3" name="Title 2"/>
          <p:cNvSpPr>
            <a:spLocks noGrp="1"/>
          </p:cNvSpPr>
          <p:nvPr>
            <p:ph type="title"/>
          </p:nvPr>
        </p:nvSpPr>
        <p:spPr/>
        <p:txBody>
          <a:bodyPr/>
          <a:lstStyle/>
          <a:p>
            <a:r>
              <a:rPr lang="en-US" dirty="0" smtClean="0"/>
              <a:t>Assessments - </a:t>
            </a:r>
            <a:r>
              <a:rPr lang="en-US" dirty="0">
                <a:solidFill>
                  <a:schemeClr val="tx1"/>
                </a:solidFill>
              </a:rPr>
              <a:t>Scenarios</a:t>
            </a:r>
            <a:endParaRPr lang="en-US" dirty="0"/>
          </a:p>
        </p:txBody>
      </p:sp>
    </p:spTree>
    <p:extLst>
      <p:ext uri="{BB962C8B-B14F-4D97-AF65-F5344CB8AC3E}">
        <p14:creationId xmlns:p14="http://schemas.microsoft.com/office/powerpoint/2010/main" val="229927206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88670" y="2313087"/>
            <a:ext cx="10595610" cy="899665"/>
          </a:xfrm>
        </p:spPr>
        <p:txBody>
          <a:bodyPr/>
          <a:lstStyle/>
          <a:p>
            <a:r>
              <a:rPr lang="en-NZ" dirty="0" smtClean="0"/>
              <a:t>Scenario </a:t>
            </a:r>
            <a:r>
              <a:rPr lang="en-NZ" dirty="0"/>
              <a:t>1 </a:t>
            </a:r>
            <a:r>
              <a:rPr lang="en-NZ" dirty="0" smtClean="0"/>
              <a:t>– University </a:t>
            </a:r>
            <a:r>
              <a:rPr lang="en-NZ" dirty="0"/>
              <a:t>of Contoso</a:t>
            </a:r>
          </a:p>
        </p:txBody>
      </p:sp>
    </p:spTree>
    <p:extLst>
      <p:ext uri="{BB962C8B-B14F-4D97-AF65-F5344CB8AC3E}">
        <p14:creationId xmlns:p14="http://schemas.microsoft.com/office/powerpoint/2010/main" val="2998380530"/>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267130"/>
          </a:xfrm>
        </p:spPr>
        <p:txBody>
          <a:bodyPr/>
          <a:lstStyle/>
          <a:p>
            <a:pPr marL="0" indent="0">
              <a:buNone/>
            </a:pPr>
            <a:r>
              <a:rPr lang="en-US" b="1" dirty="0" smtClean="0">
                <a:solidFill>
                  <a:schemeClr val="tx1"/>
                </a:solidFill>
              </a:rPr>
              <a:t>Project Description: </a:t>
            </a:r>
          </a:p>
          <a:p>
            <a:pPr marL="0" indent="0">
              <a:buNone/>
            </a:pPr>
            <a:endParaRPr lang="en-US" sz="2000" b="1" dirty="0" smtClean="0">
              <a:solidFill>
                <a:schemeClr val="tx1"/>
              </a:solidFill>
            </a:endParaRPr>
          </a:p>
          <a:p>
            <a:pPr marL="0" indent="0">
              <a:buNone/>
            </a:pPr>
            <a:r>
              <a:rPr lang="en-US" sz="3200" dirty="0"/>
              <a:t>The University of Contoso is an internationally renowned education institute that provides a variety of degrees options to over </a:t>
            </a:r>
            <a:r>
              <a:rPr lang="en-US" sz="3200" u="sng" dirty="0"/>
              <a:t>20,000 students</a:t>
            </a:r>
            <a:r>
              <a:rPr lang="en-US" sz="3200" dirty="0"/>
              <a:t> across multiple campuses. Many students have complained about </a:t>
            </a:r>
            <a:r>
              <a:rPr lang="en-US" sz="3200" dirty="0" smtClean="0"/>
              <a:t>lack </a:t>
            </a:r>
            <a:r>
              <a:rPr lang="en-US" sz="3200" dirty="0"/>
              <a:t>of </a:t>
            </a:r>
            <a:r>
              <a:rPr lang="en-US" sz="3200" dirty="0" err="1" smtClean="0"/>
              <a:t>personalised</a:t>
            </a:r>
            <a:r>
              <a:rPr lang="en-US" sz="3200" dirty="0" smtClean="0"/>
              <a:t> information and </a:t>
            </a:r>
            <a:r>
              <a:rPr lang="en-US" sz="3200" dirty="0"/>
              <a:t>the IT team would like to address this quickly by creating a </a:t>
            </a:r>
            <a:r>
              <a:rPr lang="en-US" sz="3200" b="1" dirty="0" smtClean="0">
                <a:solidFill>
                  <a:schemeClr val="tx1"/>
                </a:solidFill>
              </a:rPr>
              <a:t>Web App </a:t>
            </a:r>
            <a:r>
              <a:rPr lang="en-US" sz="3200" dirty="0"/>
              <a:t>that can deliver </a:t>
            </a:r>
            <a:r>
              <a:rPr lang="en-US" sz="3200" dirty="0" smtClean="0"/>
              <a:t>this. The </a:t>
            </a:r>
            <a:r>
              <a:rPr lang="en-US" sz="3200" dirty="0"/>
              <a:t>app will be </a:t>
            </a:r>
            <a:r>
              <a:rPr lang="en-US" sz="3200" u="sng" dirty="0"/>
              <a:t>standalone</a:t>
            </a:r>
            <a:r>
              <a:rPr lang="en-US" sz="3200" dirty="0"/>
              <a:t> for now, but will have the </a:t>
            </a:r>
            <a:r>
              <a:rPr lang="en-US" sz="3200" u="sng" dirty="0"/>
              <a:t>potential to be integrated </a:t>
            </a:r>
            <a:r>
              <a:rPr lang="en-US" sz="3200" dirty="0"/>
              <a:t>into the university </a:t>
            </a:r>
            <a:r>
              <a:rPr lang="en-US" sz="3200" dirty="0" smtClean="0"/>
              <a:t>system later on.</a:t>
            </a:r>
            <a:endParaRPr lang="en-US" sz="3200" u="sng" dirty="0" smtClean="0">
              <a:solidFill>
                <a:schemeClr val="tx1"/>
              </a:solidFill>
            </a:endParaRPr>
          </a:p>
        </p:txBody>
      </p:sp>
      <p:sp>
        <p:nvSpPr>
          <p:cNvPr id="3" name="Title 2"/>
          <p:cNvSpPr>
            <a:spLocks noGrp="1"/>
          </p:cNvSpPr>
          <p:nvPr>
            <p:ph type="title"/>
          </p:nvPr>
        </p:nvSpPr>
        <p:spPr/>
        <p:txBody>
          <a:bodyPr/>
          <a:lstStyle/>
          <a:p>
            <a:r>
              <a:rPr lang="en-NZ" dirty="0"/>
              <a:t>University of Contoso</a:t>
            </a:r>
            <a:endParaRPr lang="en-US" dirty="0"/>
          </a:p>
        </p:txBody>
      </p:sp>
    </p:spTree>
    <p:extLst>
      <p:ext uri="{BB962C8B-B14F-4D97-AF65-F5344CB8AC3E}">
        <p14:creationId xmlns:p14="http://schemas.microsoft.com/office/powerpoint/2010/main" val="276164829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Scenario 2 – </a:t>
            </a:r>
            <a:r>
              <a:rPr lang="en-NZ" dirty="0" err="1" smtClean="0"/>
              <a:t>Nandoso</a:t>
            </a:r>
            <a:endParaRPr lang="en-NZ" dirty="0"/>
          </a:p>
        </p:txBody>
      </p:sp>
    </p:spTree>
    <p:extLst>
      <p:ext uri="{BB962C8B-B14F-4D97-AF65-F5344CB8AC3E}">
        <p14:creationId xmlns:p14="http://schemas.microsoft.com/office/powerpoint/2010/main" val="348994313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667240"/>
          </a:xfrm>
        </p:spPr>
        <p:txBody>
          <a:bodyPr/>
          <a:lstStyle/>
          <a:p>
            <a:pPr marL="0" indent="0">
              <a:buNone/>
            </a:pPr>
            <a:r>
              <a:rPr lang="en-US" b="1" dirty="0" smtClean="0">
                <a:solidFill>
                  <a:schemeClr val="tx1"/>
                </a:solidFill>
              </a:rPr>
              <a:t>Project Description: </a:t>
            </a:r>
          </a:p>
          <a:p>
            <a:pPr marL="0" indent="0">
              <a:buNone/>
            </a:pPr>
            <a:endParaRPr lang="en-US" sz="2000" b="1" dirty="0" smtClean="0">
              <a:solidFill>
                <a:schemeClr val="tx1"/>
              </a:solidFill>
            </a:endParaRPr>
          </a:p>
          <a:p>
            <a:pPr marL="0" indent="0">
              <a:buNone/>
            </a:pPr>
            <a:r>
              <a:rPr lang="en-US" sz="3600" dirty="0" err="1"/>
              <a:t>Nandoso</a:t>
            </a:r>
            <a:r>
              <a:rPr lang="en-US" sz="3600" dirty="0"/>
              <a:t> is an international casual dining restaurant chain, operated by franchisees, that specializes in flame-grilled chicken. The </a:t>
            </a:r>
            <a:r>
              <a:rPr lang="en-US" sz="3600" dirty="0" err="1"/>
              <a:t>Nandoso</a:t>
            </a:r>
            <a:r>
              <a:rPr lang="en-US" sz="3600" dirty="0"/>
              <a:t> Mt Eden franchise is frequently visited by Microsoft Student Partners, and influenced by their tech talk, the manager would like to </a:t>
            </a:r>
            <a:r>
              <a:rPr lang="en-US" sz="3600" b="1" dirty="0">
                <a:solidFill>
                  <a:schemeClr val="tx1"/>
                </a:solidFill>
              </a:rPr>
              <a:t>create an in-store </a:t>
            </a:r>
            <a:r>
              <a:rPr lang="en-US" sz="3600" b="1" dirty="0" smtClean="0">
                <a:solidFill>
                  <a:schemeClr val="tx1"/>
                </a:solidFill>
              </a:rPr>
              <a:t>Web App </a:t>
            </a:r>
            <a:r>
              <a:rPr lang="en-US" sz="3600" dirty="0"/>
              <a:t>for customers to </a:t>
            </a:r>
            <a:r>
              <a:rPr lang="en-US" sz="3600" u="sng" dirty="0"/>
              <a:t>improve their customer service </a:t>
            </a:r>
            <a:r>
              <a:rPr lang="en-US" sz="3600" dirty="0"/>
              <a:t>and </a:t>
            </a:r>
            <a:r>
              <a:rPr lang="en-US" sz="3600" u="sng" dirty="0"/>
              <a:t>add value to their </a:t>
            </a:r>
            <a:r>
              <a:rPr lang="en-US" sz="3600" u="sng" dirty="0" smtClean="0"/>
              <a:t>restaurant.</a:t>
            </a:r>
            <a:endParaRPr lang="en-US" sz="3600" u="sng" dirty="0" smtClean="0">
              <a:solidFill>
                <a:schemeClr val="tx1"/>
              </a:solidFill>
            </a:endParaRPr>
          </a:p>
        </p:txBody>
      </p:sp>
      <p:sp>
        <p:nvSpPr>
          <p:cNvPr id="3" name="Title 2"/>
          <p:cNvSpPr>
            <a:spLocks noGrp="1"/>
          </p:cNvSpPr>
          <p:nvPr>
            <p:ph type="title"/>
          </p:nvPr>
        </p:nvSpPr>
        <p:spPr/>
        <p:txBody>
          <a:bodyPr/>
          <a:lstStyle/>
          <a:p>
            <a:r>
              <a:rPr lang="en-US" dirty="0" err="1" smtClean="0"/>
              <a:t>Nandoso</a:t>
            </a:r>
            <a:endParaRPr lang="en-US" dirty="0"/>
          </a:p>
        </p:txBody>
      </p:sp>
    </p:spTree>
    <p:extLst>
      <p:ext uri="{BB962C8B-B14F-4D97-AF65-F5344CB8AC3E}">
        <p14:creationId xmlns:p14="http://schemas.microsoft.com/office/powerpoint/2010/main" val="4154020288"/>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4734951"/>
          </a:xfrm>
        </p:spPr>
        <p:txBody>
          <a:bodyPr/>
          <a:lstStyle/>
          <a:p>
            <a:r>
              <a:rPr lang="en-US" dirty="0">
                <a:solidFill>
                  <a:schemeClr val="tx1"/>
                </a:solidFill>
              </a:rPr>
              <a:t> </a:t>
            </a:r>
            <a:r>
              <a:rPr lang="en-US" b="1" u="sng" dirty="0" smtClean="0">
                <a:solidFill>
                  <a:schemeClr val="tx1"/>
                </a:solidFill>
              </a:rPr>
              <a:t>15-minute </a:t>
            </a:r>
            <a:r>
              <a:rPr lang="en-US" dirty="0" smtClean="0">
                <a:solidFill>
                  <a:schemeClr val="tx1"/>
                </a:solidFill>
              </a:rPr>
              <a:t>time slots</a:t>
            </a:r>
          </a:p>
          <a:p>
            <a:pPr marL="0" indent="0">
              <a:buNone/>
            </a:pPr>
            <a:endParaRPr lang="en-US" sz="1600" dirty="0">
              <a:solidFill>
                <a:schemeClr val="tx1"/>
              </a:solidFill>
            </a:endParaRPr>
          </a:p>
          <a:p>
            <a:pPr lvl="4"/>
            <a:r>
              <a:rPr lang="en-US" sz="3600" dirty="0">
                <a:solidFill>
                  <a:schemeClr val="tx1"/>
                </a:solidFill>
              </a:rPr>
              <a:t> </a:t>
            </a:r>
            <a:r>
              <a:rPr lang="en-US" sz="3600" b="1" dirty="0" smtClean="0">
                <a:solidFill>
                  <a:schemeClr val="tx1"/>
                </a:solidFill>
                <a:latin typeface="+mj-lt"/>
              </a:rPr>
              <a:t>7-9 minutes of Presentation</a:t>
            </a:r>
          </a:p>
          <a:p>
            <a:pPr lvl="5"/>
            <a:r>
              <a:rPr lang="en-US" sz="3200" dirty="0" smtClean="0">
                <a:solidFill>
                  <a:schemeClr val="tx1"/>
                </a:solidFill>
                <a:latin typeface="+mj-lt"/>
              </a:rPr>
              <a:t> Slides</a:t>
            </a:r>
          </a:p>
          <a:p>
            <a:pPr lvl="7"/>
            <a:r>
              <a:rPr lang="en-US" sz="2400" dirty="0" smtClean="0">
                <a:latin typeface="+mj-lt"/>
              </a:rPr>
              <a:t>Introduce yourself</a:t>
            </a:r>
          </a:p>
          <a:p>
            <a:pPr lvl="7"/>
            <a:r>
              <a:rPr lang="en-US" sz="2400" dirty="0" smtClean="0">
                <a:solidFill>
                  <a:schemeClr val="tx1"/>
                </a:solidFill>
                <a:latin typeface="+mj-lt"/>
              </a:rPr>
              <a:t>Explain your Scenario</a:t>
            </a:r>
          </a:p>
          <a:p>
            <a:pPr lvl="5"/>
            <a:r>
              <a:rPr lang="en-US" sz="3200" dirty="0" smtClean="0">
                <a:latin typeface="+mj-lt"/>
              </a:rPr>
              <a:t> Demo your solution</a:t>
            </a:r>
          </a:p>
          <a:p>
            <a:pPr lvl="5"/>
            <a:endParaRPr lang="en-US" sz="2400" dirty="0" smtClean="0">
              <a:latin typeface="+mj-lt"/>
            </a:endParaRPr>
          </a:p>
          <a:p>
            <a:pPr lvl="4"/>
            <a:r>
              <a:rPr lang="en-US" sz="3600" dirty="0">
                <a:solidFill>
                  <a:schemeClr val="tx1"/>
                </a:solidFill>
                <a:latin typeface="+mj-lt"/>
              </a:rPr>
              <a:t> </a:t>
            </a:r>
            <a:r>
              <a:rPr lang="en-US" sz="3600" b="1" dirty="0" smtClean="0">
                <a:solidFill>
                  <a:schemeClr val="tx1"/>
                </a:solidFill>
                <a:latin typeface="+mj-lt"/>
              </a:rPr>
              <a:t>3-5 minutes of Questions and Answers</a:t>
            </a:r>
          </a:p>
        </p:txBody>
      </p:sp>
      <p:sp>
        <p:nvSpPr>
          <p:cNvPr id="3" name="Title 2"/>
          <p:cNvSpPr>
            <a:spLocks noGrp="1"/>
          </p:cNvSpPr>
          <p:nvPr>
            <p:ph type="title"/>
          </p:nvPr>
        </p:nvSpPr>
        <p:spPr/>
        <p:txBody>
          <a:bodyPr/>
          <a:lstStyle/>
          <a:p>
            <a:r>
              <a:rPr lang="en-US" dirty="0" smtClean="0"/>
              <a:t>Assessments - Presentations</a:t>
            </a:r>
            <a:endParaRPr lang="en-US" dirty="0"/>
          </a:p>
        </p:txBody>
      </p:sp>
    </p:spTree>
    <p:extLst>
      <p:ext uri="{BB962C8B-B14F-4D97-AF65-F5344CB8AC3E}">
        <p14:creationId xmlns:p14="http://schemas.microsoft.com/office/powerpoint/2010/main" val="361757972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785" y="2430444"/>
            <a:ext cx="2411041" cy="2411041"/>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8459" y="2430444"/>
            <a:ext cx="2824090" cy="3400253"/>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2717" y="2430445"/>
            <a:ext cx="2688168" cy="3400253"/>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9" name="TextBox 18"/>
            <p:cNvSpPr txBox="1"/>
            <p:nvPr/>
          </p:nvSpPr>
          <p:spPr>
            <a:xfrm>
              <a:off x="8183867" y="5153072"/>
              <a:ext cx="2742460"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4520" y="2421263"/>
            <a:ext cx="2411041" cy="2411041"/>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60373" y="2421263"/>
            <a:ext cx="2411041" cy="2411041"/>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11" name="Group 10"/>
          <p:cNvGrpSpPr/>
          <p:nvPr/>
        </p:nvGrpSpPr>
        <p:grpSpPr>
          <a:xfrm>
            <a:off x="1585803" y="2421263"/>
            <a:ext cx="2411041" cy="2411041"/>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228707" y="2039508"/>
            <a:ext cx="11654187" cy="3192909"/>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defRPr/>
            </a:pPr>
            <a:r>
              <a:rPr lang="en-US" sz="16272" spc="-74" dirty="0">
                <a:solidFill>
                  <a:srgbClr val="0078D7"/>
                </a:solidFill>
              </a:rPr>
              <a:t>Azure</a:t>
            </a:r>
            <a:endParaRPr lang="en-US" sz="3920" spc="-74" dirty="0">
              <a:solidFill>
                <a:srgbClr val="0078D7"/>
              </a:solidFill>
            </a:endParaRPr>
          </a:p>
        </p:txBody>
      </p:sp>
    </p:spTree>
    <p:extLst>
      <p:ext uri="{BB962C8B-B14F-4D97-AF65-F5344CB8AC3E}">
        <p14:creationId xmlns:p14="http://schemas.microsoft.com/office/powerpoint/2010/main" val="20001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3"/>
                                        </p:tgtEl>
                                      </p:cBhvr>
                                    </p:animEffect>
                                    <p:set>
                                      <p:cBhvr>
                                        <p:cTn id="21" dur="1" fill="hold">
                                          <p:stCondLst>
                                            <p:cond delay="499"/>
                                          </p:stCondLst>
                                        </p:cTn>
                                        <p:tgtEl>
                                          <p:spTgt spid="3"/>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9"/>
                                        </p:tgtEl>
                                      </p:cBhvr>
                                    </p:animEffect>
                                    <p:set>
                                      <p:cBhvr>
                                        <p:cTn id="24" dur="1" fill="hold">
                                          <p:stCondLst>
                                            <p:cond delay="499"/>
                                          </p:stCondLst>
                                        </p:cTn>
                                        <p:tgtEl>
                                          <p:spTgt spid="9"/>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0"/>
                                        </p:tgtEl>
                                      </p:cBhvr>
                                    </p:animEffect>
                                    <p:set>
                                      <p:cBhvr>
                                        <p:cTn id="27" dur="1" fill="hold">
                                          <p:stCondLst>
                                            <p:cond delay="499"/>
                                          </p:stCondLst>
                                        </p:cTn>
                                        <p:tgtEl>
                                          <p:spTgt spid="10"/>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29"/>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2"/>
                                        </p:tgtEl>
                                      </p:cBhvr>
                                    </p:animEffect>
                                    <p:set>
                                      <p:cBhvr>
                                        <p:cTn id="32" dur="1" fill="hold">
                                          <p:stCondLst>
                                            <p:cond delay="499"/>
                                          </p:stCondLst>
                                        </p:cTn>
                                        <p:tgtEl>
                                          <p:spTgt spid="2"/>
                                        </p:tgtEl>
                                        <p:attrNameLst>
                                          <p:attrName>style.visibility</p:attrName>
                                        </p:attrNameLst>
                                      </p:cBhvr>
                                      <p:to>
                                        <p:strVal val="hidden"/>
                                      </p:to>
                                    </p:se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randombar(horizontal)">
                                      <p:cBhvr>
                                        <p:cTn id="3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6"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ssessments - Presentations</a:t>
            </a:r>
            <a:endParaRPr lang="en-US" dirty="0"/>
          </a:p>
        </p:txBody>
      </p:sp>
      <p:sp>
        <p:nvSpPr>
          <p:cNvPr id="2" name="Text Placeholder 1"/>
          <p:cNvSpPr>
            <a:spLocks noGrp="1"/>
          </p:cNvSpPr>
          <p:nvPr>
            <p:ph type="body" sz="quarter" idx="11"/>
          </p:nvPr>
        </p:nvSpPr>
        <p:spPr>
          <a:xfrm>
            <a:off x="374748" y="1904283"/>
            <a:ext cx="11655840" cy="2018835"/>
          </a:xfrm>
        </p:spPr>
        <p:txBody>
          <a:bodyPr/>
          <a:lstStyle/>
          <a:p>
            <a:pPr marL="0" indent="0">
              <a:buNone/>
            </a:pPr>
            <a:r>
              <a:rPr lang="en-US" b="1" dirty="0" smtClean="0">
                <a:solidFill>
                  <a:schemeClr val="tx1"/>
                </a:solidFill>
              </a:rPr>
              <a:t>Bookings Open at: </a:t>
            </a:r>
          </a:p>
          <a:p>
            <a:pPr marL="0" indent="0">
              <a:buNone/>
            </a:pPr>
            <a:endParaRPr lang="en-US" sz="3600" b="1" dirty="0">
              <a:solidFill>
                <a:schemeClr val="tx1"/>
              </a:solidFill>
            </a:endParaRPr>
          </a:p>
          <a:p>
            <a:pPr marL="0" indent="0">
              <a:buNone/>
            </a:pPr>
            <a:r>
              <a:rPr lang="en-US" sz="3600" b="1" dirty="0" smtClean="0">
                <a:solidFill>
                  <a:schemeClr val="tx1"/>
                </a:solidFill>
              </a:rPr>
              <a:t>			</a:t>
            </a:r>
            <a:r>
              <a:rPr lang="en-US" sz="3600" b="1" dirty="0" smtClean="0">
                <a:solidFill>
                  <a:schemeClr val="tx1"/>
                </a:solidFill>
              </a:rPr>
              <a:t>Saturday, 21</a:t>
            </a:r>
            <a:r>
              <a:rPr lang="en-US" sz="3600" b="1" baseline="30000" dirty="0" smtClean="0">
                <a:solidFill>
                  <a:schemeClr val="tx1"/>
                </a:solidFill>
              </a:rPr>
              <a:t>st</a:t>
            </a:r>
            <a:r>
              <a:rPr lang="en-US" sz="3600" b="1" dirty="0" smtClean="0">
                <a:solidFill>
                  <a:schemeClr val="tx1"/>
                </a:solidFill>
              </a:rPr>
              <a:t> November 2015</a:t>
            </a:r>
          </a:p>
          <a:p>
            <a:pPr marL="0" indent="0">
              <a:buNone/>
            </a:pPr>
            <a:r>
              <a:rPr lang="en-US" sz="3600" b="1" dirty="0">
                <a:solidFill>
                  <a:schemeClr val="tx1"/>
                </a:solidFill>
              </a:rPr>
              <a:t>	</a:t>
            </a:r>
            <a:r>
              <a:rPr lang="en-US" sz="3600" b="1" dirty="0" smtClean="0">
                <a:solidFill>
                  <a:schemeClr val="tx1"/>
                </a:solidFill>
              </a:rPr>
              <a:t>		</a:t>
            </a:r>
            <a:r>
              <a:rPr lang="en-US" sz="3600" b="1" dirty="0">
                <a:solidFill>
                  <a:schemeClr val="tx1"/>
                </a:solidFill>
              </a:rPr>
              <a:t>	</a:t>
            </a:r>
            <a:r>
              <a:rPr lang="en-US" sz="3600" b="1" dirty="0" smtClean="0">
                <a:solidFill>
                  <a:schemeClr val="tx1"/>
                </a:solidFill>
              </a:rPr>
              <a:t>After Lunch break</a:t>
            </a:r>
            <a:endParaRPr lang="en-US" sz="3600" b="1" dirty="0" smtClean="0">
              <a:solidFill>
                <a:schemeClr val="tx1"/>
              </a:solidFill>
            </a:endParaRPr>
          </a:p>
        </p:txBody>
      </p:sp>
      <p:sp>
        <p:nvSpPr>
          <p:cNvPr id="5" name="Title 3"/>
          <p:cNvSpPr txBox="1">
            <a:spLocks/>
          </p:cNvSpPr>
          <p:nvPr/>
        </p:nvSpPr>
        <p:spPr>
          <a:xfrm>
            <a:off x="520155" y="5686521"/>
            <a:ext cx="11154010" cy="234295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NZ" sz="4400" b="0" i="0" u="sng" strike="noStrike" kern="1200" cap="none" spc="-100" normalizeH="0" baseline="0" noProof="0" dirty="0" err="1" smtClean="0">
                <a:ln w="3175">
                  <a:noFill/>
                </a:ln>
                <a:gradFill>
                  <a:gsLst>
                    <a:gs pos="1250">
                      <a:schemeClr val="tx1"/>
                    </a:gs>
                    <a:gs pos="100000">
                      <a:schemeClr val="tx1"/>
                    </a:gs>
                  </a:gsLst>
                  <a:lin ang="5400000" scaled="0"/>
                </a:gradFill>
                <a:effectLst/>
                <a:uLnTx/>
                <a:uFillTx/>
                <a:latin typeface="+mj-lt"/>
                <a:ea typeface="+mn-ea"/>
                <a:cs typeface="Segoe UI" pitchFamily="34" charset="0"/>
              </a:rPr>
              <a:t>msa.ms</a:t>
            </a:r>
            <a:r>
              <a:rPr kumimoji="0" lang="en-NZ" sz="4400" b="0" i="0" u="sng" strike="noStrike" kern="1200" cap="none" spc="-100" normalizeH="0" baseline="0" noProof="0" dirty="0" smtClean="0">
                <a:ln w="3175">
                  <a:noFill/>
                </a:ln>
                <a:gradFill>
                  <a:gsLst>
                    <a:gs pos="1250">
                      <a:schemeClr val="tx1"/>
                    </a:gs>
                    <a:gs pos="100000">
                      <a:schemeClr val="tx1"/>
                    </a:gs>
                  </a:gsLst>
                  <a:lin ang="5400000" scaled="0"/>
                </a:gradFill>
                <a:effectLst/>
                <a:uLnTx/>
                <a:uFillTx/>
                <a:latin typeface="+mj-lt"/>
                <a:ea typeface="+mn-ea"/>
                <a:cs typeface="Segoe UI" pitchFamily="34" charset="0"/>
              </a:rPr>
              <a:t>/drive </a:t>
            </a:r>
            <a:r>
              <a:rPr kumimoji="0" lang="en-NZ" sz="4400" b="0" i="0" u="none" strike="noStrike" kern="1200" cap="none" spc="-100" normalizeH="0" baseline="0" noProof="0" dirty="0" smtClean="0">
                <a:ln w="3175">
                  <a:noFill/>
                </a:ln>
                <a:gradFill>
                  <a:gsLst>
                    <a:gs pos="1250">
                      <a:schemeClr val="tx1"/>
                    </a:gs>
                    <a:gs pos="100000">
                      <a:schemeClr val="tx1"/>
                    </a:gs>
                  </a:gsLst>
                  <a:lin ang="5400000" scaled="0"/>
                </a:gradFill>
                <a:effectLst/>
                <a:uLnTx/>
                <a:uFillTx/>
                <a:latin typeface="+mj-lt"/>
                <a:ea typeface="+mn-ea"/>
                <a:cs typeface="Segoe UI" pitchFamily="34" charset="0"/>
              </a:rPr>
              <a:t>&gt; Phase 2 &gt; Assessment Centre</a:t>
            </a:r>
            <a:endParaRPr kumimoji="0" lang="en-NZ" sz="54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Tree>
    <p:extLst>
      <p:ext uri="{BB962C8B-B14F-4D97-AF65-F5344CB8AC3E}">
        <p14:creationId xmlns:p14="http://schemas.microsoft.com/office/powerpoint/2010/main" val="1007748467"/>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511457"/>
          </a:xfrm>
        </p:spPr>
        <p:txBody>
          <a:bodyPr/>
          <a:lstStyle/>
          <a:p>
            <a:r>
              <a:rPr lang="en-US" sz="3600" dirty="0" smtClean="0">
                <a:solidFill>
                  <a:schemeClr val="tx1"/>
                </a:solidFill>
              </a:rPr>
              <a:t> Every student that passes assessments will be placed</a:t>
            </a:r>
          </a:p>
          <a:p>
            <a:r>
              <a:rPr lang="en-US" sz="3600" dirty="0" smtClean="0">
                <a:solidFill>
                  <a:schemeClr val="tx1"/>
                </a:solidFill>
              </a:rPr>
              <a:t> Self learning is the best learning</a:t>
            </a:r>
          </a:p>
          <a:p>
            <a:r>
              <a:rPr lang="en-US" sz="3600" dirty="0" smtClean="0">
                <a:solidFill>
                  <a:schemeClr val="tx1"/>
                </a:solidFill>
              </a:rPr>
              <a:t> Use us as a guide and not gospel</a:t>
            </a:r>
          </a:p>
          <a:p>
            <a:r>
              <a:rPr lang="en-US" sz="3600" dirty="0">
                <a:solidFill>
                  <a:schemeClr val="tx1"/>
                </a:solidFill>
              </a:rPr>
              <a:t> </a:t>
            </a:r>
            <a:r>
              <a:rPr lang="en-US" sz="3600" dirty="0" smtClean="0">
                <a:solidFill>
                  <a:schemeClr val="tx1"/>
                </a:solidFill>
              </a:rPr>
              <a:t>HAVE YOUR DEV ENVIRONMENT READY TO GO</a:t>
            </a:r>
            <a:endParaRPr lang="en-US" sz="3600" dirty="0">
              <a:solidFill>
                <a:schemeClr val="tx1"/>
              </a:solidFill>
            </a:endParaRPr>
          </a:p>
        </p:txBody>
      </p:sp>
      <p:sp>
        <p:nvSpPr>
          <p:cNvPr id="3" name="Title 2"/>
          <p:cNvSpPr>
            <a:spLocks noGrp="1"/>
          </p:cNvSpPr>
          <p:nvPr>
            <p:ph type="title"/>
          </p:nvPr>
        </p:nvSpPr>
        <p:spPr/>
        <p:txBody>
          <a:bodyPr/>
          <a:lstStyle/>
          <a:p>
            <a:r>
              <a:rPr lang="en-US" dirty="0" smtClean="0"/>
              <a:t>Key Advice &amp; Tip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839619473"/>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5576390" cy="3887218"/>
          </a:xfrm>
        </p:spPr>
        <p:txBody>
          <a:bodyPr/>
          <a:lstStyle/>
          <a:p>
            <a:pPr>
              <a:buFont typeface="Arial" charset="0"/>
              <a:buChar char="•"/>
            </a:pPr>
            <a:r>
              <a:rPr lang="en-US" sz="3600" dirty="0" smtClean="0">
                <a:solidFill>
                  <a:schemeClr val="tx1"/>
                </a:solidFill>
              </a:rPr>
              <a:t>Need Help? </a:t>
            </a:r>
          </a:p>
          <a:p>
            <a:pPr>
              <a:buFont typeface="Arial" charset="0"/>
              <a:buChar char="•"/>
            </a:pPr>
            <a:endParaRPr lang="en-US" sz="3600" dirty="0">
              <a:solidFill>
                <a:schemeClr val="tx1"/>
              </a:solidFill>
            </a:endParaRPr>
          </a:p>
          <a:p>
            <a:pPr>
              <a:buFont typeface="Arial" charset="0"/>
              <a:buChar char="•"/>
            </a:pPr>
            <a:r>
              <a:rPr lang="en-US" sz="3600" dirty="0" smtClean="0">
                <a:solidFill>
                  <a:schemeClr val="tx1"/>
                </a:solidFill>
              </a:rPr>
              <a:t>MSA Facebook Group! – </a:t>
            </a:r>
          </a:p>
          <a:p>
            <a:pPr lvl="1">
              <a:buFont typeface="Arial" charset="0"/>
              <a:buChar char="•"/>
            </a:pPr>
            <a:r>
              <a:rPr lang="en-US" sz="2032" dirty="0" smtClean="0">
                <a:solidFill>
                  <a:schemeClr val="tx1"/>
                </a:solidFill>
              </a:rPr>
              <a:t>Drop Deep </a:t>
            </a:r>
            <a:r>
              <a:rPr lang="en-US" sz="2032" dirty="0" err="1" smtClean="0">
                <a:solidFill>
                  <a:schemeClr val="tx1"/>
                </a:solidFill>
              </a:rPr>
              <a:t>SeaDev</a:t>
            </a:r>
            <a:r>
              <a:rPr lang="en-US" sz="2032" dirty="0" smtClean="0">
                <a:solidFill>
                  <a:schemeClr val="tx1"/>
                </a:solidFill>
              </a:rPr>
              <a:t> a line! </a:t>
            </a:r>
          </a:p>
          <a:p>
            <a:pPr lvl="1">
              <a:buFont typeface="Arial" charset="0"/>
              <a:buChar char="•"/>
            </a:pPr>
            <a:endParaRPr lang="en-US" sz="2032" dirty="0">
              <a:solidFill>
                <a:schemeClr val="tx1"/>
              </a:solidFill>
            </a:endParaRPr>
          </a:p>
          <a:p>
            <a:pPr lvl="1">
              <a:buFont typeface="Arial" charset="0"/>
              <a:buChar char="•"/>
            </a:pPr>
            <a:r>
              <a:rPr lang="en-US" sz="2032" dirty="0" smtClean="0">
                <a:solidFill>
                  <a:schemeClr val="tx1"/>
                </a:solidFill>
                <a:hlinkClick r:id="rId2"/>
              </a:rPr>
              <a:t>nzedu@microsoft.com</a:t>
            </a:r>
            <a:endParaRPr lang="en-US" sz="2032" dirty="0" smtClean="0">
              <a:solidFill>
                <a:schemeClr val="tx1"/>
              </a:solidFill>
            </a:endParaRPr>
          </a:p>
          <a:p>
            <a:pPr lvl="1">
              <a:buFont typeface="Arial" charset="0"/>
              <a:buChar char="•"/>
            </a:pPr>
            <a:endParaRPr lang="en-US" sz="2032" dirty="0">
              <a:solidFill>
                <a:schemeClr val="tx1"/>
              </a:solidFill>
            </a:endParaRPr>
          </a:p>
          <a:p>
            <a:pPr>
              <a:buFont typeface="Arial" charset="0"/>
              <a:buChar char="•"/>
            </a:pPr>
            <a:r>
              <a:rPr lang="en-US" sz="3600" dirty="0" smtClean="0">
                <a:solidFill>
                  <a:schemeClr val="tx1"/>
                </a:solidFill>
              </a:rPr>
              <a:t>Monday 23</a:t>
            </a:r>
            <a:r>
              <a:rPr lang="en-US" sz="3600" baseline="30000" dirty="0" smtClean="0">
                <a:solidFill>
                  <a:schemeClr val="tx1"/>
                </a:solidFill>
              </a:rPr>
              <a:t>rd</a:t>
            </a:r>
            <a:r>
              <a:rPr lang="en-US" sz="3600" dirty="0" smtClean="0">
                <a:solidFill>
                  <a:schemeClr val="tx1"/>
                </a:solidFill>
              </a:rPr>
              <a:t> November: AM/PM Skype Sessions</a:t>
            </a:r>
          </a:p>
        </p:txBody>
      </p:sp>
      <p:sp>
        <p:nvSpPr>
          <p:cNvPr id="3" name="Title 2"/>
          <p:cNvSpPr>
            <a:spLocks noGrp="1"/>
          </p:cNvSpPr>
          <p:nvPr>
            <p:ph type="title"/>
          </p:nvPr>
        </p:nvSpPr>
        <p:spPr/>
        <p:txBody>
          <a:bodyPr/>
          <a:lstStyle/>
          <a:p>
            <a:r>
              <a:rPr lang="en-US" dirty="0" smtClean="0"/>
              <a:t>Key Advice &amp; Tips</a:t>
            </a:r>
            <a:endParaRPr lang="en-US" dirty="0"/>
          </a:p>
        </p:txBody>
      </p:sp>
      <p:pic>
        <p:nvPicPr>
          <p:cNvPr id="5" name="Picture 4"/>
          <p:cNvPicPr>
            <a:picLocks noChangeAspect="1"/>
          </p:cNvPicPr>
          <p:nvPr/>
        </p:nvPicPr>
        <p:blipFill>
          <a:blip r:embed="rId3"/>
          <a:stretch>
            <a:fillRect/>
          </a:stretch>
        </p:blipFill>
        <p:spPr>
          <a:xfrm>
            <a:off x="8029269" y="-1942150"/>
            <a:ext cx="1712171" cy="7248934"/>
          </a:xfrm>
          <a:prstGeom prst="rect">
            <a:avLst/>
          </a:prstGeom>
        </p:spPr>
      </p:pic>
    </p:spTree>
    <p:extLst>
      <p:ext uri="{BB962C8B-B14F-4D97-AF65-F5344CB8AC3E}">
        <p14:creationId xmlns:p14="http://schemas.microsoft.com/office/powerpoint/2010/main" val="1625693220"/>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5483" y="2037874"/>
            <a:ext cx="9936815" cy="1793104"/>
          </a:xfrm>
        </p:spPr>
        <p:txBody>
          <a:bodyPr/>
          <a:lstStyle/>
          <a:p>
            <a:r>
              <a:rPr lang="en-US" dirty="0" smtClean="0"/>
              <a:t>Any Questions on Assessment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6" name="Picture 5"/>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037476910"/>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Groupings</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396842182"/>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2499402"/>
          </a:xfrm>
        </p:spPr>
        <p:txBody>
          <a:bodyPr/>
          <a:lstStyle/>
          <a:p>
            <a:r>
              <a:rPr lang="en-US" dirty="0" smtClean="0">
                <a:solidFill>
                  <a:schemeClr val="tx1"/>
                </a:solidFill>
              </a:rPr>
              <a:t> Based on Assessments</a:t>
            </a:r>
          </a:p>
          <a:p>
            <a:r>
              <a:rPr lang="en-US" dirty="0" smtClean="0">
                <a:solidFill>
                  <a:schemeClr val="tx1"/>
                </a:solidFill>
              </a:rPr>
              <a:t> You give your preferences</a:t>
            </a:r>
          </a:p>
          <a:p>
            <a:r>
              <a:rPr lang="en-US" sz="3600" b="1" dirty="0" smtClean="0">
                <a:solidFill>
                  <a:schemeClr val="tx1"/>
                </a:solidFill>
              </a:rPr>
              <a:t> </a:t>
            </a:r>
            <a:r>
              <a:rPr lang="en-US" sz="3600" dirty="0" smtClean="0">
                <a:solidFill>
                  <a:schemeClr val="tx1"/>
                </a:solidFill>
              </a:rPr>
              <a:t>We try to make the best match between skills, type of projects and your preferences!</a:t>
            </a:r>
          </a:p>
        </p:txBody>
      </p:sp>
      <p:sp>
        <p:nvSpPr>
          <p:cNvPr id="3" name="Title 2"/>
          <p:cNvSpPr>
            <a:spLocks noGrp="1"/>
          </p:cNvSpPr>
          <p:nvPr>
            <p:ph type="title"/>
          </p:nvPr>
        </p:nvSpPr>
        <p:spPr/>
        <p:txBody>
          <a:bodyPr/>
          <a:lstStyle/>
          <a:p>
            <a:r>
              <a:rPr lang="en-US" dirty="0" smtClean="0"/>
              <a:t>Grouping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62721"/>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Imagine Cup</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96622427"/>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1292662"/>
          </a:xfrm>
        </p:spPr>
        <p:txBody>
          <a:bodyPr/>
          <a:lstStyle/>
          <a:p>
            <a:r>
              <a:rPr lang="en-US" sz="3600" dirty="0" smtClean="0">
                <a:solidFill>
                  <a:schemeClr val="tx1"/>
                </a:solidFill>
              </a:rPr>
              <a:t> More details to be shared</a:t>
            </a:r>
          </a:p>
          <a:p>
            <a:r>
              <a:rPr lang="en-US" sz="3600" dirty="0">
                <a:solidFill>
                  <a:schemeClr val="tx1"/>
                </a:solidFill>
              </a:rPr>
              <a:t> </a:t>
            </a:r>
            <a:r>
              <a:rPr lang="en-US" sz="3600" dirty="0" smtClean="0">
                <a:solidFill>
                  <a:schemeClr val="tx1"/>
                </a:solidFill>
              </a:rPr>
              <a:t>Fun team-building group exercise</a:t>
            </a:r>
          </a:p>
        </p:txBody>
      </p:sp>
      <p:sp>
        <p:nvSpPr>
          <p:cNvPr id="3" name="Title 2"/>
          <p:cNvSpPr>
            <a:spLocks noGrp="1"/>
          </p:cNvSpPr>
          <p:nvPr>
            <p:ph type="title"/>
          </p:nvPr>
        </p:nvSpPr>
        <p:spPr/>
        <p:txBody>
          <a:bodyPr/>
          <a:lstStyle/>
          <a:p>
            <a:r>
              <a:rPr lang="en-US" dirty="0" smtClean="0"/>
              <a:t>Imagine Cup </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949293774"/>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Employer Matching</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87273306"/>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3619452"/>
          </a:xfrm>
        </p:spPr>
        <p:txBody>
          <a:bodyPr/>
          <a:lstStyle/>
          <a:p>
            <a:r>
              <a:rPr lang="en-US" sz="3600" dirty="0" smtClean="0">
                <a:solidFill>
                  <a:schemeClr val="tx1"/>
                </a:solidFill>
              </a:rPr>
              <a:t> A pool of employers</a:t>
            </a:r>
          </a:p>
          <a:p>
            <a:r>
              <a:rPr lang="en-US" sz="3600" dirty="0">
                <a:solidFill>
                  <a:schemeClr val="tx1"/>
                </a:solidFill>
              </a:rPr>
              <a:t> </a:t>
            </a:r>
            <a:r>
              <a:rPr lang="en-US" sz="3600" dirty="0" smtClean="0">
                <a:solidFill>
                  <a:schemeClr val="tx1"/>
                </a:solidFill>
              </a:rPr>
              <a:t>Student Teams give their preferences</a:t>
            </a:r>
          </a:p>
          <a:p>
            <a:r>
              <a:rPr lang="en-US" sz="3600" dirty="0">
                <a:solidFill>
                  <a:schemeClr val="tx1"/>
                </a:solidFill>
              </a:rPr>
              <a:t> </a:t>
            </a:r>
            <a:r>
              <a:rPr lang="en-US" sz="3600" dirty="0" smtClean="0">
                <a:solidFill>
                  <a:schemeClr val="tx1"/>
                </a:solidFill>
              </a:rPr>
              <a:t>A panel of MSPs/Assessors will match the employers based on skills, projects and preferences!</a:t>
            </a:r>
          </a:p>
          <a:p>
            <a:endParaRPr lang="en-US" sz="3600" dirty="0">
              <a:solidFill>
                <a:schemeClr val="tx1"/>
              </a:solidFill>
            </a:endParaRPr>
          </a:p>
          <a:p>
            <a:r>
              <a:rPr lang="en-US" sz="3600" dirty="0" smtClean="0">
                <a:solidFill>
                  <a:schemeClr val="tx1"/>
                </a:solidFill>
              </a:rPr>
              <a:t>More details to follow…</a:t>
            </a:r>
          </a:p>
        </p:txBody>
      </p:sp>
      <p:sp>
        <p:nvSpPr>
          <p:cNvPr id="3" name="Title 2"/>
          <p:cNvSpPr>
            <a:spLocks noGrp="1"/>
          </p:cNvSpPr>
          <p:nvPr>
            <p:ph type="title"/>
          </p:nvPr>
        </p:nvSpPr>
        <p:spPr/>
        <p:txBody>
          <a:bodyPr/>
          <a:lstStyle/>
          <a:p>
            <a:r>
              <a:rPr lang="en-US" dirty="0" smtClean="0"/>
              <a:t>Employer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98588203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D1D1D"/>
        </a:solidFill>
        <a:effectLst/>
      </p:bgPr>
    </p:bg>
    <p:spTree>
      <p:nvGrpSpPr>
        <p:cNvPr id="1" name=""/>
        <p:cNvGrpSpPr/>
        <p:nvPr/>
      </p:nvGrpSpPr>
      <p:grpSpPr>
        <a:xfrm>
          <a:off x="0" y="0"/>
          <a:ext cx="0" cy="0"/>
          <a:chOff x="0" y="0"/>
          <a:chExt cx="0" cy="0"/>
        </a:xfrm>
      </p:grpSpPr>
      <p:grpSp>
        <p:nvGrpSpPr>
          <p:cNvPr id="5" name="Group 4"/>
          <p:cNvGrpSpPr/>
          <p:nvPr/>
        </p:nvGrpSpPr>
        <p:grpSpPr>
          <a:xfrm>
            <a:off x="48460" y="150192"/>
            <a:ext cx="12063520" cy="6563676"/>
            <a:chOff x="20477812" y="894310"/>
            <a:chExt cx="7341050" cy="3994213"/>
          </a:xfrm>
        </p:grpSpPr>
        <p:sp>
          <p:nvSpPr>
            <p:cNvPr id="6" name="Rectangle 5"/>
            <p:cNvSpPr/>
            <p:nvPr/>
          </p:nvSpPr>
          <p:spPr bwMode="auto">
            <a:xfrm>
              <a:off x="20477812" y="894310"/>
              <a:ext cx="7341050" cy="3994213"/>
            </a:xfrm>
            <a:prstGeom prst="rect">
              <a:avLst/>
            </a:prstGeom>
            <a:solidFill>
              <a:srgbClr val="1D1D1D"/>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2999547" y="3579554"/>
              <a:ext cx="2317215" cy="1141657"/>
              <a:chOff x="8824878" y="2029499"/>
              <a:chExt cx="2644511" cy="2605824"/>
            </a:xfrm>
          </p:grpSpPr>
          <p:sp>
            <p:nvSpPr>
              <p:cNvPr id="36" name="Rectangle 35"/>
              <p:cNvSpPr/>
              <p:nvPr/>
            </p:nvSpPr>
            <p:spPr bwMode="auto">
              <a:xfrm>
                <a:off x="8824878" y="2029499"/>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2133" kern="0" dirty="0">
                  <a:solidFill>
                    <a:srgbClr val="FFFFFF"/>
                  </a:solidFill>
                </a:endParaRPr>
              </a:p>
              <a:p>
                <a:pPr algn="ctr" defTabSz="913516" fontAlgn="base">
                  <a:spcBef>
                    <a:spcPct val="0"/>
                  </a:spcBef>
                  <a:spcAft>
                    <a:spcPct val="0"/>
                  </a:spcAft>
                  <a:defRPr/>
                </a:pPr>
                <a:r>
                  <a:rPr lang="en-US" sz="2133" kern="0" dirty="0">
                    <a:solidFill>
                      <a:srgbClr val="FFFFFF"/>
                    </a:solidFill>
                  </a:rPr>
                  <a:t>Nearly 50 million Office Online users</a:t>
                </a:r>
                <a:endParaRPr lang="en-US" sz="2133" kern="6000" dirty="0">
                  <a:solidFill>
                    <a:srgbClr val="FFFFFF"/>
                  </a:solidFill>
                  <a:cs typeface="Segoe UI Light" panose="020B0502040204020203" pitchFamily="34" charset="0"/>
                </a:endParaRPr>
              </a:p>
            </p:txBody>
          </p:sp>
          <p:pic>
            <p:nvPicPr>
              <p:cNvPr id="37" name="Picture 36"/>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269867" y="2231895"/>
                <a:ext cx="1576701" cy="1100516"/>
              </a:xfrm>
              <a:prstGeom prst="rect">
                <a:avLst/>
              </a:prstGeom>
            </p:spPr>
          </p:pic>
        </p:grpSp>
        <p:grpSp>
          <p:nvGrpSpPr>
            <p:cNvPr id="8" name="Group 7"/>
            <p:cNvGrpSpPr/>
            <p:nvPr/>
          </p:nvGrpSpPr>
          <p:grpSpPr>
            <a:xfrm>
              <a:off x="22999547" y="1101661"/>
              <a:ext cx="2317215" cy="1141463"/>
              <a:chOff x="9028816" y="3963684"/>
              <a:chExt cx="2644511" cy="2605379"/>
            </a:xfrm>
            <a:solidFill>
              <a:srgbClr val="FF8B00"/>
            </a:solidFill>
          </p:grpSpPr>
          <p:sp>
            <p:nvSpPr>
              <p:cNvPr id="34" name="Rectangle 33"/>
              <p:cNvSpPr/>
              <p:nvPr/>
            </p:nvSpPr>
            <p:spPr bwMode="auto">
              <a:xfrm>
                <a:off x="9028816" y="3963684"/>
                <a:ext cx="2644511" cy="2605379"/>
              </a:xfrm>
              <a:prstGeom prst="rect">
                <a:avLst/>
              </a:prstGeom>
              <a:solidFill>
                <a:srgbClr val="7EB900"/>
              </a:solidFill>
              <a:ln w="9525" cap="flat" cmpd="sng" algn="ctr">
                <a:noFill/>
                <a:prstDash val="solid"/>
                <a:headEnd type="none" w="med" len="med"/>
                <a:tailEnd type="none" w="med" len="med"/>
              </a:ln>
              <a:effectLst/>
            </p:spPr>
            <p:txBody>
              <a:bodyPr lIns="268813" tIns="806325" rIns="179183" bIns="33600" rtlCol="0" anchor="t" anchorCtr="0"/>
              <a:lstStyle/>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8 Million Subscribers in </a:t>
                </a: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1 countries </a:t>
                </a:r>
              </a:p>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5"/>
              <p:cNvPicPr>
                <a:picLocks noChangeAspect="1" noChangeArrowheads="1"/>
              </p:cNvPicPr>
              <p:nvPr/>
            </p:nvPicPr>
            <p:blipFill>
              <a:blip r:embed="rId4"/>
              <a:srcRect/>
              <a:stretch>
                <a:fillRect/>
              </a:stretch>
            </p:blipFill>
            <p:spPr bwMode="black">
              <a:xfrm>
                <a:off x="9587562" y="4720373"/>
                <a:ext cx="1606236" cy="436020"/>
              </a:xfrm>
              <a:prstGeom prst="rect">
                <a:avLst/>
              </a:prstGeom>
              <a:noFill/>
              <a:ln w="9525">
                <a:noFill/>
                <a:miter lim="800000"/>
                <a:headEnd/>
                <a:tailEnd/>
              </a:ln>
              <a:effectLst/>
            </p:spPr>
          </p:pic>
        </p:grpSp>
        <p:sp>
          <p:nvSpPr>
            <p:cNvPr id="9" name="Rectangle 8"/>
            <p:cNvSpPr/>
            <p:nvPr/>
          </p:nvSpPr>
          <p:spPr bwMode="auto">
            <a:xfrm>
              <a:off x="20573516" y="2350021"/>
              <a:ext cx="2317214" cy="1146000"/>
            </a:xfrm>
            <a:prstGeom prst="rect">
              <a:avLst/>
            </a:prstGeom>
            <a:solidFill>
              <a:srgbClr val="00BBF1"/>
            </a:solidFill>
            <a:ln w="9525" cap="flat" cmpd="sng" algn="ctr">
              <a:noFill/>
              <a:prstDash val="solid"/>
              <a:headEnd type="none" w="med" len="med"/>
              <a:tailEnd type="none" w="med" len="med"/>
            </a:ln>
            <a:effectLst/>
          </p:spPr>
          <p:txBody>
            <a:bodyPr lIns="268813" tIns="268813" rIns="179183" bIns="33600" rtlCol="0" anchor="t" anchorCtr="0"/>
            <a:lstStyle/>
            <a:p>
              <a:pPr marL="984086" defTabSz="913691" fontAlgn="base">
                <a:lnSpc>
                  <a:spcPct val="90000"/>
                </a:lnSpc>
                <a:spcBef>
                  <a:spcPct val="0"/>
                </a:spcBef>
                <a:spcAft>
                  <a:spcPct val="0"/>
                </a:spcAft>
                <a:defRPr/>
              </a:pPr>
              <a:r>
                <a:rPr lang="en-US" sz="1866" kern="0" dirty="0">
                  <a:gradFill>
                    <a:gsLst>
                      <a:gs pos="0">
                        <a:srgbClr val="FFFFFF"/>
                      </a:gs>
                      <a:gs pos="100000">
                        <a:srgbClr val="FFFFFF"/>
                      </a:gs>
                    </a:gsLst>
                    <a:lin ang="5400000" scaled="0"/>
                  </a:gradFill>
                  <a:ea typeface="Segoe UI" pitchFamily="34" charset="0"/>
                  <a:cs typeface="Segoe UI" pitchFamily="34" charset="0"/>
                </a:rPr>
                <a:t>Outlook.com has over 400 Million active users and is the world’s fastest growing email service</a:t>
              </a:r>
            </a:p>
          </p:txBody>
        </p:sp>
        <p:grpSp>
          <p:nvGrpSpPr>
            <p:cNvPr id="10" name="Group 9"/>
            <p:cNvGrpSpPr/>
            <p:nvPr/>
          </p:nvGrpSpPr>
          <p:grpSpPr>
            <a:xfrm>
              <a:off x="20573518" y="1101661"/>
              <a:ext cx="1059576" cy="1141463"/>
              <a:chOff x="2802881" y="5351396"/>
              <a:chExt cx="1441301" cy="1552690"/>
            </a:xfrm>
          </p:grpSpPr>
          <p:sp>
            <p:nvSpPr>
              <p:cNvPr id="32" name="Rectangle 31"/>
              <p:cNvSpPr/>
              <p:nvPr/>
            </p:nvSpPr>
            <p:spPr bwMode="auto">
              <a:xfrm>
                <a:off x="2802881" y="5351396"/>
                <a:ext cx="1441301" cy="1552690"/>
              </a:xfrm>
              <a:prstGeom prst="rect">
                <a:avLst/>
              </a:prstGeom>
              <a:solidFill>
                <a:srgbClr val="0072C6"/>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467"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467" kern="0" dirty="0">
                    <a:gradFill>
                      <a:gsLst>
                        <a:gs pos="0">
                          <a:srgbClr val="FFFFFF"/>
                        </a:gs>
                        <a:gs pos="100000">
                          <a:srgbClr val="FFFFFF"/>
                        </a:gs>
                      </a:gsLst>
                      <a:lin ang="5400000" scaled="0"/>
                    </a:gradFill>
                    <a:ea typeface="Segoe UI" pitchFamily="34" charset="0"/>
                    <a:cs typeface="Segoe UI" pitchFamily="34" charset="0"/>
                  </a:rPr>
                  <a:t>1 Billion mobile notifications a month</a:t>
                </a: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6996" y="5537858"/>
                <a:ext cx="922584" cy="354475"/>
              </a:xfrm>
              <a:prstGeom prst="rect">
                <a:avLst/>
              </a:prstGeom>
            </p:spPr>
          </p:pic>
        </p:grpSp>
        <p:grpSp>
          <p:nvGrpSpPr>
            <p:cNvPr id="11" name="Group 10"/>
            <p:cNvGrpSpPr/>
            <p:nvPr/>
          </p:nvGrpSpPr>
          <p:grpSpPr>
            <a:xfrm>
              <a:off x="25427573" y="2342853"/>
              <a:ext cx="2324559" cy="1153167"/>
              <a:chOff x="204198" y="957140"/>
              <a:chExt cx="2324559" cy="1153167"/>
            </a:xfrm>
          </p:grpSpPr>
          <p:sp>
            <p:nvSpPr>
              <p:cNvPr id="30" name="Rectangle 29"/>
              <p:cNvSpPr/>
              <p:nvPr/>
            </p:nvSpPr>
            <p:spPr bwMode="auto">
              <a:xfrm>
                <a:off x="204198" y="957140"/>
                <a:ext cx="2324559" cy="1153167"/>
              </a:xfrm>
              <a:prstGeom prst="rect">
                <a:avLst/>
              </a:prstGeom>
              <a:solidFill>
                <a:srgbClr val="ED008B"/>
              </a:solidFill>
              <a:ln w="9525" cap="flat" cmpd="sng" algn="ctr">
                <a:noFill/>
                <a:prstDash val="solid"/>
                <a:headEnd type="none" w="med" len="med"/>
                <a:tailEnd type="none" w="med" len="med"/>
              </a:ln>
              <a:effectLst/>
            </p:spPr>
            <p:txBody>
              <a:bodyPr lIns="268813" tIns="716834" rIns="179183" bIns="33600" rtlCol="0" anchor="t" anchorCtr="0"/>
              <a:lstStyle/>
              <a:p>
                <a:pPr algn="ctr" defTabSz="913691" fontAlgn="base">
                  <a:lnSpc>
                    <a:spcPct val="90000"/>
                  </a:lnSpc>
                  <a:spcBef>
                    <a:spcPct val="0"/>
                  </a:spcBef>
                  <a:spcAft>
                    <a:spcPct val="0"/>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ct val="0"/>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Bing holds 20.2 percent of US market share</a:t>
                </a:r>
              </a:p>
              <a:p>
                <a:pPr algn="ctr" defTabSz="91369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ea typeface="Segoe UI" pitchFamily="34" charset="0"/>
                    <a:cs typeface="Segoe UI" pitchFamily="34" charset="0"/>
                  </a:rPr>
                  <a:t>- comScore</a:t>
                </a: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143" y="1125358"/>
                <a:ext cx="830916" cy="319254"/>
              </a:xfrm>
              <a:prstGeom prst="rect">
                <a:avLst/>
              </a:prstGeom>
            </p:spPr>
          </p:pic>
        </p:grpSp>
        <p:grpSp>
          <p:nvGrpSpPr>
            <p:cNvPr id="12" name="Group 11"/>
            <p:cNvGrpSpPr/>
            <p:nvPr/>
          </p:nvGrpSpPr>
          <p:grpSpPr>
            <a:xfrm>
              <a:off x="21718020" y="1101661"/>
              <a:ext cx="1172709" cy="1141463"/>
              <a:chOff x="7221318" y="2729548"/>
              <a:chExt cx="1595192" cy="1552690"/>
            </a:xfrm>
          </p:grpSpPr>
          <p:sp>
            <p:nvSpPr>
              <p:cNvPr id="28" name="Rectangle 27"/>
              <p:cNvSpPr/>
              <p:nvPr/>
            </p:nvSpPr>
            <p:spPr bwMode="auto">
              <a:xfrm>
                <a:off x="7221318" y="2729548"/>
                <a:ext cx="1595192" cy="1552690"/>
              </a:xfrm>
              <a:prstGeom prst="rect">
                <a:avLst/>
              </a:prstGeom>
              <a:solidFill>
                <a:srgbClr val="00BBF1"/>
              </a:solidFill>
              <a:ln w="9525" cap="flat" cmpd="sng" algn="ctr">
                <a:noFill/>
                <a:prstDash val="solid"/>
                <a:headEnd type="none" w="med" len="med"/>
                <a:tailEnd type="none" w="med" len="med"/>
              </a:ln>
              <a:effectLst/>
            </p:spPr>
            <p:txBody>
              <a:bodyPr lIns="268813" tIns="716834" rIns="179183" bIns="33600" rtlCol="0" anchor="ctr" anchorCtr="0"/>
              <a:lstStyle/>
              <a:p>
                <a:pPr defTabSz="913691" fontAlgn="base">
                  <a:lnSpc>
                    <a:spcPct val="90000"/>
                  </a:lnSpc>
                  <a:spcBef>
                    <a:spcPct val="0"/>
                  </a:spcBef>
                  <a:defRPr/>
                </a:pPr>
                <a:r>
                  <a:rPr lang="en-US" sz="1600" kern="0" dirty="0">
                    <a:gradFill>
                      <a:gsLst>
                        <a:gs pos="0">
                          <a:srgbClr val="FFFFFF"/>
                        </a:gs>
                        <a:gs pos="100000">
                          <a:srgbClr val="FFFFFF"/>
                        </a:gs>
                      </a:gsLst>
                      <a:lin ang="5400000" scaled="0"/>
                    </a:gradFill>
                    <a:ea typeface="Segoe UI" pitchFamily="34" charset="0"/>
                    <a:cs typeface="Segoe UI" pitchFamily="34" charset="0"/>
                  </a:rPr>
                  <a:t>Yammer has over 8 million registered users</a:t>
                </a:r>
              </a:p>
              <a:p>
                <a:pPr defTabSz="913691" fontAlgn="base">
                  <a:lnSpc>
                    <a:spcPct val="90000"/>
                  </a:lnSpc>
                  <a:spcBef>
                    <a:spcPct val="0"/>
                  </a:spcBef>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7169" y="2962653"/>
                <a:ext cx="1081330" cy="261191"/>
              </a:xfrm>
              <a:prstGeom prst="rect">
                <a:avLst/>
              </a:prstGeom>
            </p:spPr>
          </p:pic>
        </p:grpSp>
        <p:grpSp>
          <p:nvGrpSpPr>
            <p:cNvPr id="13" name="Group 12"/>
            <p:cNvGrpSpPr/>
            <p:nvPr/>
          </p:nvGrpSpPr>
          <p:grpSpPr>
            <a:xfrm>
              <a:off x="20573517" y="3593568"/>
              <a:ext cx="2317214" cy="1127643"/>
              <a:chOff x="179057" y="1948083"/>
              <a:chExt cx="2317214" cy="1127643"/>
            </a:xfrm>
          </p:grpSpPr>
          <p:sp>
            <p:nvSpPr>
              <p:cNvPr id="26" name="Rectangle 25"/>
              <p:cNvSpPr/>
              <p:nvPr/>
            </p:nvSpPr>
            <p:spPr bwMode="auto">
              <a:xfrm>
                <a:off x="179057" y="1948083"/>
                <a:ext cx="2317214" cy="1127643"/>
              </a:xfrm>
              <a:prstGeom prst="rect">
                <a:avLst/>
              </a:prstGeom>
              <a:solidFill>
                <a:srgbClr val="00158F"/>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600" kern="0" dirty="0">
                    <a:gradFill>
                      <a:gsLst>
                        <a:gs pos="0">
                          <a:srgbClr val="FFFFFF"/>
                        </a:gs>
                        <a:gs pos="100000">
                          <a:srgbClr val="FFFFFF"/>
                        </a:gs>
                      </a:gsLst>
                      <a:lin ang="5400000" scaled="0"/>
                    </a:gradFill>
                    <a:ea typeface="Segoe UI" pitchFamily="34" charset="0"/>
                    <a:cs typeface="Segoe UI" pitchFamily="34" charset="0"/>
                  </a:rPr>
                  <a:t>Over 250 million people use OneDrive</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4339" y="2101316"/>
                <a:ext cx="1318772" cy="415650"/>
              </a:xfrm>
              <a:prstGeom prst="rect">
                <a:avLst/>
              </a:prstGeom>
            </p:spPr>
          </p:pic>
        </p:grpSp>
        <p:grpSp>
          <p:nvGrpSpPr>
            <p:cNvPr id="14" name="Group 13"/>
            <p:cNvGrpSpPr/>
            <p:nvPr/>
          </p:nvGrpSpPr>
          <p:grpSpPr>
            <a:xfrm>
              <a:off x="22999546" y="2342853"/>
              <a:ext cx="2317215" cy="1153168"/>
              <a:chOff x="2355189" y="3052710"/>
              <a:chExt cx="2317215" cy="1153168"/>
            </a:xfrm>
            <a:solidFill>
              <a:srgbClr val="0072C6"/>
            </a:solidFill>
          </p:grpSpPr>
          <p:sp>
            <p:nvSpPr>
              <p:cNvPr id="24" name="Rectangle 23"/>
              <p:cNvSpPr/>
              <p:nvPr/>
            </p:nvSpPr>
            <p:spPr bwMode="auto">
              <a:xfrm>
                <a:off x="2355189" y="3052710"/>
                <a:ext cx="2317215" cy="1153168"/>
              </a:xfrm>
              <a:prstGeom prst="rect">
                <a:avLst/>
              </a:prstGeom>
              <a:grpFill/>
              <a:ln w="9525" cap="flat" cmpd="sng" algn="ctr">
                <a:noFill/>
                <a:prstDash val="solid"/>
                <a:headEnd type="none" w="med" len="med"/>
                <a:tailEnd type="none" w="med" len="med"/>
              </a:ln>
              <a:effectLst/>
            </p:spPr>
            <p:txBody>
              <a:bodyPr lIns="268813" tIns="448022"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defTabSz="913691" fontAlgn="base">
                  <a:lnSpc>
                    <a:spcPct val="90000"/>
                  </a:lnSpc>
                  <a:spcBef>
                    <a:spcPct val="0"/>
                  </a:spcBef>
                  <a:spcAft>
                    <a:spcPts val="588"/>
                  </a:spcAft>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On average, Skype users use the service 50 Billion minutes/mo</a:t>
                </a:r>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9469" y="3167892"/>
                <a:ext cx="704420" cy="310619"/>
              </a:xfrm>
              <a:prstGeom prst="rect">
                <a:avLst/>
              </a:prstGeom>
              <a:grpFill/>
            </p:spPr>
          </p:pic>
        </p:grpSp>
        <p:grpSp>
          <p:nvGrpSpPr>
            <p:cNvPr id="15" name="Group 14"/>
            <p:cNvGrpSpPr/>
            <p:nvPr/>
          </p:nvGrpSpPr>
          <p:grpSpPr>
            <a:xfrm>
              <a:off x="25427572" y="3559436"/>
              <a:ext cx="2324559" cy="1161776"/>
              <a:chOff x="6974661" y="4085051"/>
              <a:chExt cx="2324559" cy="1161776"/>
            </a:xfrm>
          </p:grpSpPr>
          <p:sp>
            <p:nvSpPr>
              <p:cNvPr id="20" name="Rectangle 19"/>
              <p:cNvSpPr/>
              <p:nvPr/>
            </p:nvSpPr>
            <p:spPr bwMode="auto">
              <a:xfrm>
                <a:off x="6974661" y="4105169"/>
                <a:ext cx="2324559" cy="1141658"/>
              </a:xfrm>
              <a:prstGeom prst="rect">
                <a:avLst/>
              </a:prstGeom>
              <a:solidFill>
                <a:srgbClr val="00158F"/>
              </a:solidFill>
              <a:ln w="9525" cap="flat" cmpd="sng" algn="ctr">
                <a:noFill/>
                <a:prstDash val="solid"/>
                <a:headEnd type="none" w="med" len="med"/>
                <a:tailEnd type="none" w="med" len="med"/>
              </a:ln>
              <a:effectLst/>
            </p:spPr>
            <p:txBody>
              <a:bodyPr lIns="268813" tIns="537625" rIns="179183" bIns="33600" rtlCol="0" anchor="t" anchorCtr="0"/>
              <a:lstStyle/>
              <a:p>
                <a:pPr algn="ctr" defTabSz="913691" fontAlgn="base">
                  <a:lnSpc>
                    <a:spcPct val="90000"/>
                  </a:lnSpc>
                  <a:spcBef>
                    <a:spcPct val="0"/>
                  </a:spcBef>
                  <a:spcAft>
                    <a:spcPts val="588"/>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Xbox delivered over 740 million hours of entertainment</a:t>
                </a:r>
              </a:p>
            </p:txBody>
          </p:sp>
          <p:grpSp>
            <p:nvGrpSpPr>
              <p:cNvPr id="21" name="Group 20"/>
              <p:cNvGrpSpPr/>
              <p:nvPr/>
            </p:nvGrpSpPr>
            <p:grpSpPr>
              <a:xfrm>
                <a:off x="7301963" y="4085051"/>
                <a:ext cx="1677261" cy="663908"/>
                <a:chOff x="9736983" y="5384530"/>
                <a:chExt cx="2236983" cy="885462"/>
              </a:xfrm>
            </p:grpSpPr>
            <p:pic>
              <p:nvPicPr>
                <p:cNvPr id="22" name="Picture 21"/>
                <p:cNvPicPr>
                  <a:picLocks noChangeAspect="1"/>
                </p:cNvPicPr>
                <p:nvPr/>
              </p:nvPicPr>
              <p:blipFill rotWithShape="1">
                <a:blip r:embed="rId10" cstate="print">
                  <a:extLst>
                    <a:ext uri="{28A0092B-C50C-407E-A947-70E740481C1C}">
                      <a14:useLocalDpi xmlns:a14="http://schemas.microsoft.com/office/drawing/2010/main" val="0"/>
                    </a:ext>
                  </a:extLst>
                </a:blip>
                <a:srcRect l="26558"/>
                <a:stretch/>
              </p:blipFill>
              <p:spPr>
                <a:xfrm>
                  <a:off x="10137956" y="5384530"/>
                  <a:ext cx="1836010" cy="885462"/>
                </a:xfrm>
                <a:prstGeom prst="rect">
                  <a:avLst/>
                </a:prstGeom>
              </p:spPr>
            </p:pic>
            <p:sp>
              <p:nvSpPr>
                <p:cNvPr id="23" name="Freeform 53"/>
                <p:cNvSpPr>
                  <a:spLocks noEditPoints="1"/>
                </p:cNvSpPr>
                <p:nvPr/>
              </p:nvSpPr>
              <p:spPr bwMode="auto">
                <a:xfrm>
                  <a:off x="9736983" y="5634420"/>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rgbClr val="FFFFFF"/>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solidFill>
                      <a:srgbClr val="404040"/>
                    </a:solidFill>
                  </a:endParaRPr>
                </a:p>
              </p:txBody>
            </p:sp>
          </p:grpSp>
        </p:gr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83851" y="2638468"/>
              <a:ext cx="461331" cy="461331"/>
            </a:xfrm>
            <a:prstGeom prst="rect">
              <a:avLst/>
            </a:prstGeom>
          </p:spPr>
        </p:pic>
        <p:grpSp>
          <p:nvGrpSpPr>
            <p:cNvPr id="17" name="Group 16"/>
            <p:cNvGrpSpPr/>
            <p:nvPr/>
          </p:nvGrpSpPr>
          <p:grpSpPr>
            <a:xfrm>
              <a:off x="25423953" y="1101466"/>
              <a:ext cx="2317215" cy="1141658"/>
              <a:chOff x="8841710" y="1821564"/>
              <a:chExt cx="2644511" cy="2605824"/>
            </a:xfrm>
          </p:grpSpPr>
          <p:sp>
            <p:nvSpPr>
              <p:cNvPr id="18" name="Rectangle 17"/>
              <p:cNvSpPr/>
              <p:nvPr/>
            </p:nvSpPr>
            <p:spPr bwMode="auto">
              <a:xfrm>
                <a:off x="8841710" y="1821564"/>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1866" kern="0" dirty="0">
                  <a:solidFill>
                    <a:srgbClr val="FFFFFF"/>
                  </a:solidFill>
                </a:endParaRPr>
              </a:p>
              <a:p>
                <a:pPr algn="ctr" defTabSz="913516" fontAlgn="base">
                  <a:spcBef>
                    <a:spcPct val="0"/>
                  </a:spcBef>
                  <a:spcAft>
                    <a:spcPct val="0"/>
                  </a:spcAft>
                  <a:defRPr/>
                </a:pPr>
                <a:r>
                  <a:rPr lang="en-US" sz="1866" kern="0" dirty="0">
                    <a:solidFill>
                      <a:srgbClr val="FFFFFF"/>
                    </a:solidFill>
                  </a:rPr>
                  <a:t>Office for iOS has been downloaded over 80M times</a:t>
                </a:r>
                <a:endParaRPr lang="en-US" sz="1866" kern="6000" dirty="0">
                  <a:solidFill>
                    <a:srgbClr val="FFFFFF"/>
                  </a:solidFill>
                  <a:cs typeface="Segoe UI Light" panose="020B0502040204020203" pitchFamily="34" charset="0"/>
                </a:endParaRPr>
              </a:p>
            </p:txBody>
          </p:sp>
          <p:pic>
            <p:nvPicPr>
              <p:cNvPr id="19" name="Picture 18"/>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spTree>
    <p:extLst>
      <p:ext uri="{BB962C8B-B14F-4D97-AF65-F5344CB8AC3E}">
        <p14:creationId xmlns:p14="http://schemas.microsoft.com/office/powerpoint/2010/main" val="125152763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2761499"/>
            <a:ext cx="11653523" cy="727700"/>
          </a:xfrm>
        </p:spPr>
        <p:txBody>
          <a:bodyPr/>
          <a:lstStyle/>
          <a:p>
            <a:pPr marL="0" indent="0" algn="ctr">
              <a:buNone/>
            </a:pPr>
            <a:r>
              <a:rPr lang="en-US" dirty="0" smtClean="0">
                <a:solidFill>
                  <a:schemeClr val="tx1"/>
                </a:solidFill>
              </a:rPr>
              <a:t>Coming later today!</a:t>
            </a:r>
            <a:endParaRPr lang="en-US" dirty="0">
              <a:solidFill>
                <a:schemeClr val="tx1"/>
              </a:solidFill>
            </a:endParaRPr>
          </a:p>
        </p:txBody>
      </p:sp>
      <p:sp>
        <p:nvSpPr>
          <p:cNvPr id="3" name="Title 2"/>
          <p:cNvSpPr>
            <a:spLocks noGrp="1"/>
          </p:cNvSpPr>
          <p:nvPr>
            <p:ph type="title"/>
          </p:nvPr>
        </p:nvSpPr>
        <p:spPr/>
        <p:txBody>
          <a:bodyPr/>
          <a:lstStyle/>
          <a:p>
            <a:r>
              <a:rPr lang="en-US" dirty="0" smtClean="0"/>
              <a:t>Feedback Form</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508735276"/>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94429" y="2952274"/>
            <a:ext cx="8058229" cy="1793104"/>
          </a:xfrm>
        </p:spPr>
        <p:txBody>
          <a:bodyPr/>
          <a:lstStyle/>
          <a:p>
            <a:r>
              <a:rPr lang="en-US" dirty="0" smtClean="0"/>
              <a:t>Any Question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6" name="Picture 5"/>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68380065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643" y="3134928"/>
            <a:ext cx="1120531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902" spc="-100" dirty="0">
                <a:solidFill>
                  <a:srgbClr val="FFFFFF"/>
                </a:solidFill>
                <a:latin typeface="Segoe UI Light"/>
              </a:rPr>
              <a:t>Journey to the Cloud</a:t>
            </a:r>
            <a:endParaRPr lang="en-US" sz="4902" spc="-100" dirty="0">
              <a:solidFill>
                <a:srgbClr val="FFFFFF"/>
              </a:solidFill>
              <a:latin typeface="Segoe UI Light"/>
            </a:endParaRPr>
          </a:p>
        </p:txBody>
      </p:sp>
      <p:sp>
        <p:nvSpPr>
          <p:cNvPr id="9" name="Title 1"/>
          <p:cNvSpPr txBox="1">
            <a:spLocks/>
          </p:cNvSpPr>
          <p:nvPr/>
        </p:nvSpPr>
        <p:spPr>
          <a:xfrm>
            <a:off x="7639610" y="2308469"/>
            <a:ext cx="3503115" cy="2460407"/>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Differentiation</a:t>
            </a:r>
          </a:p>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Agility</a:t>
            </a:r>
          </a:p>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8047" y="1862264"/>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8047" y="4286733"/>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8047" y="3081957"/>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11430" y="1561449"/>
            <a:ext cx="963345" cy="3989460"/>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5">
              <a:solidFill>
                <a:srgbClr val="FFFFFF"/>
              </a:solidFill>
              <a:latin typeface="Segoe UI Semilight"/>
            </a:endParaRPr>
          </a:p>
        </p:txBody>
      </p:sp>
      <p:grpSp>
        <p:nvGrpSpPr>
          <p:cNvPr id="6" name="Group 5"/>
          <p:cNvGrpSpPr/>
          <p:nvPr/>
        </p:nvGrpSpPr>
        <p:grpSpPr>
          <a:xfrm>
            <a:off x="2943371" y="2649140"/>
            <a:ext cx="627901" cy="627901"/>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3371" y="3902973"/>
            <a:ext cx="627901" cy="627901"/>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7080502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1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2.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3.xml><?xml version="1.0" encoding="utf-8"?>
<a:theme xmlns:a="http://schemas.openxmlformats.org/drawingml/2006/main" name="1_MS Brand White 16-9_Dec-2013">
  <a:themeElements>
    <a:clrScheme name="KC_Internal-2">
      <a:dk1>
        <a:srgbClr val="505050"/>
      </a:dk1>
      <a:lt1>
        <a:srgbClr val="FFFFFF"/>
      </a:lt1>
      <a:dk2>
        <a:srgbClr val="002050"/>
      </a:dk2>
      <a:lt2>
        <a:srgbClr val="D2D2D2"/>
      </a:lt2>
      <a:accent1>
        <a:srgbClr val="002050"/>
      </a:accent1>
      <a:accent2>
        <a:srgbClr val="0072C6"/>
      </a:accent2>
      <a:accent3>
        <a:srgbClr val="008272"/>
      </a:accent3>
      <a:accent4>
        <a:srgbClr val="68217A"/>
      </a:accent4>
      <a:accent5>
        <a:srgbClr val="B4009E"/>
      </a:accent5>
      <a:accent6>
        <a:srgbClr val="00BCF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bg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 id="{05AFCEAE-1259-4F67-9D5D-DE408B4C1980}" vid="{47D79C49-39BC-4FA6-A545-CDB6C808616F}"/>
    </a:ext>
  </a:extLst>
</a:theme>
</file>

<file path=ppt/theme/theme14.xml><?xml version="1.0" encoding="utf-8"?>
<a:theme xmlns:a="http://schemas.openxmlformats.org/drawingml/2006/main" name="3_WINDOWS 10 COLOR TEMPLATE">
  <a:themeElements>
    <a:clrScheme name="Custom 25">
      <a:dk1>
        <a:srgbClr val="FFFFFF"/>
      </a:dk1>
      <a:lt1>
        <a:srgbClr val="0078D7"/>
      </a:lt1>
      <a:dk2>
        <a:srgbClr val="002050"/>
      </a:dk2>
      <a:lt2>
        <a:srgbClr val="0078D7"/>
      </a:lt2>
      <a:accent1>
        <a:srgbClr val="FFFFFF"/>
      </a:accent1>
      <a:accent2>
        <a:srgbClr val="B4009E"/>
      </a:accent2>
      <a:accent3>
        <a:srgbClr val="107C10"/>
      </a:accent3>
      <a:accent4>
        <a:srgbClr val="5C2D91"/>
      </a:accent4>
      <a:accent5>
        <a:srgbClr val="004B50"/>
      </a:accent5>
      <a:accent6>
        <a:srgbClr val="D83B01"/>
      </a:accent6>
      <a:hlink>
        <a:srgbClr val="BFBFBF"/>
      </a:hlink>
      <a:folHlink>
        <a:srgbClr val="A5A5A5"/>
      </a:folHlink>
    </a:clrScheme>
    <a:fontScheme name="Custom 1">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5 03 Windows 10 Commercial Template.potx" id="{8045957C-CEF4-4D96-A794-9D99C6C2499F}" vid="{23AC6FF8-3CED-4D82-B833-2F7E7DC97815}"/>
    </a:ext>
  </a:extLst>
</a:theme>
</file>

<file path=ppt/theme/theme15.xml><?xml version="1.0" encoding="utf-8"?>
<a:theme xmlns:a="http://schemas.openxmlformats.org/drawingml/2006/main" name="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6.xml><?xml version="1.0" encoding="utf-8"?>
<a:theme xmlns:a="http://schemas.openxmlformats.org/drawingml/2006/main" name="2_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17.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648A3717-FFAB-4F40-BF29-99274CBE781C}" vid="{96874802-53E9-4768-A938-A83994B57248}"/>
    </a:ext>
  </a:extLst>
</a:theme>
</file>

<file path=ppt/theme/theme18.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EF87E551-96A5-45B9-BA00-BE5FD1839606}"/>
    </a:ext>
  </a:extLst>
</a:theme>
</file>

<file path=ppt/theme/theme19.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0.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6.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7.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docProps/app.xml><?xml version="1.0" encoding="utf-8"?>
<Properties xmlns="http://schemas.openxmlformats.org/officeDocument/2006/extended-properties" xmlns:vt="http://schemas.openxmlformats.org/officeDocument/2006/docPropsVTypes">
  <TotalTime>1080</TotalTime>
  <Words>5636</Words>
  <Application>Microsoft Office PowerPoint</Application>
  <PresentationFormat>Widescreen</PresentationFormat>
  <Paragraphs>821</Paragraphs>
  <Slides>81</Slides>
  <Notes>37</Notes>
  <HiddenSlides>0</HiddenSlides>
  <MMClips>1</MMClips>
  <ScaleCrop>false</ScaleCrop>
  <HeadingPairs>
    <vt:vector size="8" baseType="variant">
      <vt:variant>
        <vt:lpstr>Fonts Used</vt:lpstr>
      </vt:variant>
      <vt:variant>
        <vt:i4>18</vt:i4>
      </vt:variant>
      <vt:variant>
        <vt:lpstr>Theme</vt:lpstr>
      </vt:variant>
      <vt:variant>
        <vt:i4>20</vt:i4>
      </vt:variant>
      <vt:variant>
        <vt:lpstr>Embedded OLE Servers</vt:lpstr>
      </vt:variant>
      <vt:variant>
        <vt:i4>1</vt:i4>
      </vt:variant>
      <vt:variant>
        <vt:lpstr>Slide Titles</vt:lpstr>
      </vt:variant>
      <vt:variant>
        <vt:i4>81</vt:i4>
      </vt:variant>
    </vt:vector>
  </HeadingPairs>
  <TitlesOfParts>
    <vt:vector size="120" baseType="lpstr">
      <vt:lpstr>Arial Unicode MS</vt:lpstr>
      <vt:lpstr>Arial</vt:lpstr>
      <vt:lpstr>Avenir LT Pro 45 Book</vt:lpstr>
      <vt:lpstr>Calibri</vt:lpstr>
      <vt:lpstr>Calibri Light</vt:lpstr>
      <vt:lpstr>Consolas</vt:lpstr>
      <vt:lpstr>ＭＳ Ｐゴシック</vt:lpstr>
      <vt:lpstr>ＭＳ Ｐゴシック</vt:lpstr>
      <vt:lpstr>Segoe Pro</vt:lpstr>
      <vt:lpstr>Segoe Pro Light</vt:lpstr>
      <vt:lpstr>Segoe Semibold</vt:lpstr>
      <vt:lpstr>Segoe UI</vt:lpstr>
      <vt:lpstr>Segoe UI Black</vt:lpstr>
      <vt:lpstr>Segoe UI Light</vt:lpstr>
      <vt:lpstr>Segoe UI Semibold</vt:lpstr>
      <vt:lpstr>Segoe UI Semilight</vt:lpstr>
      <vt:lpstr>Times New Roman</vt:lpstr>
      <vt:lpstr>Wingdings</vt:lpstr>
      <vt:lpstr>TechEd 2014 Dk Blue</vt:lpstr>
      <vt:lpstr>Azure Event</vt:lpstr>
      <vt:lpstr>Microsoft AzureCon 2015 Template - Color</vt:lpstr>
      <vt:lpstr>1_Office Theme</vt:lpstr>
      <vt:lpstr>1_Microsoft AzureCon 2015 Template - Color</vt:lpstr>
      <vt:lpstr>1_BUILD CHARCOAL BACKGROUND</vt:lpstr>
      <vt:lpstr>MGXFY16 Dark Gray Template</vt:lpstr>
      <vt:lpstr>COLOR TEMPLATE</vt:lpstr>
      <vt:lpstr>2_Azure Event</vt:lpstr>
      <vt:lpstr>11_BUILD CHARCOAL BACKGROUND</vt:lpstr>
      <vt:lpstr>12_BUILD CHARCOAL BACKGROUND</vt:lpstr>
      <vt:lpstr>BUILD CHARCOAL BACKGROUND</vt:lpstr>
      <vt:lpstr>1_MS Brand White 16-9_Dec-2013</vt:lpstr>
      <vt:lpstr>3_WINDOWS 10 COLOR TEMPLATE</vt:lpstr>
      <vt:lpstr>2_BUILD CHARCOAL BACKGROUND</vt:lpstr>
      <vt:lpstr>2_Windows Threshold</vt:lpstr>
      <vt:lpstr>1_5-30536_Build_2014_Breakout_Template_White_16x9</vt:lpstr>
      <vt:lpstr>1_5-30629_Build_Template_WHITE</vt:lpstr>
      <vt:lpstr>MSVID_White_16x9_2012-08-18</vt:lpstr>
      <vt:lpstr>1_TechEd 2014 Dk Blue</vt:lpstr>
      <vt:lpstr>think-cell Slide</vt:lpstr>
      <vt:lpstr>Username: conf9216 Password: 2arotard  Username: conf9217  Password: ndinka5a </vt:lpstr>
      <vt:lpstr>Welcome!</vt:lpstr>
      <vt:lpstr>Microsoft + Startups</vt:lpstr>
      <vt:lpstr>PowerPoint Presentation</vt:lpstr>
      <vt:lpstr>Microsoft!</vt:lpstr>
      <vt:lpstr>PowerPoint Presentation</vt:lpstr>
      <vt:lpstr>PowerPoint Presentation</vt:lpstr>
      <vt:lpstr>PowerPoint Presentation</vt:lpstr>
      <vt:lpstr>PowerPoint Presentation</vt:lpstr>
      <vt:lpstr>PowerPoint Presentation</vt:lpstr>
      <vt:lpstr>PowerPoint Presentation</vt:lpstr>
      <vt:lpstr>AutoScale</vt:lpstr>
      <vt:lpstr>PowerPoint Presentation</vt:lpstr>
      <vt:lpstr>PowerPoint Presentation</vt:lpstr>
      <vt:lpstr>PowerPoint Presentation</vt:lpstr>
      <vt:lpstr>Visual Studio Team Services: DevOps</vt:lpstr>
      <vt:lpstr>PowerPoint Presentation</vt:lpstr>
      <vt:lpstr>Every app</vt:lpstr>
      <vt:lpstr>Every developer</vt:lpstr>
      <vt:lpstr>PowerPoint Presentation</vt:lpstr>
      <vt:lpstr>Emulator for Android</vt:lpstr>
      <vt:lpstr>Visual Studio Code Preview</vt:lpstr>
      <vt:lpstr>ASP.NET</vt:lpstr>
      <vt:lpstr>Microsoft Ecosystem</vt:lpstr>
      <vt:lpstr>Mixed Ecosystem</vt:lpstr>
      <vt:lpstr>PowerPoint Presentation</vt:lpstr>
      <vt:lpstr>PowerPoint Presentation</vt:lpstr>
      <vt:lpstr>PowerPoint Presentation</vt:lpstr>
      <vt:lpstr>Opportunity</vt:lpstr>
      <vt:lpstr>PowerPoint Presentation</vt:lpstr>
      <vt:lpstr>PowerPoint Presentation</vt:lpstr>
      <vt:lpstr>110 Million</vt:lpstr>
      <vt:lpstr>PowerPoint Presentation</vt:lpstr>
      <vt:lpstr>PowerPoint Presentation</vt:lpstr>
      <vt:lpstr>PowerPoint Presentation</vt:lpstr>
      <vt:lpstr>PowerPoint Presentation</vt:lpstr>
      <vt:lpstr>PowerPoint Presentation</vt:lpstr>
      <vt:lpstr>“Windows 10 is the first step to an era of more personal computing”</vt:lpstr>
      <vt:lpstr>Internet of Your Things</vt:lpstr>
      <vt:lpstr>A Changing World – a new perspective</vt:lpstr>
      <vt:lpstr>IoT 2010</vt:lpstr>
      <vt:lpstr>IoT 2015</vt:lpstr>
      <vt:lpstr>PowerPoint Presentation</vt:lpstr>
      <vt:lpstr>PowerPoint Presentation</vt:lpstr>
      <vt:lpstr>You’ve come to the right room!</vt:lpstr>
      <vt:lpstr>Microsoft Student Accelerator!</vt:lpstr>
      <vt:lpstr>Username: conf9216 Password: 2arotard  Username: conf9217  Password: ndinka5a </vt:lpstr>
      <vt:lpstr>msa.ms/drive  msa.ms/github</vt:lpstr>
      <vt:lpstr>Microsoft Student Accelerator!</vt:lpstr>
      <vt:lpstr>Need Help?</vt:lpstr>
      <vt:lpstr>Phase 1</vt:lpstr>
      <vt:lpstr>Key Dates  &amp; Progress</vt:lpstr>
      <vt:lpstr>Phase 2</vt:lpstr>
      <vt:lpstr>Phase 2</vt:lpstr>
      <vt:lpstr>Phase 2 - Dates</vt:lpstr>
      <vt:lpstr>Phase 2 - Training</vt:lpstr>
      <vt:lpstr>Today</vt:lpstr>
      <vt:lpstr>Saturday</vt:lpstr>
      <vt:lpstr>Sunday</vt:lpstr>
      <vt:lpstr>Assessments</vt:lpstr>
      <vt:lpstr>Assessments</vt:lpstr>
      <vt:lpstr>Assessments - Deliverables</vt:lpstr>
      <vt:lpstr>msa.ms/drive</vt:lpstr>
      <vt:lpstr>Assessments - Scenarios</vt:lpstr>
      <vt:lpstr>Scenario 1 – University of Contoso</vt:lpstr>
      <vt:lpstr>University of Contoso</vt:lpstr>
      <vt:lpstr>Scenario 2 – Nandoso</vt:lpstr>
      <vt:lpstr>Nandoso</vt:lpstr>
      <vt:lpstr>Assessments - Presentations</vt:lpstr>
      <vt:lpstr>Assessments - Presentations</vt:lpstr>
      <vt:lpstr>Key Advice &amp; Tips</vt:lpstr>
      <vt:lpstr>Key Advice &amp; Tips</vt:lpstr>
      <vt:lpstr>Any Questions on Assessments?</vt:lpstr>
      <vt:lpstr>Groupings</vt:lpstr>
      <vt:lpstr>Groupings</vt:lpstr>
      <vt:lpstr>Imagine Cup</vt:lpstr>
      <vt:lpstr>Imagine Cup </vt:lpstr>
      <vt:lpstr>Employer Matching</vt:lpstr>
      <vt:lpstr>Employers</vt:lpstr>
      <vt:lpstr>Feedback Form</vt:lpstr>
      <vt:lpstr>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A Phase Two</dc:title>
  <dc:creator>Jay Janarthanan (Adecco)</dc:creator>
  <cp:lastModifiedBy>Vishesh Oberoi</cp:lastModifiedBy>
  <cp:revision>59</cp:revision>
  <dcterms:created xsi:type="dcterms:W3CDTF">2015-11-12T22:01:13Z</dcterms:created>
  <dcterms:modified xsi:type="dcterms:W3CDTF">2015-11-19T12:20:54Z</dcterms:modified>
</cp:coreProperties>
</file>